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3.xml" ContentType="application/vnd.openxmlformats-officedocument.presentationml.notesSl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4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5.xml" ContentType="application/vnd.openxmlformats-officedocument.presentationml.notesSlide+xml"/>
  <Override PartName="/ppt/tags/tag130.xml" ContentType="application/vnd.openxmlformats-officedocument.presentationml.tags+xml"/>
  <Override PartName="/ppt/notesSlides/notesSlide6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7.xml" ContentType="application/vnd.openxmlformats-officedocument.presentationml.notesSl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8.xml" ContentType="application/vnd.openxmlformats-officedocument.presentationml.notesSlide+xml"/>
  <Override PartName="/ppt/tags/tag135.xml" ContentType="application/vnd.openxmlformats-officedocument.presentationml.tags+xml"/>
  <Override PartName="/ppt/notesSlides/notesSlide9.xml" ContentType="application/vnd.openxmlformats-officedocument.presentationml.notesSl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notesSlides/notesSlide10.xml" ContentType="application/vnd.openxmlformats-officedocument.presentationml.notesSlid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11.xml" ContentType="application/vnd.openxmlformats-officedocument.presentationml.notesSl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12.xml" ContentType="application/vnd.openxmlformats-officedocument.presentationml.notesSl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13.xml" ContentType="application/vnd.openxmlformats-officedocument.presentationml.notesSl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14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1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17" r:id="rId5"/>
    <p:sldMasterId id="2147483742" r:id="rId6"/>
  </p:sldMasterIdLst>
  <p:notesMasterIdLst>
    <p:notesMasterId r:id="rId27"/>
  </p:notesMasterIdLst>
  <p:handoutMasterIdLst>
    <p:handoutMasterId r:id="rId28"/>
  </p:handoutMasterIdLst>
  <p:sldIdLst>
    <p:sldId id="2145706326" r:id="rId7"/>
    <p:sldId id="2147478810" r:id="rId8"/>
    <p:sldId id="2145706330" r:id="rId9"/>
    <p:sldId id="295" r:id="rId10"/>
    <p:sldId id="301" r:id="rId11"/>
    <p:sldId id="2147474228" r:id="rId12"/>
    <p:sldId id="2147475337" r:id="rId13"/>
    <p:sldId id="385" r:id="rId14"/>
    <p:sldId id="2145706270" r:id="rId15"/>
    <p:sldId id="280" r:id="rId16"/>
    <p:sldId id="2147478813" r:id="rId17"/>
    <p:sldId id="2145706272" r:id="rId18"/>
    <p:sldId id="2145706273" r:id="rId19"/>
    <p:sldId id="278" r:id="rId20"/>
    <p:sldId id="2147478812" r:id="rId21"/>
    <p:sldId id="2147478814" r:id="rId22"/>
    <p:sldId id="2145706276" r:id="rId23"/>
    <p:sldId id="2147478811" r:id="rId24"/>
    <p:sldId id="282" r:id="rId25"/>
    <p:sldId id="2145706261" r:id="rId26"/>
  </p:sldIdLst>
  <p:sldSz cx="12192000" cy="6858000"/>
  <p:notesSz cx="6797675" cy="9926638"/>
  <p:custDataLst>
    <p:tags r:id="rId29"/>
  </p:custDataLst>
  <p:defaultTextStyle>
    <a:defPPr>
      <a:defRPr lang="en-US"/>
    </a:defPPr>
    <a:lvl1pPr marL="0" algn="l" defTabSz="548621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1pPr>
    <a:lvl2pPr marL="548621" algn="l" defTabSz="548621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2pPr>
    <a:lvl3pPr marL="1097242" algn="l" defTabSz="548621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3pPr>
    <a:lvl4pPr marL="1645862" algn="l" defTabSz="548621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4pPr>
    <a:lvl5pPr marL="2194484" algn="l" defTabSz="548621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5pPr>
    <a:lvl6pPr marL="2743103" algn="l" defTabSz="548621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6pPr>
    <a:lvl7pPr marL="3291726" algn="l" defTabSz="548621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7pPr>
    <a:lvl8pPr marL="3840347" algn="l" defTabSz="548621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8pPr>
    <a:lvl9pPr marL="4388966" algn="l" defTabSz="548621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4012" userDrawn="1">
          <p15:clr>
            <a:srgbClr val="A4A3A4"/>
          </p15:clr>
        </p15:guide>
        <p15:guide id="2" pos="1998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1126001-5437-9987-2145-6F8A3F1C39B6}" name="Stefan-Jörg Göbel" initials="SJG" userId="S::u21348@energycorp.com::c22dfc59-784e-4f86-97bc-1503e9073e9e" providerId="AD"/>
  <p188:author id="{3A601407-3CF8-F1A8-8D9C-5766C6BCB1C0}" name="Joeken Anne" initials="JA" userId="S::u32626@energycorp.com::4bfb3c05-e6e2-4bf3-b1ef-b06b9f434365" providerId="AD"/>
  <p188:author id="{6B081273-4F11-5B80-C267-71F08DD34FF3}" name="Nora Johanna Kryßon" initials="NJK" userId="S::u40546@energycorp.com::a881895a-86b1-4427-a498-13dd25569cc3" providerId="AD"/>
  <p188:author id="{1CACA3BD-AA04-5A6D-AAFB-C7FCDA146DC0}" name="Tranninger Judith" initials="TJ" userId="S::u34031@energycorp.com::ff8aed14-7a00-49d7-ae9e-f4b91a95b20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E84E0F"/>
    <a:srgbClr val="8DB277"/>
    <a:srgbClr val="7A6F69"/>
    <a:srgbClr val="E5D100"/>
    <a:srgbClr val="005088"/>
    <a:srgbClr val="BBB3B0"/>
    <a:srgbClr val="00B0DC"/>
    <a:srgbClr val="DAF4FC"/>
    <a:srgbClr val="595959"/>
    <a:srgbClr val="6E6E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43860" autoAdjust="0"/>
  </p:normalViewPr>
  <p:slideViewPr>
    <p:cSldViewPr snapToGrid="0">
      <p:cViewPr varScale="1">
        <p:scale>
          <a:sx n="141" d="100"/>
          <a:sy n="141" d="100"/>
        </p:scale>
        <p:origin x="96" y="5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4012"/>
        <p:guide pos="199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8/10/relationships/authors" Target="authors.xml"/><Relationship Id="rId8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4E08F1D-C8B7-42E3-A6E3-390CDEAF95B5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46F222EC-7C33-41B8-9649-CBB0AA0EBCC7}">
      <dgm:prSet phldrT="[Text]" phldr="0"/>
      <dgm:spPr/>
      <dgm:t>
        <a:bodyPr/>
        <a:lstStyle/>
        <a:p>
          <a:pPr rtl="0"/>
          <a:r>
            <a:rPr lang="en-GB">
              <a:latin typeface="Arial"/>
            </a:rPr>
            <a:t>Vorplanung, erste Kartierungen und </a:t>
          </a:r>
          <a:r>
            <a:rPr lang="en-GB" err="1">
              <a:latin typeface="Arial"/>
            </a:rPr>
            <a:t>Gestattungsvertrag</a:t>
          </a:r>
          <a:endParaRPr lang="en-GB"/>
        </a:p>
      </dgm:t>
    </dgm:pt>
    <dgm:pt modelId="{9CBA8877-C6F5-4123-A1A3-4B6DA3D07093}" type="parTrans" cxnId="{180D1FD4-8EC3-472C-80AA-92C14677027E}">
      <dgm:prSet/>
      <dgm:spPr/>
      <dgm:t>
        <a:bodyPr/>
        <a:lstStyle/>
        <a:p>
          <a:endParaRPr lang="de-DE"/>
        </a:p>
      </dgm:t>
    </dgm:pt>
    <dgm:pt modelId="{03BB63CF-08AB-4B3A-8403-CC4352ED5130}" type="sibTrans" cxnId="{180D1FD4-8EC3-472C-80AA-92C14677027E}">
      <dgm:prSet/>
      <dgm:spPr/>
      <dgm:t>
        <a:bodyPr/>
        <a:lstStyle/>
        <a:p>
          <a:endParaRPr lang="en-GB"/>
        </a:p>
      </dgm:t>
    </dgm:pt>
    <dgm:pt modelId="{87806E12-3A43-49D6-B36A-04765BABC00E}">
      <dgm:prSet phldrT="[Text]" phldr="0"/>
      <dgm:spPr/>
      <dgm:t>
        <a:bodyPr/>
        <a:lstStyle/>
        <a:p>
          <a:pPr rtl="0"/>
          <a:r>
            <a:rPr lang="en-GB" dirty="0" err="1">
              <a:latin typeface="Arial"/>
            </a:rPr>
            <a:t>Weiterführende</a:t>
          </a:r>
          <a:r>
            <a:rPr lang="en-GB" dirty="0">
              <a:latin typeface="Arial"/>
            </a:rPr>
            <a:t> </a:t>
          </a:r>
          <a:r>
            <a:rPr lang="en-GB" dirty="0" err="1">
              <a:latin typeface="Arial"/>
            </a:rPr>
            <a:t>Gutachten</a:t>
          </a:r>
          <a:r>
            <a:rPr lang="en-GB" dirty="0">
              <a:latin typeface="Arial"/>
            </a:rPr>
            <a:t> und </a:t>
          </a:r>
          <a:r>
            <a:rPr lang="en-GB" dirty="0" err="1">
              <a:latin typeface="Arial"/>
            </a:rPr>
            <a:t>Genehmigungseinreichung</a:t>
          </a:r>
          <a:endParaRPr lang="en-GB" dirty="0"/>
        </a:p>
      </dgm:t>
    </dgm:pt>
    <dgm:pt modelId="{A6BDD3BB-8391-495F-8D8E-244BA0ECBE5A}" type="parTrans" cxnId="{A494CC1C-04C6-40BF-BC9A-F228E94A374C}">
      <dgm:prSet/>
      <dgm:spPr/>
      <dgm:t>
        <a:bodyPr/>
        <a:lstStyle/>
        <a:p>
          <a:endParaRPr lang="de-DE"/>
        </a:p>
      </dgm:t>
    </dgm:pt>
    <dgm:pt modelId="{223294C2-5CD7-4891-A61F-59FA710BE968}" type="sibTrans" cxnId="{A494CC1C-04C6-40BF-BC9A-F228E94A374C}">
      <dgm:prSet/>
      <dgm:spPr/>
      <dgm:t>
        <a:bodyPr/>
        <a:lstStyle/>
        <a:p>
          <a:endParaRPr lang="en-GB"/>
        </a:p>
      </dgm:t>
    </dgm:pt>
    <dgm:pt modelId="{D6B5E49B-9BDA-4824-AEF7-7FE731738AB5}">
      <dgm:prSet phldrT="[Text]" phldr="0"/>
      <dgm:spPr/>
      <dgm:t>
        <a:bodyPr/>
        <a:lstStyle/>
        <a:p>
          <a:pPr rtl="0"/>
          <a:r>
            <a:rPr lang="en-GB" dirty="0">
              <a:latin typeface="Arial"/>
            </a:rPr>
            <a:t> </a:t>
          </a:r>
          <a:r>
            <a:rPr lang="en-GB" dirty="0" err="1">
              <a:latin typeface="Arial"/>
            </a:rPr>
            <a:t>Genehmigung</a:t>
          </a:r>
          <a:r>
            <a:rPr lang="en-GB" dirty="0">
              <a:latin typeface="Arial"/>
            </a:rPr>
            <a:t> und </a:t>
          </a:r>
          <a:r>
            <a:rPr lang="en-GB" dirty="0" err="1">
              <a:latin typeface="Arial"/>
            </a:rPr>
            <a:t>Teilnahme</a:t>
          </a:r>
          <a:r>
            <a:rPr lang="en-GB" dirty="0">
              <a:latin typeface="Arial"/>
            </a:rPr>
            <a:t> EEG </a:t>
          </a:r>
          <a:r>
            <a:rPr lang="en-GB" dirty="0" err="1">
              <a:latin typeface="Arial"/>
            </a:rPr>
            <a:t>Ausschreibung</a:t>
          </a:r>
          <a:endParaRPr lang="en-GB" dirty="0"/>
        </a:p>
      </dgm:t>
    </dgm:pt>
    <dgm:pt modelId="{6A37B583-AB65-45FA-B446-3E313B76103C}" type="parTrans" cxnId="{91C816CD-20C8-4BE2-BB1C-CD156E911DF1}">
      <dgm:prSet/>
      <dgm:spPr/>
      <dgm:t>
        <a:bodyPr/>
        <a:lstStyle/>
        <a:p>
          <a:endParaRPr lang="de-DE"/>
        </a:p>
      </dgm:t>
    </dgm:pt>
    <dgm:pt modelId="{2E9A683C-008A-448B-941C-72342510D52B}" type="sibTrans" cxnId="{91C816CD-20C8-4BE2-BB1C-CD156E911DF1}">
      <dgm:prSet/>
      <dgm:spPr/>
      <dgm:t>
        <a:bodyPr/>
        <a:lstStyle/>
        <a:p>
          <a:endParaRPr lang="en-GB"/>
        </a:p>
      </dgm:t>
    </dgm:pt>
    <dgm:pt modelId="{89EF9FCF-05FA-4E09-9AD2-A45366D5575A}">
      <dgm:prSet phldr="0"/>
      <dgm:spPr/>
      <dgm:t>
        <a:bodyPr/>
        <a:lstStyle/>
        <a:p>
          <a:pPr rtl="0"/>
          <a:r>
            <a:rPr lang="en-GB">
              <a:latin typeface="Arial"/>
            </a:rPr>
            <a:t> </a:t>
          </a:r>
          <a:r>
            <a:rPr lang="en-GB" err="1">
              <a:latin typeface="Arial"/>
            </a:rPr>
            <a:t>Durchführung</a:t>
          </a:r>
          <a:r>
            <a:rPr lang="en-GB">
              <a:latin typeface="Arial"/>
            </a:rPr>
            <a:t> Repowering</a:t>
          </a:r>
        </a:p>
      </dgm:t>
    </dgm:pt>
    <dgm:pt modelId="{322379B6-E000-4666-B456-409129FE4D0D}" type="parTrans" cxnId="{7AA10ED0-0C9E-4218-92DD-439B98C3E441}">
      <dgm:prSet/>
      <dgm:spPr/>
      <dgm:t>
        <a:bodyPr/>
        <a:lstStyle/>
        <a:p>
          <a:endParaRPr lang="de-DE"/>
        </a:p>
      </dgm:t>
    </dgm:pt>
    <dgm:pt modelId="{60E77975-73D0-4D82-978E-DDD9204C8F9B}" type="sibTrans" cxnId="{7AA10ED0-0C9E-4218-92DD-439B98C3E441}">
      <dgm:prSet/>
      <dgm:spPr/>
      <dgm:t>
        <a:bodyPr/>
        <a:lstStyle/>
        <a:p>
          <a:endParaRPr lang="de-DE"/>
        </a:p>
      </dgm:t>
    </dgm:pt>
    <dgm:pt modelId="{63634756-8D5D-4765-9FC6-724E47A5C01E}" type="pres">
      <dgm:prSet presAssocID="{14E08F1D-C8B7-42E3-A6E3-390CDEAF95B5}" presName="linearFlow" presStyleCnt="0">
        <dgm:presLayoutVars>
          <dgm:resizeHandles val="exact"/>
        </dgm:presLayoutVars>
      </dgm:prSet>
      <dgm:spPr/>
    </dgm:pt>
    <dgm:pt modelId="{528C6955-8B25-4276-A663-46C9A8487F2C}" type="pres">
      <dgm:prSet presAssocID="{46F222EC-7C33-41B8-9649-CBB0AA0EBCC7}" presName="node" presStyleLbl="node1" presStyleIdx="0" presStyleCnt="4">
        <dgm:presLayoutVars>
          <dgm:bulletEnabled val="1"/>
        </dgm:presLayoutVars>
      </dgm:prSet>
      <dgm:spPr/>
    </dgm:pt>
    <dgm:pt modelId="{BA2EF83A-9D6A-45BF-A5DC-680BF003AE74}" type="pres">
      <dgm:prSet presAssocID="{03BB63CF-08AB-4B3A-8403-CC4352ED5130}" presName="sibTrans" presStyleLbl="sibTrans2D1" presStyleIdx="0" presStyleCnt="3"/>
      <dgm:spPr/>
    </dgm:pt>
    <dgm:pt modelId="{85C97B05-5ECA-431E-961F-AB00062CB79C}" type="pres">
      <dgm:prSet presAssocID="{03BB63CF-08AB-4B3A-8403-CC4352ED5130}" presName="connectorText" presStyleLbl="sibTrans2D1" presStyleIdx="0" presStyleCnt="3"/>
      <dgm:spPr/>
    </dgm:pt>
    <dgm:pt modelId="{A122B25D-EB56-4877-A759-6F70D294A7E3}" type="pres">
      <dgm:prSet presAssocID="{87806E12-3A43-49D6-B36A-04765BABC00E}" presName="node" presStyleLbl="node1" presStyleIdx="1" presStyleCnt="4">
        <dgm:presLayoutVars>
          <dgm:bulletEnabled val="1"/>
        </dgm:presLayoutVars>
      </dgm:prSet>
      <dgm:spPr/>
    </dgm:pt>
    <dgm:pt modelId="{BE26A794-F360-46B1-A146-8DB397FB767F}" type="pres">
      <dgm:prSet presAssocID="{223294C2-5CD7-4891-A61F-59FA710BE968}" presName="sibTrans" presStyleLbl="sibTrans2D1" presStyleIdx="1" presStyleCnt="3"/>
      <dgm:spPr/>
    </dgm:pt>
    <dgm:pt modelId="{1546B3E1-DA12-4B6B-802D-EB2EBD4043A8}" type="pres">
      <dgm:prSet presAssocID="{223294C2-5CD7-4891-A61F-59FA710BE968}" presName="connectorText" presStyleLbl="sibTrans2D1" presStyleIdx="1" presStyleCnt="3"/>
      <dgm:spPr/>
    </dgm:pt>
    <dgm:pt modelId="{3D58D428-5622-4A82-ABA2-AD5A90FBCEC4}" type="pres">
      <dgm:prSet presAssocID="{D6B5E49B-9BDA-4824-AEF7-7FE731738AB5}" presName="node" presStyleLbl="node1" presStyleIdx="2" presStyleCnt="4">
        <dgm:presLayoutVars>
          <dgm:bulletEnabled val="1"/>
        </dgm:presLayoutVars>
      </dgm:prSet>
      <dgm:spPr/>
    </dgm:pt>
    <dgm:pt modelId="{57665E24-D95C-44A6-92E7-6D62845C7955}" type="pres">
      <dgm:prSet presAssocID="{2E9A683C-008A-448B-941C-72342510D52B}" presName="sibTrans" presStyleLbl="sibTrans2D1" presStyleIdx="2" presStyleCnt="3"/>
      <dgm:spPr/>
    </dgm:pt>
    <dgm:pt modelId="{C6F7EA8D-B4B8-4C6D-9E92-C2638A628029}" type="pres">
      <dgm:prSet presAssocID="{2E9A683C-008A-448B-941C-72342510D52B}" presName="connectorText" presStyleLbl="sibTrans2D1" presStyleIdx="2" presStyleCnt="3"/>
      <dgm:spPr/>
    </dgm:pt>
    <dgm:pt modelId="{004E5A44-E8C0-4A15-AAF1-F44D6C444B38}" type="pres">
      <dgm:prSet presAssocID="{89EF9FCF-05FA-4E09-9AD2-A45366D5575A}" presName="node" presStyleLbl="node1" presStyleIdx="3" presStyleCnt="4">
        <dgm:presLayoutVars>
          <dgm:bulletEnabled val="1"/>
        </dgm:presLayoutVars>
      </dgm:prSet>
      <dgm:spPr/>
    </dgm:pt>
  </dgm:ptLst>
  <dgm:cxnLst>
    <dgm:cxn modelId="{8EB96C01-B0DE-479B-B3D7-1830F1640EC0}" type="presOf" srcId="{2E9A683C-008A-448B-941C-72342510D52B}" destId="{57665E24-D95C-44A6-92E7-6D62845C7955}" srcOrd="0" destOrd="0" presId="urn:microsoft.com/office/officeart/2005/8/layout/process2"/>
    <dgm:cxn modelId="{0B3E3815-55D5-48E3-B1B9-40050AE8B847}" type="presOf" srcId="{03BB63CF-08AB-4B3A-8403-CC4352ED5130}" destId="{85C97B05-5ECA-431E-961F-AB00062CB79C}" srcOrd="1" destOrd="0" presId="urn:microsoft.com/office/officeart/2005/8/layout/process2"/>
    <dgm:cxn modelId="{C06C761C-D572-46ED-AF46-E48B17E38553}" type="presOf" srcId="{223294C2-5CD7-4891-A61F-59FA710BE968}" destId="{BE26A794-F360-46B1-A146-8DB397FB767F}" srcOrd="0" destOrd="0" presId="urn:microsoft.com/office/officeart/2005/8/layout/process2"/>
    <dgm:cxn modelId="{A494CC1C-04C6-40BF-BC9A-F228E94A374C}" srcId="{14E08F1D-C8B7-42E3-A6E3-390CDEAF95B5}" destId="{87806E12-3A43-49D6-B36A-04765BABC00E}" srcOrd="1" destOrd="0" parTransId="{A6BDD3BB-8391-495F-8D8E-244BA0ECBE5A}" sibTransId="{223294C2-5CD7-4891-A61F-59FA710BE968}"/>
    <dgm:cxn modelId="{A8D4E759-8473-411B-9992-968541B529EE}" type="presOf" srcId="{14E08F1D-C8B7-42E3-A6E3-390CDEAF95B5}" destId="{63634756-8D5D-4765-9FC6-724E47A5C01E}" srcOrd="0" destOrd="0" presId="urn:microsoft.com/office/officeart/2005/8/layout/process2"/>
    <dgm:cxn modelId="{FAD3E38D-CD51-44E7-8214-62F5BF6B1CCC}" type="presOf" srcId="{87806E12-3A43-49D6-B36A-04765BABC00E}" destId="{A122B25D-EB56-4877-A759-6F70D294A7E3}" srcOrd="0" destOrd="0" presId="urn:microsoft.com/office/officeart/2005/8/layout/process2"/>
    <dgm:cxn modelId="{0C53ED99-64E5-4852-AFD9-8BD07236F042}" type="presOf" srcId="{2E9A683C-008A-448B-941C-72342510D52B}" destId="{C6F7EA8D-B4B8-4C6D-9E92-C2638A628029}" srcOrd="1" destOrd="0" presId="urn:microsoft.com/office/officeart/2005/8/layout/process2"/>
    <dgm:cxn modelId="{B000959A-E341-46AC-82D5-7438D0B95100}" type="presOf" srcId="{03BB63CF-08AB-4B3A-8403-CC4352ED5130}" destId="{BA2EF83A-9D6A-45BF-A5DC-680BF003AE74}" srcOrd="0" destOrd="0" presId="urn:microsoft.com/office/officeart/2005/8/layout/process2"/>
    <dgm:cxn modelId="{CA4B6DA9-6C9B-405C-A719-F30048207DAE}" type="presOf" srcId="{223294C2-5CD7-4891-A61F-59FA710BE968}" destId="{1546B3E1-DA12-4B6B-802D-EB2EBD4043A8}" srcOrd="1" destOrd="0" presId="urn:microsoft.com/office/officeart/2005/8/layout/process2"/>
    <dgm:cxn modelId="{BCC759C2-125D-4D38-8C7B-C9F98A75D373}" type="presOf" srcId="{D6B5E49B-9BDA-4824-AEF7-7FE731738AB5}" destId="{3D58D428-5622-4A82-ABA2-AD5A90FBCEC4}" srcOrd="0" destOrd="0" presId="urn:microsoft.com/office/officeart/2005/8/layout/process2"/>
    <dgm:cxn modelId="{91C816CD-20C8-4BE2-BB1C-CD156E911DF1}" srcId="{14E08F1D-C8B7-42E3-A6E3-390CDEAF95B5}" destId="{D6B5E49B-9BDA-4824-AEF7-7FE731738AB5}" srcOrd="2" destOrd="0" parTransId="{6A37B583-AB65-45FA-B446-3E313B76103C}" sibTransId="{2E9A683C-008A-448B-941C-72342510D52B}"/>
    <dgm:cxn modelId="{7AA10ED0-0C9E-4218-92DD-439B98C3E441}" srcId="{14E08F1D-C8B7-42E3-A6E3-390CDEAF95B5}" destId="{89EF9FCF-05FA-4E09-9AD2-A45366D5575A}" srcOrd="3" destOrd="0" parTransId="{322379B6-E000-4666-B456-409129FE4D0D}" sibTransId="{60E77975-73D0-4D82-978E-DDD9204C8F9B}"/>
    <dgm:cxn modelId="{180D1FD4-8EC3-472C-80AA-92C14677027E}" srcId="{14E08F1D-C8B7-42E3-A6E3-390CDEAF95B5}" destId="{46F222EC-7C33-41B8-9649-CBB0AA0EBCC7}" srcOrd="0" destOrd="0" parTransId="{9CBA8877-C6F5-4123-A1A3-4B6DA3D07093}" sibTransId="{03BB63CF-08AB-4B3A-8403-CC4352ED5130}"/>
    <dgm:cxn modelId="{2E9606DA-94D5-4D1F-8AD6-F18202C97CAE}" type="presOf" srcId="{89EF9FCF-05FA-4E09-9AD2-A45366D5575A}" destId="{004E5A44-E8C0-4A15-AAF1-F44D6C444B38}" srcOrd="0" destOrd="0" presId="urn:microsoft.com/office/officeart/2005/8/layout/process2"/>
    <dgm:cxn modelId="{76945FEE-0272-43B9-9333-B6ED847A27B3}" type="presOf" srcId="{46F222EC-7C33-41B8-9649-CBB0AA0EBCC7}" destId="{528C6955-8B25-4276-A663-46C9A8487F2C}" srcOrd="0" destOrd="0" presId="urn:microsoft.com/office/officeart/2005/8/layout/process2"/>
    <dgm:cxn modelId="{879B7EF3-8B6A-4970-863D-9023A314F876}" type="presParOf" srcId="{63634756-8D5D-4765-9FC6-724E47A5C01E}" destId="{528C6955-8B25-4276-A663-46C9A8487F2C}" srcOrd="0" destOrd="0" presId="urn:microsoft.com/office/officeart/2005/8/layout/process2"/>
    <dgm:cxn modelId="{371DFBC3-287F-4C2B-9E84-F90BE9B6BC45}" type="presParOf" srcId="{63634756-8D5D-4765-9FC6-724E47A5C01E}" destId="{BA2EF83A-9D6A-45BF-A5DC-680BF003AE74}" srcOrd="1" destOrd="0" presId="urn:microsoft.com/office/officeart/2005/8/layout/process2"/>
    <dgm:cxn modelId="{E30C00D0-3DB9-49AF-83F3-C110EFD6F766}" type="presParOf" srcId="{BA2EF83A-9D6A-45BF-A5DC-680BF003AE74}" destId="{85C97B05-5ECA-431E-961F-AB00062CB79C}" srcOrd="0" destOrd="0" presId="urn:microsoft.com/office/officeart/2005/8/layout/process2"/>
    <dgm:cxn modelId="{301D7A9F-31ED-4FA0-8B51-0A82A0DDA3A0}" type="presParOf" srcId="{63634756-8D5D-4765-9FC6-724E47A5C01E}" destId="{A122B25D-EB56-4877-A759-6F70D294A7E3}" srcOrd="2" destOrd="0" presId="urn:microsoft.com/office/officeart/2005/8/layout/process2"/>
    <dgm:cxn modelId="{48A3C6F1-F0C9-4B38-A4C6-96A45750CC18}" type="presParOf" srcId="{63634756-8D5D-4765-9FC6-724E47A5C01E}" destId="{BE26A794-F360-46B1-A146-8DB397FB767F}" srcOrd="3" destOrd="0" presId="urn:microsoft.com/office/officeart/2005/8/layout/process2"/>
    <dgm:cxn modelId="{296BE2F6-90BA-4EF6-854D-05F1B0A8D84A}" type="presParOf" srcId="{BE26A794-F360-46B1-A146-8DB397FB767F}" destId="{1546B3E1-DA12-4B6B-802D-EB2EBD4043A8}" srcOrd="0" destOrd="0" presId="urn:microsoft.com/office/officeart/2005/8/layout/process2"/>
    <dgm:cxn modelId="{D7E830DA-8A1A-4CBD-8A85-0BA6C9824161}" type="presParOf" srcId="{63634756-8D5D-4765-9FC6-724E47A5C01E}" destId="{3D58D428-5622-4A82-ABA2-AD5A90FBCEC4}" srcOrd="4" destOrd="0" presId="urn:microsoft.com/office/officeart/2005/8/layout/process2"/>
    <dgm:cxn modelId="{DB152F57-0D16-41DE-B611-65F0BFD8FC81}" type="presParOf" srcId="{63634756-8D5D-4765-9FC6-724E47A5C01E}" destId="{57665E24-D95C-44A6-92E7-6D62845C7955}" srcOrd="5" destOrd="0" presId="urn:microsoft.com/office/officeart/2005/8/layout/process2"/>
    <dgm:cxn modelId="{1F308C94-67BC-4E1D-B21E-0A459FDC44E2}" type="presParOf" srcId="{57665E24-D95C-44A6-92E7-6D62845C7955}" destId="{C6F7EA8D-B4B8-4C6D-9E92-C2638A628029}" srcOrd="0" destOrd="0" presId="urn:microsoft.com/office/officeart/2005/8/layout/process2"/>
    <dgm:cxn modelId="{31B2D64A-DA1C-4ED9-AE32-C5548793E036}" type="presParOf" srcId="{63634756-8D5D-4765-9FC6-724E47A5C01E}" destId="{004E5A44-E8C0-4A15-AAF1-F44D6C444B38}" srcOrd="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8C6955-8B25-4276-A663-46C9A8487F2C}">
      <dsp:nvSpPr>
        <dsp:cNvPr id="0" name=""/>
        <dsp:cNvSpPr/>
      </dsp:nvSpPr>
      <dsp:spPr>
        <a:xfrm>
          <a:off x="479830" y="2331"/>
          <a:ext cx="3409366" cy="86724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>
              <a:latin typeface="Arial"/>
            </a:rPr>
            <a:t>Vorplanung, erste Kartierungen und </a:t>
          </a:r>
          <a:r>
            <a:rPr lang="en-GB" sz="1800" kern="1200" err="1">
              <a:latin typeface="Arial"/>
            </a:rPr>
            <a:t>Gestattungsvertrag</a:t>
          </a:r>
          <a:endParaRPr lang="en-GB" sz="1800" kern="1200"/>
        </a:p>
      </dsp:txBody>
      <dsp:txXfrm>
        <a:off x="505231" y="27732"/>
        <a:ext cx="3358564" cy="816445"/>
      </dsp:txXfrm>
    </dsp:sp>
    <dsp:sp modelId="{BA2EF83A-9D6A-45BF-A5DC-680BF003AE74}">
      <dsp:nvSpPr>
        <dsp:cNvPr id="0" name=""/>
        <dsp:cNvSpPr/>
      </dsp:nvSpPr>
      <dsp:spPr>
        <a:xfrm rot="5400000">
          <a:off x="2021904" y="891259"/>
          <a:ext cx="325217" cy="39026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kern="1200"/>
        </a:p>
      </dsp:txBody>
      <dsp:txXfrm rot="-5400000">
        <a:off x="2067435" y="923781"/>
        <a:ext cx="234157" cy="227652"/>
      </dsp:txXfrm>
    </dsp:sp>
    <dsp:sp modelId="{A122B25D-EB56-4877-A759-6F70D294A7E3}">
      <dsp:nvSpPr>
        <dsp:cNvPr id="0" name=""/>
        <dsp:cNvSpPr/>
      </dsp:nvSpPr>
      <dsp:spPr>
        <a:xfrm>
          <a:off x="479830" y="1303202"/>
          <a:ext cx="3409366" cy="86724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 err="1">
              <a:latin typeface="Arial"/>
            </a:rPr>
            <a:t>Weiterführende</a:t>
          </a:r>
          <a:r>
            <a:rPr lang="en-GB" sz="1800" kern="1200" dirty="0">
              <a:latin typeface="Arial"/>
            </a:rPr>
            <a:t> </a:t>
          </a:r>
          <a:r>
            <a:rPr lang="en-GB" sz="1800" kern="1200" dirty="0" err="1">
              <a:latin typeface="Arial"/>
            </a:rPr>
            <a:t>Gutachten</a:t>
          </a:r>
          <a:r>
            <a:rPr lang="en-GB" sz="1800" kern="1200" dirty="0">
              <a:latin typeface="Arial"/>
            </a:rPr>
            <a:t> und </a:t>
          </a:r>
          <a:r>
            <a:rPr lang="en-GB" sz="1800" kern="1200" dirty="0" err="1">
              <a:latin typeface="Arial"/>
            </a:rPr>
            <a:t>Genehmigungseinreichung</a:t>
          </a:r>
          <a:endParaRPr lang="en-GB" sz="1800" kern="1200" dirty="0"/>
        </a:p>
      </dsp:txBody>
      <dsp:txXfrm>
        <a:off x="505231" y="1328603"/>
        <a:ext cx="3358564" cy="816445"/>
      </dsp:txXfrm>
    </dsp:sp>
    <dsp:sp modelId="{BE26A794-F360-46B1-A146-8DB397FB767F}">
      <dsp:nvSpPr>
        <dsp:cNvPr id="0" name=""/>
        <dsp:cNvSpPr/>
      </dsp:nvSpPr>
      <dsp:spPr>
        <a:xfrm rot="5400000">
          <a:off x="2021904" y="2192130"/>
          <a:ext cx="325217" cy="39026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kern="1200"/>
        </a:p>
      </dsp:txBody>
      <dsp:txXfrm rot="-5400000">
        <a:off x="2067435" y="2224652"/>
        <a:ext cx="234157" cy="227652"/>
      </dsp:txXfrm>
    </dsp:sp>
    <dsp:sp modelId="{3D58D428-5622-4A82-ABA2-AD5A90FBCEC4}">
      <dsp:nvSpPr>
        <dsp:cNvPr id="0" name=""/>
        <dsp:cNvSpPr/>
      </dsp:nvSpPr>
      <dsp:spPr>
        <a:xfrm>
          <a:off x="479830" y="2604073"/>
          <a:ext cx="3409366" cy="86724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latin typeface="Arial"/>
            </a:rPr>
            <a:t> </a:t>
          </a:r>
          <a:r>
            <a:rPr lang="en-GB" sz="1800" kern="1200" dirty="0" err="1">
              <a:latin typeface="Arial"/>
            </a:rPr>
            <a:t>Genehmigung</a:t>
          </a:r>
          <a:r>
            <a:rPr lang="en-GB" sz="1800" kern="1200" dirty="0">
              <a:latin typeface="Arial"/>
            </a:rPr>
            <a:t> und </a:t>
          </a:r>
          <a:r>
            <a:rPr lang="en-GB" sz="1800" kern="1200" dirty="0" err="1">
              <a:latin typeface="Arial"/>
            </a:rPr>
            <a:t>Teilnahme</a:t>
          </a:r>
          <a:r>
            <a:rPr lang="en-GB" sz="1800" kern="1200" dirty="0">
              <a:latin typeface="Arial"/>
            </a:rPr>
            <a:t> EEG </a:t>
          </a:r>
          <a:r>
            <a:rPr lang="en-GB" sz="1800" kern="1200" dirty="0" err="1">
              <a:latin typeface="Arial"/>
            </a:rPr>
            <a:t>Ausschreibung</a:t>
          </a:r>
          <a:endParaRPr lang="en-GB" sz="1800" kern="1200" dirty="0"/>
        </a:p>
      </dsp:txBody>
      <dsp:txXfrm>
        <a:off x="505231" y="2629474"/>
        <a:ext cx="3358564" cy="816445"/>
      </dsp:txXfrm>
    </dsp:sp>
    <dsp:sp modelId="{57665E24-D95C-44A6-92E7-6D62845C7955}">
      <dsp:nvSpPr>
        <dsp:cNvPr id="0" name=""/>
        <dsp:cNvSpPr/>
      </dsp:nvSpPr>
      <dsp:spPr>
        <a:xfrm rot="5400000">
          <a:off x="2021904" y="3493001"/>
          <a:ext cx="325217" cy="39026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kern="1200"/>
        </a:p>
      </dsp:txBody>
      <dsp:txXfrm rot="-5400000">
        <a:off x="2067435" y="3525523"/>
        <a:ext cx="234157" cy="227652"/>
      </dsp:txXfrm>
    </dsp:sp>
    <dsp:sp modelId="{004E5A44-E8C0-4A15-AAF1-F44D6C444B38}">
      <dsp:nvSpPr>
        <dsp:cNvPr id="0" name=""/>
        <dsp:cNvSpPr/>
      </dsp:nvSpPr>
      <dsp:spPr>
        <a:xfrm>
          <a:off x="479830" y="3904944"/>
          <a:ext cx="3409366" cy="86724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>
              <a:latin typeface="Arial"/>
            </a:rPr>
            <a:t> </a:t>
          </a:r>
          <a:r>
            <a:rPr lang="en-GB" sz="1800" kern="1200" err="1">
              <a:latin typeface="Arial"/>
            </a:rPr>
            <a:t>Durchführung</a:t>
          </a:r>
          <a:r>
            <a:rPr lang="en-GB" sz="1800" kern="1200">
              <a:latin typeface="Arial"/>
            </a:rPr>
            <a:t> Repowering</a:t>
          </a:r>
        </a:p>
      </dsp:txBody>
      <dsp:txXfrm>
        <a:off x="505231" y="3930345"/>
        <a:ext cx="3358564" cy="8164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749282" cy="636874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 sz="11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593747" y="1"/>
            <a:ext cx="2749282" cy="636874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F7239EF8-DB3E-49CC-93ED-040A7E57E32C}" type="datetime1">
              <a:rPr lang="en-GB" sz="1100"/>
              <a:t>21/11/2023</a:t>
            </a:fld>
            <a:endParaRPr lang="en-US" sz="11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12098379"/>
            <a:ext cx="2749282" cy="636874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 sz="11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593747" y="12098379"/>
            <a:ext cx="2749282" cy="636874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202A19A6-3B51-4749-8262-104C6DE8CA64}" type="slidenum">
              <a:rPr lang="en-US" sz="1100"/>
              <a:pPr/>
              <a:t>‹Nr.›</a:t>
            </a:fld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135039835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>
            <a:extLst>
              <a:ext uri="{FF2B5EF4-FFF2-40B4-BE49-F238E27FC236}">
                <a16:creationId xmlns:a16="http://schemas.microsoft.com/office/drawing/2014/main" id="{CD80ED7D-BF56-4519-963C-4C407EDE2D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7BEF7BCD-8FC9-4C34-8150-E3E436C5186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31F4735-21DC-4A76-B584-FEEB49902A2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E80F3368-3629-4FF3-BE7B-9221B1F6556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006DC733-CBA0-429E-95B5-DFC025487F2A}" type="datetimeFigureOut">
              <a:rPr lang="en-GB" smtClean="0"/>
              <a:pPr/>
              <a:t>21/11/2023</a:t>
            </a:fld>
            <a:endParaRPr lang="en-GB"/>
          </a:p>
        </p:txBody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6E149926-1632-4AD5-BA43-8AF87BB7326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4D7C39E-4462-4063-AB1B-663C016E29B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CC367EE9-F3C1-46A5-8403-DD04EFA17F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157159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548621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1pPr>
    <a:lvl2pPr marL="548621" indent="0" algn="l" defTabSz="548621" rtl="0" eaLnBrk="1" latinLnBrk="0" hangingPunct="1">
      <a:buFont typeface="Arial" pitchFamily="34" charset="0"/>
      <a:buNone/>
      <a:defRPr sz="1440" kern="1200">
        <a:solidFill>
          <a:schemeClr val="tx1"/>
        </a:solidFill>
        <a:latin typeface="+mn-lt"/>
        <a:ea typeface="+mn-ea"/>
        <a:cs typeface="+mn-cs"/>
      </a:defRPr>
    </a:lvl2pPr>
    <a:lvl3pPr marL="1097242" indent="0" algn="l" defTabSz="548621" rtl="0" eaLnBrk="1" latinLnBrk="0" hangingPunct="1">
      <a:buFont typeface="Arial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645862" indent="0" algn="l" defTabSz="548621" rtl="0" eaLnBrk="1" latinLnBrk="0" hangingPunct="1">
      <a:buFont typeface="Arial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94484" indent="0" algn="l" defTabSz="548621" rtl="0" eaLnBrk="1" latinLnBrk="0" hangingPunct="1">
      <a:buFont typeface="Arial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743103" algn="l" defTabSz="548621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6pPr>
    <a:lvl7pPr marL="3291726" algn="l" defTabSz="548621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7pPr>
    <a:lvl8pPr marL="3840347" algn="l" defTabSz="548621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8pPr>
    <a:lvl9pPr marL="4388966" algn="l" defTabSz="548621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41BEC-07AB-7146-9F1F-70C99F495112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73BE9B25-2CB7-43B6-8A33-83F0EC7BB6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7244B7E0-2411-4CD0-A69F-987CFE0E85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b="1"/>
              <a:t>Entré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Welcome, Vorstellu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4 moderne und leistungsstarke Turbinen sollen am Standort Wulfsen mehr Grünstrom für die Energiewende in Deutschland produzier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Wir möchten ihnen heute unsere Pläne und die Beteiligungsmodelle für BürgerInnen und Gemeinde vorstell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Wir legen als Unternehmen viel Wert auf einen trasnparenten und offenen Austaus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Wir wissen, die Energiewende wird vor Ort in den Gemeinden gemacht – die Unterstützung für die Energiewende ist grundsätzlich groß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Aber Projekte vor Ort bringen immer auch viele Fragen mit sich und diese wollen wir heute abend beantworten, dazu haben wir viel Zeit mitgebracht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b="1"/>
          </a:p>
          <a:p>
            <a:pPr marL="0" indent="0">
              <a:buFont typeface="Arial" panose="020B0604020202020204" pitchFamily="34" charset="0"/>
              <a:buNone/>
            </a:pPr>
            <a:r>
              <a:rPr lang="en-GB" b="1"/>
              <a:t>Vorstellung Jonathan Eberlein</a:t>
            </a:r>
            <a:r>
              <a:rPr lang="en-GB"/>
              <a:t>, Projektmanager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/>
              <a:t>Programm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/>
              <a:t>Vorstellung SK  </a:t>
            </a:r>
          </a:p>
        </p:txBody>
      </p:sp>
    </p:spTree>
    <p:extLst>
      <p:ext uri="{BB962C8B-B14F-4D97-AF65-F5344CB8AC3E}">
        <p14:creationId xmlns:p14="http://schemas.microsoft.com/office/powerpoint/2010/main" val="20253212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E41BEC-07AB-7146-9F1F-70C99F495112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54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01AA7468-763D-44C5-B32B-8388E6504C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62C5C2E7-BCA2-4A0C-8892-EFC807C65B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28671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E41BEC-07AB-7146-9F1F-70C99F495112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54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01AA7468-763D-44C5-B32B-8388E6504C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62C5C2E7-BCA2-4A0C-8892-EFC807C65B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67648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E41BEC-07AB-7146-9F1F-70C99F495112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54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01AA7468-763D-44C5-B32B-8388E6504C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62C5C2E7-BCA2-4A0C-8892-EFC807C65B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9094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E41BEC-07AB-7146-9F1F-70C99F495112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54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01AA7468-763D-44C5-B32B-8388E6504C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62C5C2E7-BCA2-4A0C-8892-EFC807C65B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78466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E41BEC-07AB-7146-9F1F-70C99F495112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54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01AA7468-763D-44C5-B32B-8388E6504C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62C5C2E7-BCA2-4A0C-8892-EFC807C65B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09197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E41BEC-07AB-7146-9F1F-70C99F495112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54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01AA7468-763D-44C5-B32B-8388E6504C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62C5C2E7-BCA2-4A0C-8892-EFC807C65B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7521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E41BEC-07AB-7146-9F1F-70C99F495112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54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72626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K ist heute der größter Erzeuger erneuerbarer Energie in Europ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ir haben immer an eine bessere Art von Energie geglaubt. Energie, die sich selbst und damit auch die Welt erneuern kan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nergie für eine positive und nachhaltige Zukunft für Menschen, Gemeinden, Unternehmen und die Umwel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ir haben uns zum Ziel gesetzt, alles uns Mögliche dafür zu tun, die Klimaentwicklung zu begrenzen und auch Energieunabhängigkeit zu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ntersützen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– so auch in Deutschland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ür uns sind Erneuerbare Energien nicht nur ein Teil der Lösung, sie sind die Lösung für die Energiesysteme von morgen!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367EE9-F3C1-46A5-8403-DD04EFA17F2B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9985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„Mit Energie die Welt erneuern“ – dieses Ziel verfolgen wir bereits seit über 125 Jahren </a:t>
            </a:r>
          </a:p>
          <a:p>
            <a:pPr marL="285750" marR="0" lvl="0" indent="-28575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 Norwegen haben wir den Grundstein für unser heutiges Unternehmen gelegt – u</a:t>
            </a:r>
            <a:r>
              <a:rPr lang="en-GB"/>
              <a:t>nsere </a:t>
            </a:r>
            <a:r>
              <a:rPr lang="en-GB" dirty="0" err="1"/>
              <a:t>Wurzeln</a:t>
            </a:r>
            <a:r>
              <a:rPr lang="en-GB" dirty="0"/>
              <a:t> </a:t>
            </a:r>
            <a:r>
              <a:rPr lang="en-GB" dirty="0" err="1"/>
              <a:t>liegen</a:t>
            </a:r>
            <a:r>
              <a:rPr lang="en-GB" dirty="0"/>
              <a:t> in </a:t>
            </a:r>
            <a:r>
              <a:rPr lang="en-GB"/>
              <a:t>der Wasserkraft</a:t>
            </a:r>
          </a:p>
          <a:p>
            <a:pPr marL="285750" marR="0" lvl="0" indent="-28575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/>
              <a:t>1895 hat Statkraft den ersten </a:t>
            </a:r>
            <a:r>
              <a:rPr lang="en-GB" dirty="0" err="1"/>
              <a:t>Wasserfall</a:t>
            </a:r>
            <a:r>
              <a:rPr lang="en-GB" dirty="0"/>
              <a:t> in </a:t>
            </a:r>
            <a:r>
              <a:rPr lang="en-GB" dirty="0" err="1"/>
              <a:t>Norwegen</a:t>
            </a:r>
            <a:r>
              <a:rPr lang="en-GB" dirty="0"/>
              <a:t> </a:t>
            </a:r>
            <a:r>
              <a:rPr lang="en-GB" dirty="0" err="1"/>
              <a:t>zur</a:t>
            </a:r>
            <a:r>
              <a:rPr lang="en-GB" dirty="0"/>
              <a:t> </a:t>
            </a:r>
            <a:r>
              <a:rPr lang="en-GB" err="1"/>
              <a:t>Stromerzeugung</a:t>
            </a:r>
            <a:r>
              <a:rPr lang="en-GB"/>
              <a:t> erschlossen, Elektrifizierung von Bahnschienen </a:t>
            </a:r>
          </a:p>
          <a:p>
            <a:pPr marL="285750" marR="0" lvl="0" indent="-28575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/>
              <a:t>Es folgten viele Wasserkraftwerke, vor allem in Norwegen, die die wirtschaftliche Entwicklung des Landes geprägt haben </a:t>
            </a:r>
          </a:p>
          <a:p>
            <a:pPr marL="285750" marR="0" lvl="0" indent="-28575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dirty="0"/>
          </a:p>
          <a:p>
            <a:pPr marL="285750" marR="0" lvl="0" indent="-28575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/>
              <a:t>Ende der 1990er Jahre sind wir dann im Zuge der Liberalisierung der Energiemärkte in weitere europäische Märkte eingetreten </a:t>
            </a:r>
          </a:p>
          <a:p>
            <a:pPr marL="285750" marR="0" lvl="0" indent="-28575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/>
              <a:t>Dabei sind wir stets im Energiehandel gestartet und haben dann Kraftwerksgschäfte aufgebaut  </a:t>
            </a:r>
          </a:p>
          <a:p>
            <a:pPr marL="834371" marR="0" lvl="1" indent="-28575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/>
              <a:t>Zunächst in GB, den Niederlanden, dann Deutschland usw. </a:t>
            </a:r>
          </a:p>
          <a:p>
            <a:pPr marL="285750" indent="-285750">
              <a:buFontTx/>
              <a:buChar char="-"/>
            </a:pPr>
            <a:endParaRPr lang="en-GB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41BEC-07AB-7146-9F1F-70C99F495112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31705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en-GB"/>
              <a:t>Über 5.700 Mitarbeiter in Europa, Süd- und Nordamerika und Südasien arbeiten daran, erneuerbare Energien weltweit auszubauen</a:t>
            </a:r>
          </a:p>
          <a:p>
            <a:pPr marL="285750" indent="-285750">
              <a:buFontTx/>
              <a:buChar char="-"/>
            </a:pPr>
            <a:r>
              <a:rPr lang="en-GB"/>
              <a:t>60 TWh entspricht etwa 5 bis 6 AKW </a:t>
            </a:r>
          </a:p>
          <a:p>
            <a:pPr marL="285750" indent="-285750">
              <a:buFontTx/>
              <a:buChar char="-"/>
            </a:pPr>
            <a:r>
              <a:rPr lang="en-GB"/>
              <a:t>3 Mio Handelsverträge: </a:t>
            </a:r>
          </a:p>
          <a:p>
            <a:pPr marL="834371" lvl="1" indent="-285750">
              <a:buFontTx/>
              <a:buChar char="-"/>
            </a:pPr>
            <a:r>
              <a:rPr lang="en-GB"/>
              <a:t>von langfristigen Geschäften bis zu Intraday-Tradings </a:t>
            </a:r>
          </a:p>
          <a:p>
            <a:pPr marL="834371" lvl="1" indent="-285750">
              <a:buFontTx/>
              <a:buChar char="-"/>
            </a:pPr>
            <a:r>
              <a:rPr lang="en-GB"/>
              <a:t>Langfristige Verträge mit Industrie und Gewerbe, Dekarbonisierung mit EE-MIX – Finanzierung EE über PPA  </a:t>
            </a:r>
          </a:p>
          <a:p>
            <a:pPr marL="834371" lvl="1" indent="-285750">
              <a:buFontTx/>
              <a:buChar char="-"/>
            </a:pPr>
            <a:r>
              <a:rPr lang="en-GB"/>
              <a:t>Großer DV erneuerbare Energien – wir verschaffen Anlagenbetreibern Markzugang </a:t>
            </a:r>
          </a:p>
          <a:p>
            <a:pPr marL="834371" lvl="1" indent="-285750">
              <a:buFontTx/>
              <a:buChar char="-"/>
            </a:pPr>
            <a:r>
              <a:rPr lang="en-GB"/>
              <a:t>Wir managen Risiken</a:t>
            </a:r>
          </a:p>
          <a:p>
            <a:pPr marL="834371" lvl="1" indent="-285750">
              <a:buFontTx/>
              <a:buChar char="-"/>
            </a:pPr>
            <a:endParaRPr lang="en-GB"/>
          </a:p>
          <a:p>
            <a:pPr marL="285750" indent="-285750">
              <a:buFontTx/>
              <a:buChar char="-"/>
            </a:pPr>
            <a:r>
              <a:rPr lang="en-GB"/>
              <a:t>478 KW weltweit, überwiegend Wassekraft, überwiegend in Norwegen. </a:t>
            </a:r>
          </a:p>
          <a:p>
            <a:pPr marL="834371" lvl="1" indent="-285750">
              <a:buFontTx/>
              <a:buChar char="-"/>
            </a:pPr>
            <a:r>
              <a:rPr lang="en-GB"/>
              <a:t>Dies versetzt uns in die Lage “flexible verfügbare Energie” bereitzustellen</a:t>
            </a:r>
          </a:p>
          <a:p>
            <a:pPr marL="834371" lvl="1" indent="-285750">
              <a:buFontTx/>
              <a:buChar char="-"/>
            </a:pPr>
            <a:r>
              <a:rPr lang="en-GB"/>
              <a:t>Wichtig für die Energiesysteme der Zukunft</a:t>
            </a:r>
          </a:p>
          <a:p>
            <a:pPr marL="834371" lvl="1" indent="-285750">
              <a:buFontTx/>
              <a:buChar char="-"/>
            </a:pPr>
            <a:r>
              <a:rPr lang="en-GB"/>
              <a:t>Seit 20 Jahre enwickeln und betreiben wir Wind, Solar und auch Biomassekraftwerke  </a:t>
            </a:r>
          </a:p>
          <a:p>
            <a:endParaRPr lang="en-GB"/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41BEC-07AB-7146-9F1F-70C99F495112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03837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41BEC-07AB-7146-9F1F-70C99F495112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0A2FEF48-7ADB-4B3C-89AD-5413EE5DFD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3351114B-1A65-4687-A42E-B1906DA8FA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07240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ir sind entlang der gesamten Wertschöpfungskette aktiv – von der Erzeugung, über die Vermarktung bis hin zur Entwicklung von neuen Kraftwerken und Technologien </a:t>
            </a:r>
          </a:p>
          <a:p>
            <a:pPr marL="285750" marR="0" lvl="0" indent="-28575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ir haben uns viel vorgenommen, um die Energiewende voranzutreiben </a:t>
            </a:r>
          </a:p>
          <a:p>
            <a:pPr marL="834371" marR="0" lvl="1" indent="-28575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800" b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400 MW in DE – ungef. ein Kohlekraftwerk oder ca. 200.000 Haushalte </a:t>
            </a:r>
          </a:p>
          <a:p>
            <a:pPr marL="834371" marR="0" lvl="1" indent="-28575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800" b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4 GW – das 10fache </a:t>
            </a:r>
            <a:endParaRPr lang="de-DE" sz="1800" b="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367EE9-F3C1-46A5-8403-DD04EFA17F2B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97893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1999 </a:t>
            </a:r>
            <a:r>
              <a:rPr lang="en-GB" dirty="0"/>
              <a:t>hat Statkraft das </a:t>
            </a:r>
            <a:r>
              <a:rPr lang="en-GB" dirty="0" err="1"/>
              <a:t>Düsseldorfer</a:t>
            </a:r>
            <a:r>
              <a:rPr lang="en-GB" dirty="0"/>
              <a:t> Büro </a:t>
            </a:r>
            <a:r>
              <a:rPr lang="en-GB" dirty="0" err="1"/>
              <a:t>mit</a:t>
            </a:r>
            <a:r>
              <a:rPr lang="en-GB" dirty="0"/>
              <a:t> </a:t>
            </a:r>
            <a:r>
              <a:rPr lang="en-GB" dirty="0" err="1"/>
              <a:t>einer</a:t>
            </a:r>
            <a:r>
              <a:rPr lang="en-GB" dirty="0"/>
              <a:t> </a:t>
            </a:r>
            <a:r>
              <a:rPr lang="en-GB" dirty="0" err="1"/>
              <a:t>handvoll</a:t>
            </a:r>
            <a:r>
              <a:rPr lang="en-GB" dirty="0"/>
              <a:t> </a:t>
            </a:r>
            <a:r>
              <a:rPr lang="en-GB" dirty="0" err="1"/>
              <a:t>Personen</a:t>
            </a:r>
            <a:r>
              <a:rPr lang="en-GB" dirty="0"/>
              <a:t> </a:t>
            </a:r>
            <a:r>
              <a:rPr lang="en-GB" dirty="0" err="1"/>
              <a:t>eröffnet</a:t>
            </a:r>
            <a:r>
              <a:rPr lang="en-GB" dirty="0"/>
              <a:t> – </a:t>
            </a:r>
            <a:r>
              <a:rPr lang="en-GB" dirty="0" err="1"/>
              <a:t>jetzt</a:t>
            </a:r>
            <a:r>
              <a:rPr lang="en-GB" dirty="0"/>
              <a:t> </a:t>
            </a:r>
            <a:r>
              <a:rPr lang="en-GB" dirty="0" err="1"/>
              <a:t>sind</a:t>
            </a:r>
            <a:r>
              <a:rPr lang="en-GB" dirty="0"/>
              <a:t> </a:t>
            </a:r>
            <a:r>
              <a:rPr lang="en-GB" dirty="0" err="1"/>
              <a:t>wir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</a:t>
            </a:r>
            <a:r>
              <a:rPr lang="en-GB" dirty="0" err="1"/>
              <a:t>über</a:t>
            </a:r>
            <a:r>
              <a:rPr lang="en-GB" dirty="0"/>
              <a:t> 650 </a:t>
            </a:r>
            <a:r>
              <a:rPr lang="en-GB" dirty="0" err="1"/>
              <a:t>Mitarbeiter:innen</a:t>
            </a:r>
            <a:r>
              <a:rPr lang="en-GB" dirty="0"/>
              <a:t> </a:t>
            </a:r>
            <a:r>
              <a:rPr lang="en-GB" dirty="0" err="1"/>
              <a:t>einer</a:t>
            </a:r>
            <a:r>
              <a:rPr lang="en-GB" dirty="0"/>
              <a:t> der </a:t>
            </a:r>
            <a:r>
              <a:rPr lang="en-GB" dirty="0" err="1"/>
              <a:t>größten</a:t>
            </a:r>
            <a:r>
              <a:rPr lang="en-GB" dirty="0"/>
              <a:t> und </a:t>
            </a:r>
            <a:r>
              <a:rPr lang="en-GB" dirty="0" err="1"/>
              <a:t>wichtigsten</a:t>
            </a:r>
            <a:r>
              <a:rPr lang="en-GB" dirty="0"/>
              <a:t> </a:t>
            </a:r>
            <a:r>
              <a:rPr lang="en-GB" dirty="0" err="1"/>
              <a:t>Märkte</a:t>
            </a:r>
            <a:r>
              <a:rPr lang="en-GB" dirty="0"/>
              <a:t> von Statkra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Neben</a:t>
            </a:r>
            <a:r>
              <a:rPr lang="en-GB" dirty="0"/>
              <a:t> </a:t>
            </a:r>
            <a:r>
              <a:rPr lang="en-GB" dirty="0" err="1"/>
              <a:t>dem</a:t>
            </a:r>
            <a:r>
              <a:rPr lang="en-GB" dirty="0"/>
              <a:t> Handel von </a:t>
            </a:r>
            <a:r>
              <a:rPr lang="en-GB" dirty="0" err="1"/>
              <a:t>Energieprodukten</a:t>
            </a:r>
            <a:r>
              <a:rPr lang="en-GB" dirty="0"/>
              <a:t> und der </a:t>
            </a:r>
            <a:r>
              <a:rPr lang="en-GB" dirty="0" err="1"/>
              <a:t>Vermarktung</a:t>
            </a:r>
            <a:r>
              <a:rPr lang="en-GB" dirty="0"/>
              <a:t> von </a:t>
            </a:r>
            <a:r>
              <a:rPr lang="en-GB" dirty="0" err="1"/>
              <a:t>erneuerbarer</a:t>
            </a:r>
            <a:r>
              <a:rPr lang="en-GB" dirty="0"/>
              <a:t> Energie </a:t>
            </a:r>
            <a:r>
              <a:rPr lang="en-GB" dirty="0" err="1"/>
              <a:t>betreiben</a:t>
            </a:r>
            <a:r>
              <a:rPr lang="en-GB" dirty="0"/>
              <a:t> </a:t>
            </a:r>
            <a:r>
              <a:rPr lang="en-GB" dirty="0" err="1"/>
              <a:t>wir</a:t>
            </a:r>
            <a:r>
              <a:rPr lang="en-GB" dirty="0"/>
              <a:t> 89 </a:t>
            </a:r>
            <a:r>
              <a:rPr lang="en-GB" dirty="0" err="1"/>
              <a:t>Kraftwerke</a:t>
            </a:r>
            <a:r>
              <a:rPr lang="en-GB" dirty="0"/>
              <a:t> in </a:t>
            </a:r>
            <a:r>
              <a:rPr lang="en-GB"/>
              <a:t>Deutschland – Wind- und Solarpark, Gas- </a:t>
            </a:r>
            <a:r>
              <a:rPr lang="en-GB" dirty="0"/>
              <a:t>und </a:t>
            </a:r>
            <a:r>
              <a:rPr lang="en-GB" dirty="0" err="1"/>
              <a:t>Biomassekraftwerke</a:t>
            </a:r>
            <a:r>
              <a:rPr lang="en-GB"/>
              <a:t>, Wasserkraftwerke und Speicher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Im Bereich Wind gehören wir zu den </a:t>
            </a:r>
            <a:r>
              <a:rPr lang="en-GB" dirty="0"/>
              <a:t>Top-10-Betreibern von Onshore-</a:t>
            </a:r>
            <a:r>
              <a:rPr lang="en-GB" dirty="0" err="1"/>
              <a:t>Windparks</a:t>
            </a:r>
            <a:r>
              <a:rPr lang="en-GB" dirty="0"/>
              <a:t> (600 MW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41BEC-07AB-7146-9F1F-70C99F495112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5767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E41BEC-07AB-7146-9F1F-70C99F49511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56257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E41BEC-07AB-7146-9F1F-70C99F49511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45699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sv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sv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8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9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0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8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9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0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sv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5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6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7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9704060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raphic 5">
            <a:extLst>
              <a:ext uri="{FF2B5EF4-FFF2-40B4-BE49-F238E27FC236}">
                <a16:creationId xmlns:a16="http://schemas.microsoft.com/office/drawing/2014/main" id="{3A45DB2C-420A-4A46-9176-30488C4A057E}"/>
              </a:ext>
            </a:extLst>
          </p:cNvPr>
          <p:cNvSpPr/>
          <p:nvPr/>
        </p:nvSpPr>
        <p:spPr>
          <a:xfrm>
            <a:off x="4926457" y="0"/>
            <a:ext cx="7265543" cy="6845276"/>
          </a:xfrm>
          <a:custGeom>
            <a:avLst/>
            <a:gdLst>
              <a:gd name="connsiteX0" fmla="*/ 2134621 w 7265542"/>
              <a:gd name="connsiteY0" fmla="*/ 6837897 h 6845276"/>
              <a:gd name="connsiteX1" fmla="*/ 1877972 w 7265542"/>
              <a:gd name="connsiteY1" fmla="*/ 6655441 h 6845276"/>
              <a:gd name="connsiteX2" fmla="*/ 1560503 w 7265542"/>
              <a:gd name="connsiteY2" fmla="*/ 6389519 h 6845276"/>
              <a:gd name="connsiteX3" fmla="*/ 1495609 w 7265542"/>
              <a:gd name="connsiteY3" fmla="*/ 6305670 h 6845276"/>
              <a:gd name="connsiteX4" fmla="*/ 1541926 w 7265542"/>
              <a:gd name="connsiteY4" fmla="*/ 6292947 h 6845276"/>
              <a:gd name="connsiteX5" fmla="*/ 1909402 w 7265542"/>
              <a:gd name="connsiteY5" fmla="*/ 6333789 h 6845276"/>
              <a:gd name="connsiteX6" fmla="*/ 2362258 w 7265542"/>
              <a:gd name="connsiteY6" fmla="*/ 6339133 h 6845276"/>
              <a:gd name="connsiteX7" fmla="*/ 2887769 w 7265542"/>
              <a:gd name="connsiteY7" fmla="*/ 6288239 h 6845276"/>
              <a:gd name="connsiteX8" fmla="*/ 3362637 w 7265542"/>
              <a:gd name="connsiteY8" fmla="*/ 6207444 h 6845276"/>
              <a:gd name="connsiteX9" fmla="*/ 3823255 w 7265542"/>
              <a:gd name="connsiteY9" fmla="*/ 6126650 h 6845276"/>
              <a:gd name="connsiteX10" fmla="*/ 4278274 w 7265542"/>
              <a:gd name="connsiteY10" fmla="*/ 6088479 h 6845276"/>
              <a:gd name="connsiteX11" fmla="*/ 4877204 w 7265542"/>
              <a:gd name="connsiteY11" fmla="*/ 6126650 h 6845276"/>
              <a:gd name="connsiteX12" fmla="*/ 5343929 w 7265542"/>
              <a:gd name="connsiteY12" fmla="*/ 6239635 h 6845276"/>
              <a:gd name="connsiteX13" fmla="*/ 5368487 w 7265542"/>
              <a:gd name="connsiteY13" fmla="*/ 6267372 h 6845276"/>
              <a:gd name="connsiteX14" fmla="*/ 5347238 w 7265542"/>
              <a:gd name="connsiteY14" fmla="*/ 6276406 h 6845276"/>
              <a:gd name="connsiteX15" fmla="*/ 4678070 w 7265542"/>
              <a:gd name="connsiteY15" fmla="*/ 6324629 h 6845276"/>
              <a:gd name="connsiteX16" fmla="*/ 3901891 w 7265542"/>
              <a:gd name="connsiteY16" fmla="*/ 6573374 h 6845276"/>
              <a:gd name="connsiteX17" fmla="*/ 3526017 w 7265542"/>
              <a:gd name="connsiteY17" fmla="*/ 6721095 h 6845276"/>
              <a:gd name="connsiteX18" fmla="*/ 3009413 w 7265542"/>
              <a:gd name="connsiteY18" fmla="*/ 6854310 h 6845276"/>
              <a:gd name="connsiteX19" fmla="*/ 7275215 w 7265542"/>
              <a:gd name="connsiteY19" fmla="*/ 6854311 h 6845276"/>
              <a:gd name="connsiteX20" fmla="*/ 7275215 w 7265542"/>
              <a:gd name="connsiteY20" fmla="*/ 0 h 6845276"/>
              <a:gd name="connsiteX21" fmla="*/ 1146711 w 7265542"/>
              <a:gd name="connsiteY21" fmla="*/ 0 h 6845276"/>
              <a:gd name="connsiteX22" fmla="*/ 2 w 7265542"/>
              <a:gd name="connsiteY22" fmla="*/ 3050347 h 6845276"/>
              <a:gd name="connsiteX23" fmla="*/ 1986638 w 7265542"/>
              <a:gd name="connsiteY23" fmla="*/ 6854692 h 6845276"/>
              <a:gd name="connsiteX24" fmla="*/ 2162105 w 7265542"/>
              <a:gd name="connsiteY24" fmla="*/ 6854692 h 6845276"/>
              <a:gd name="connsiteX25" fmla="*/ 2134621 w 7265542"/>
              <a:gd name="connsiteY25" fmla="*/ 6837897 h 6845276"/>
              <a:gd name="connsiteX26" fmla="*/ 481360 w 7265542"/>
              <a:gd name="connsiteY26" fmla="*/ 1206321 h 6845276"/>
              <a:gd name="connsiteX27" fmla="*/ 755694 w 7265542"/>
              <a:gd name="connsiteY27" fmla="*/ 684655 h 6845276"/>
              <a:gd name="connsiteX28" fmla="*/ 796285 w 7265542"/>
              <a:gd name="connsiteY28" fmla="*/ 621037 h 6845276"/>
              <a:gd name="connsiteX29" fmla="*/ 858761 w 7265542"/>
              <a:gd name="connsiteY29" fmla="*/ 601061 h 6845276"/>
              <a:gd name="connsiteX30" fmla="*/ 893498 w 7265542"/>
              <a:gd name="connsiteY30" fmla="*/ 609204 h 6845276"/>
              <a:gd name="connsiteX31" fmla="*/ 1269626 w 7265542"/>
              <a:gd name="connsiteY31" fmla="*/ 624727 h 6845276"/>
              <a:gd name="connsiteX32" fmla="*/ 2060311 w 7265542"/>
              <a:gd name="connsiteY32" fmla="*/ 534390 h 6845276"/>
              <a:gd name="connsiteX33" fmla="*/ 2977475 w 7265542"/>
              <a:gd name="connsiteY33" fmla="*/ 385778 h 6845276"/>
              <a:gd name="connsiteX34" fmla="*/ 3465449 w 7265542"/>
              <a:gd name="connsiteY34" fmla="*/ 307529 h 6845276"/>
              <a:gd name="connsiteX35" fmla="*/ 4516472 w 7265542"/>
              <a:gd name="connsiteY35" fmla="*/ 287171 h 6845276"/>
              <a:gd name="connsiteX36" fmla="*/ 5616610 w 7265542"/>
              <a:gd name="connsiteY36" fmla="*/ 451559 h 6845276"/>
              <a:gd name="connsiteX37" fmla="*/ 6033074 w 7265542"/>
              <a:gd name="connsiteY37" fmla="*/ 554366 h 6845276"/>
              <a:gd name="connsiteX38" fmla="*/ 6356270 w 7265542"/>
              <a:gd name="connsiteY38" fmla="*/ 650556 h 6845276"/>
              <a:gd name="connsiteX39" fmla="*/ 6368104 w 7265542"/>
              <a:gd name="connsiteY39" fmla="*/ 662389 h 6845276"/>
              <a:gd name="connsiteX40" fmla="*/ 6354235 w 7265542"/>
              <a:gd name="connsiteY40" fmla="*/ 670150 h 6845276"/>
              <a:gd name="connsiteX41" fmla="*/ 6323951 w 7265542"/>
              <a:gd name="connsiteY41" fmla="*/ 668623 h 6845276"/>
              <a:gd name="connsiteX42" fmla="*/ 5538483 w 7265542"/>
              <a:gd name="connsiteY42" fmla="*/ 638087 h 6845276"/>
              <a:gd name="connsiteX43" fmla="*/ 4388084 w 7265542"/>
              <a:gd name="connsiteY43" fmla="*/ 695852 h 6845276"/>
              <a:gd name="connsiteX44" fmla="*/ 3048476 w 7265542"/>
              <a:gd name="connsiteY44" fmla="*/ 978569 h 6845276"/>
              <a:gd name="connsiteX45" fmla="*/ 2052295 w 7265542"/>
              <a:gd name="connsiteY45" fmla="*/ 1292460 h 6845276"/>
              <a:gd name="connsiteX46" fmla="*/ 1135258 w 7265542"/>
              <a:gd name="connsiteY46" fmla="*/ 1461301 h 6845276"/>
              <a:gd name="connsiteX47" fmla="*/ 715994 w 7265542"/>
              <a:gd name="connsiteY47" fmla="*/ 1438653 h 6845276"/>
              <a:gd name="connsiteX48" fmla="*/ 512407 w 7265542"/>
              <a:gd name="connsiteY48" fmla="*/ 1355950 h 6845276"/>
              <a:gd name="connsiteX49" fmla="*/ 481360 w 7265542"/>
              <a:gd name="connsiteY49" fmla="*/ 1206321 h 6845276"/>
              <a:gd name="connsiteX50" fmla="*/ 90853 w 7265542"/>
              <a:gd name="connsiteY50" fmla="*/ 3171730 h 6845276"/>
              <a:gd name="connsiteX51" fmla="*/ 124444 w 7265542"/>
              <a:gd name="connsiteY51" fmla="*/ 2481222 h 6845276"/>
              <a:gd name="connsiteX52" fmla="*/ 130807 w 7265542"/>
              <a:gd name="connsiteY52" fmla="*/ 2431727 h 6845276"/>
              <a:gd name="connsiteX53" fmla="*/ 158673 w 7265542"/>
              <a:gd name="connsiteY53" fmla="*/ 2387958 h 6845276"/>
              <a:gd name="connsiteX54" fmla="*/ 223057 w 7265542"/>
              <a:gd name="connsiteY54" fmla="*/ 2384777 h 6845276"/>
              <a:gd name="connsiteX55" fmla="*/ 259322 w 7265542"/>
              <a:gd name="connsiteY55" fmla="*/ 2391266 h 6845276"/>
              <a:gd name="connsiteX56" fmla="*/ 507444 w 7265542"/>
              <a:gd name="connsiteY56" fmla="*/ 2427656 h 6845276"/>
              <a:gd name="connsiteX57" fmla="*/ 1094159 w 7265542"/>
              <a:gd name="connsiteY57" fmla="*/ 2453103 h 6845276"/>
              <a:gd name="connsiteX58" fmla="*/ 1746532 w 7265542"/>
              <a:gd name="connsiteY58" fmla="*/ 2400936 h 6845276"/>
              <a:gd name="connsiteX59" fmla="*/ 2181191 w 7265542"/>
              <a:gd name="connsiteY59" fmla="*/ 2333247 h 6845276"/>
              <a:gd name="connsiteX60" fmla="*/ 2915889 w 7265542"/>
              <a:gd name="connsiteY60" fmla="*/ 2187562 h 6845276"/>
              <a:gd name="connsiteX61" fmla="*/ 3574496 w 7265542"/>
              <a:gd name="connsiteY61" fmla="*/ 2056255 h 6845276"/>
              <a:gd name="connsiteX62" fmla="*/ 4130291 w 7265542"/>
              <a:gd name="connsiteY62" fmla="*/ 1971898 h 6845276"/>
              <a:gd name="connsiteX63" fmla="*/ 4859390 w 7265542"/>
              <a:gd name="connsiteY63" fmla="*/ 1932327 h 6845276"/>
              <a:gd name="connsiteX64" fmla="*/ 5559223 w 7265542"/>
              <a:gd name="connsiteY64" fmla="*/ 1978769 h 6845276"/>
              <a:gd name="connsiteX65" fmla="*/ 6203070 w 7265542"/>
              <a:gd name="connsiteY65" fmla="*/ 2094298 h 6845276"/>
              <a:gd name="connsiteX66" fmla="*/ 6813071 w 7265542"/>
              <a:gd name="connsiteY66" fmla="*/ 2274591 h 6845276"/>
              <a:gd name="connsiteX67" fmla="*/ 7072900 w 7265542"/>
              <a:gd name="connsiteY67" fmla="*/ 2378543 h 6845276"/>
              <a:gd name="connsiteX68" fmla="*/ 7081807 w 7265542"/>
              <a:gd name="connsiteY68" fmla="*/ 2395338 h 6845276"/>
              <a:gd name="connsiteX69" fmla="*/ 7056358 w 7265542"/>
              <a:gd name="connsiteY69" fmla="*/ 2404372 h 6845276"/>
              <a:gd name="connsiteX70" fmla="*/ 6849080 w 7265542"/>
              <a:gd name="connsiteY70" fmla="*/ 2399537 h 6845276"/>
              <a:gd name="connsiteX71" fmla="*/ 5240990 w 7265542"/>
              <a:gd name="connsiteY71" fmla="*/ 2475878 h 6845276"/>
              <a:gd name="connsiteX72" fmla="*/ 3948462 w 7265542"/>
              <a:gd name="connsiteY72" fmla="*/ 2780480 h 6845276"/>
              <a:gd name="connsiteX73" fmla="*/ 2170630 w 7265542"/>
              <a:gd name="connsiteY73" fmla="*/ 3365764 h 6845276"/>
              <a:gd name="connsiteX74" fmla="*/ 585826 w 7265542"/>
              <a:gd name="connsiteY74" fmla="*/ 3561071 h 6845276"/>
              <a:gd name="connsiteX75" fmla="*/ 183231 w 7265542"/>
              <a:gd name="connsiteY75" fmla="*/ 3421875 h 6845276"/>
              <a:gd name="connsiteX76" fmla="*/ 90853 w 7265542"/>
              <a:gd name="connsiteY76" fmla="*/ 3171730 h 6845276"/>
              <a:gd name="connsiteX77" fmla="*/ 1182338 w 7265542"/>
              <a:gd name="connsiteY77" fmla="*/ 5427363 h 6845276"/>
              <a:gd name="connsiteX78" fmla="*/ 591552 w 7265542"/>
              <a:gd name="connsiteY78" fmla="*/ 5123270 h 6845276"/>
              <a:gd name="connsiteX79" fmla="*/ 349791 w 7265542"/>
              <a:gd name="connsiteY79" fmla="*/ 4568904 h 6845276"/>
              <a:gd name="connsiteX80" fmla="*/ 334013 w 7265542"/>
              <a:gd name="connsiteY80" fmla="*/ 4521572 h 6845276"/>
              <a:gd name="connsiteX81" fmla="*/ 338339 w 7265542"/>
              <a:gd name="connsiteY81" fmla="*/ 4457955 h 6845276"/>
              <a:gd name="connsiteX82" fmla="*/ 424991 w 7265542"/>
              <a:gd name="connsiteY82" fmla="*/ 4457955 h 6845276"/>
              <a:gd name="connsiteX83" fmla="*/ 1049497 w 7265542"/>
              <a:gd name="connsiteY83" fmla="*/ 4542312 h 6845276"/>
              <a:gd name="connsiteX84" fmla="*/ 1610127 w 7265542"/>
              <a:gd name="connsiteY84" fmla="*/ 4563433 h 6845276"/>
              <a:gd name="connsiteX85" fmla="*/ 2116552 w 7265542"/>
              <a:gd name="connsiteY85" fmla="*/ 4537986 h 6845276"/>
              <a:gd name="connsiteX86" fmla="*/ 2803661 w 7265542"/>
              <a:gd name="connsiteY86" fmla="*/ 4440142 h 6845276"/>
              <a:gd name="connsiteX87" fmla="*/ 3652623 w 7265542"/>
              <a:gd name="connsiteY87" fmla="*/ 4257813 h 6845276"/>
              <a:gd name="connsiteX88" fmla="*/ 4171772 w 7265542"/>
              <a:gd name="connsiteY88" fmla="*/ 4160605 h 6845276"/>
              <a:gd name="connsiteX89" fmla="*/ 4583401 w 7265542"/>
              <a:gd name="connsiteY89" fmla="*/ 4127905 h 6845276"/>
              <a:gd name="connsiteX90" fmla="*/ 5135888 w 7265542"/>
              <a:gd name="connsiteY90" fmla="*/ 4149154 h 6845276"/>
              <a:gd name="connsiteX91" fmla="*/ 5791059 w 7265542"/>
              <a:gd name="connsiteY91" fmla="*/ 4241400 h 6845276"/>
              <a:gd name="connsiteX92" fmla="*/ 6230555 w 7265542"/>
              <a:gd name="connsiteY92" fmla="*/ 4347514 h 6845276"/>
              <a:gd name="connsiteX93" fmla="*/ 6386427 w 7265542"/>
              <a:gd name="connsiteY93" fmla="*/ 4395609 h 6845276"/>
              <a:gd name="connsiteX94" fmla="*/ 6403605 w 7265542"/>
              <a:gd name="connsiteY94" fmla="*/ 4415967 h 6845276"/>
              <a:gd name="connsiteX95" fmla="*/ 6382737 w 7265542"/>
              <a:gd name="connsiteY95" fmla="*/ 4424492 h 6845276"/>
              <a:gd name="connsiteX96" fmla="*/ 6364541 w 7265542"/>
              <a:gd name="connsiteY96" fmla="*/ 4422711 h 6845276"/>
              <a:gd name="connsiteX97" fmla="*/ 5164390 w 7265542"/>
              <a:gd name="connsiteY97" fmla="*/ 4511775 h 6845276"/>
              <a:gd name="connsiteX98" fmla="*/ 4289599 w 7265542"/>
              <a:gd name="connsiteY98" fmla="*/ 4790167 h 6845276"/>
              <a:gd name="connsiteX99" fmla="*/ 3144417 w 7265542"/>
              <a:gd name="connsiteY99" fmla="*/ 5183070 h 6845276"/>
              <a:gd name="connsiteX100" fmla="*/ 1923780 w 7265542"/>
              <a:gd name="connsiteY100" fmla="*/ 5443013 h 6845276"/>
              <a:gd name="connsiteX101" fmla="*/ 1182338 w 7265542"/>
              <a:gd name="connsiteY101" fmla="*/ 5427363 h 684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7265542" h="6845276">
                <a:moveTo>
                  <a:pt x="2134621" y="6837897"/>
                </a:moveTo>
                <a:cubicBezTo>
                  <a:pt x="2134621" y="6837897"/>
                  <a:pt x="2045551" y="6778605"/>
                  <a:pt x="1877972" y="6655441"/>
                </a:cubicBezTo>
                <a:cubicBezTo>
                  <a:pt x="1773252" y="6578464"/>
                  <a:pt x="1643337" y="6464588"/>
                  <a:pt x="1560503" y="6389519"/>
                </a:cubicBezTo>
                <a:cubicBezTo>
                  <a:pt x="1536072" y="6366871"/>
                  <a:pt x="1493701" y="6324628"/>
                  <a:pt x="1495609" y="6305670"/>
                </a:cubicBezTo>
                <a:cubicBezTo>
                  <a:pt x="1495609" y="6305670"/>
                  <a:pt x="1496627" y="6287985"/>
                  <a:pt x="1541926" y="6292947"/>
                </a:cubicBezTo>
                <a:cubicBezTo>
                  <a:pt x="1587224" y="6297909"/>
                  <a:pt x="1720956" y="6319794"/>
                  <a:pt x="1909402" y="6333789"/>
                </a:cubicBezTo>
                <a:cubicBezTo>
                  <a:pt x="2060167" y="6343218"/>
                  <a:pt x="2211312" y="6345002"/>
                  <a:pt x="2362258" y="6339133"/>
                </a:cubicBezTo>
                <a:cubicBezTo>
                  <a:pt x="2539252" y="6333408"/>
                  <a:pt x="2727825" y="6310124"/>
                  <a:pt x="2887769" y="6288239"/>
                </a:cubicBezTo>
                <a:cubicBezTo>
                  <a:pt x="3047712" y="6266355"/>
                  <a:pt x="3362637" y="6207444"/>
                  <a:pt x="3362637" y="6207444"/>
                </a:cubicBezTo>
                <a:cubicBezTo>
                  <a:pt x="3362637" y="6207444"/>
                  <a:pt x="3615214" y="6158459"/>
                  <a:pt x="3823255" y="6126650"/>
                </a:cubicBezTo>
                <a:cubicBezTo>
                  <a:pt x="3973869" y="6103476"/>
                  <a:pt x="4125904" y="6090723"/>
                  <a:pt x="4278274" y="6088479"/>
                </a:cubicBezTo>
                <a:cubicBezTo>
                  <a:pt x="4478495" y="6089387"/>
                  <a:pt x="4678488" y="6102132"/>
                  <a:pt x="4877204" y="6126650"/>
                </a:cubicBezTo>
                <a:cubicBezTo>
                  <a:pt x="5169862" y="6164820"/>
                  <a:pt x="5330060" y="6233146"/>
                  <a:pt x="5343929" y="6239635"/>
                </a:cubicBezTo>
                <a:cubicBezTo>
                  <a:pt x="5357799" y="6246124"/>
                  <a:pt x="5371287" y="6256430"/>
                  <a:pt x="5368487" y="6267372"/>
                </a:cubicBezTo>
                <a:cubicBezTo>
                  <a:pt x="5365688" y="6278315"/>
                  <a:pt x="5347238" y="6276406"/>
                  <a:pt x="5347238" y="6276406"/>
                </a:cubicBezTo>
                <a:cubicBezTo>
                  <a:pt x="5123140" y="6270490"/>
                  <a:pt x="4899003" y="6286642"/>
                  <a:pt x="4678070" y="6324629"/>
                </a:cubicBezTo>
                <a:cubicBezTo>
                  <a:pt x="4339478" y="6386592"/>
                  <a:pt x="3901891" y="6573374"/>
                  <a:pt x="3901891" y="6573374"/>
                </a:cubicBezTo>
                <a:lnTo>
                  <a:pt x="3526017" y="6721095"/>
                </a:lnTo>
                <a:cubicBezTo>
                  <a:pt x="3358065" y="6780596"/>
                  <a:pt x="3185194" y="6825174"/>
                  <a:pt x="3009413" y="6854310"/>
                </a:cubicBezTo>
                <a:lnTo>
                  <a:pt x="7275215" y="6854311"/>
                </a:lnTo>
                <a:lnTo>
                  <a:pt x="7275215" y="0"/>
                </a:lnTo>
                <a:lnTo>
                  <a:pt x="1146711" y="0"/>
                </a:lnTo>
                <a:cubicBezTo>
                  <a:pt x="406626" y="843748"/>
                  <a:pt x="-988" y="1928039"/>
                  <a:pt x="2" y="3050347"/>
                </a:cubicBezTo>
                <a:cubicBezTo>
                  <a:pt x="1" y="4622852"/>
                  <a:pt x="786360" y="6014937"/>
                  <a:pt x="1986638" y="6854692"/>
                </a:cubicBezTo>
                <a:lnTo>
                  <a:pt x="2162105" y="6854692"/>
                </a:lnTo>
                <a:cubicBezTo>
                  <a:pt x="2152501" y="6849854"/>
                  <a:pt x="2143308" y="6844237"/>
                  <a:pt x="2134621" y="6837897"/>
                </a:cubicBezTo>
                <a:close/>
                <a:moveTo>
                  <a:pt x="481360" y="1206321"/>
                </a:moveTo>
                <a:cubicBezTo>
                  <a:pt x="568648" y="1000072"/>
                  <a:pt x="755694" y="684655"/>
                  <a:pt x="755694" y="684655"/>
                </a:cubicBezTo>
                <a:cubicBezTo>
                  <a:pt x="755694" y="684655"/>
                  <a:pt x="773890" y="653609"/>
                  <a:pt x="796285" y="621037"/>
                </a:cubicBezTo>
                <a:cubicBezTo>
                  <a:pt x="818680" y="588465"/>
                  <a:pt x="858761" y="601061"/>
                  <a:pt x="858761" y="601061"/>
                </a:cubicBezTo>
                <a:lnTo>
                  <a:pt x="893498" y="609204"/>
                </a:lnTo>
                <a:cubicBezTo>
                  <a:pt x="1024049" y="637832"/>
                  <a:pt x="1269626" y="624727"/>
                  <a:pt x="1269626" y="624727"/>
                </a:cubicBezTo>
                <a:cubicBezTo>
                  <a:pt x="1534800" y="610731"/>
                  <a:pt x="1942103" y="551694"/>
                  <a:pt x="2060311" y="534390"/>
                </a:cubicBezTo>
                <a:cubicBezTo>
                  <a:pt x="2178519" y="517086"/>
                  <a:pt x="2977475" y="385778"/>
                  <a:pt x="2977475" y="385778"/>
                </a:cubicBezTo>
                <a:cubicBezTo>
                  <a:pt x="3170883" y="350661"/>
                  <a:pt x="3465449" y="307529"/>
                  <a:pt x="3465449" y="307529"/>
                </a:cubicBezTo>
                <a:cubicBezTo>
                  <a:pt x="3938791" y="242257"/>
                  <a:pt x="4516472" y="287171"/>
                  <a:pt x="4516472" y="287171"/>
                </a:cubicBezTo>
                <a:cubicBezTo>
                  <a:pt x="4999993" y="314908"/>
                  <a:pt x="5616610" y="451559"/>
                  <a:pt x="5616610" y="451559"/>
                </a:cubicBezTo>
                <a:cubicBezTo>
                  <a:pt x="5789914" y="487821"/>
                  <a:pt x="6033074" y="554366"/>
                  <a:pt x="6033074" y="554366"/>
                </a:cubicBezTo>
                <a:cubicBezTo>
                  <a:pt x="6136268" y="581594"/>
                  <a:pt x="6356270" y="650556"/>
                  <a:pt x="6356270" y="650556"/>
                </a:cubicBezTo>
                <a:cubicBezTo>
                  <a:pt x="6356270" y="650556"/>
                  <a:pt x="6370140" y="654246"/>
                  <a:pt x="6368104" y="662389"/>
                </a:cubicBezTo>
                <a:cubicBezTo>
                  <a:pt x="6366068" y="670532"/>
                  <a:pt x="6354235" y="670150"/>
                  <a:pt x="6354235" y="670150"/>
                </a:cubicBezTo>
                <a:lnTo>
                  <a:pt x="6323951" y="668623"/>
                </a:lnTo>
                <a:cubicBezTo>
                  <a:pt x="6258166" y="664170"/>
                  <a:pt x="5799203" y="640250"/>
                  <a:pt x="5538483" y="638087"/>
                </a:cubicBezTo>
                <a:cubicBezTo>
                  <a:pt x="5277763" y="635924"/>
                  <a:pt x="4979762" y="634651"/>
                  <a:pt x="4388084" y="695852"/>
                </a:cubicBezTo>
                <a:cubicBezTo>
                  <a:pt x="3796407" y="757052"/>
                  <a:pt x="3182207" y="940017"/>
                  <a:pt x="3048476" y="978569"/>
                </a:cubicBezTo>
                <a:cubicBezTo>
                  <a:pt x="2914744" y="1017122"/>
                  <a:pt x="2052295" y="1292460"/>
                  <a:pt x="2052295" y="1292460"/>
                </a:cubicBezTo>
                <a:cubicBezTo>
                  <a:pt x="1560248" y="1436490"/>
                  <a:pt x="1356279" y="1447687"/>
                  <a:pt x="1135258" y="1461301"/>
                </a:cubicBezTo>
                <a:cubicBezTo>
                  <a:pt x="995096" y="1468825"/>
                  <a:pt x="854531" y="1461232"/>
                  <a:pt x="715994" y="1438653"/>
                </a:cubicBezTo>
                <a:cubicBezTo>
                  <a:pt x="567503" y="1413206"/>
                  <a:pt x="512407" y="1355950"/>
                  <a:pt x="512407" y="1355950"/>
                </a:cubicBezTo>
                <a:cubicBezTo>
                  <a:pt x="439370" y="1285080"/>
                  <a:pt x="481360" y="1206321"/>
                  <a:pt x="481360" y="1206321"/>
                </a:cubicBezTo>
                <a:close/>
                <a:moveTo>
                  <a:pt x="90853" y="3171730"/>
                </a:moveTo>
                <a:cubicBezTo>
                  <a:pt x="75965" y="2855804"/>
                  <a:pt x="124444" y="2481222"/>
                  <a:pt x="124444" y="2481222"/>
                </a:cubicBezTo>
                <a:cubicBezTo>
                  <a:pt x="124444" y="2481222"/>
                  <a:pt x="126353" y="2463027"/>
                  <a:pt x="130807" y="2431727"/>
                </a:cubicBezTo>
                <a:cubicBezTo>
                  <a:pt x="132916" y="2413645"/>
                  <a:pt x="143181" y="2397521"/>
                  <a:pt x="158673" y="2387958"/>
                </a:cubicBezTo>
                <a:cubicBezTo>
                  <a:pt x="179320" y="2380418"/>
                  <a:pt x="201767" y="2379309"/>
                  <a:pt x="223057" y="2384777"/>
                </a:cubicBezTo>
                <a:lnTo>
                  <a:pt x="259322" y="2391266"/>
                </a:lnTo>
                <a:cubicBezTo>
                  <a:pt x="370023" y="2412515"/>
                  <a:pt x="507444" y="2427656"/>
                  <a:pt x="507444" y="2427656"/>
                </a:cubicBezTo>
                <a:cubicBezTo>
                  <a:pt x="702225" y="2449267"/>
                  <a:pt x="898238" y="2457768"/>
                  <a:pt x="1094159" y="2453103"/>
                </a:cubicBezTo>
                <a:cubicBezTo>
                  <a:pt x="1391143" y="2449540"/>
                  <a:pt x="1746532" y="2400936"/>
                  <a:pt x="1746532" y="2400936"/>
                </a:cubicBezTo>
                <a:cubicBezTo>
                  <a:pt x="1889806" y="2383760"/>
                  <a:pt x="2181191" y="2333247"/>
                  <a:pt x="2181191" y="2333247"/>
                </a:cubicBezTo>
                <a:cubicBezTo>
                  <a:pt x="2304744" y="2311999"/>
                  <a:pt x="2776686" y="2216572"/>
                  <a:pt x="2915889" y="2187562"/>
                </a:cubicBezTo>
                <a:cubicBezTo>
                  <a:pt x="3055092" y="2158552"/>
                  <a:pt x="3574496" y="2056255"/>
                  <a:pt x="3574496" y="2056255"/>
                </a:cubicBezTo>
                <a:cubicBezTo>
                  <a:pt x="3807986" y="2011086"/>
                  <a:pt x="4130291" y="1971898"/>
                  <a:pt x="4130291" y="1971898"/>
                </a:cubicBezTo>
                <a:cubicBezTo>
                  <a:pt x="4372258" y="1943481"/>
                  <a:pt x="4615769" y="1930265"/>
                  <a:pt x="4859390" y="1932327"/>
                </a:cubicBezTo>
                <a:cubicBezTo>
                  <a:pt x="5005465" y="1932327"/>
                  <a:pt x="5246971" y="1942506"/>
                  <a:pt x="5559223" y="1978769"/>
                </a:cubicBezTo>
                <a:cubicBezTo>
                  <a:pt x="5775652" y="2006382"/>
                  <a:pt x="5990543" y="2044942"/>
                  <a:pt x="6203070" y="2094298"/>
                </a:cubicBezTo>
                <a:cubicBezTo>
                  <a:pt x="6430707" y="2145193"/>
                  <a:pt x="6688119" y="2230059"/>
                  <a:pt x="6813071" y="2274591"/>
                </a:cubicBezTo>
                <a:cubicBezTo>
                  <a:pt x="6938023" y="2319124"/>
                  <a:pt x="7067556" y="2376380"/>
                  <a:pt x="7072900" y="2378543"/>
                </a:cubicBezTo>
                <a:cubicBezTo>
                  <a:pt x="7078244" y="2380706"/>
                  <a:pt x="7084733" y="2384396"/>
                  <a:pt x="7081807" y="2395338"/>
                </a:cubicBezTo>
                <a:cubicBezTo>
                  <a:pt x="7078880" y="2406280"/>
                  <a:pt x="7056358" y="2404372"/>
                  <a:pt x="7056358" y="2404372"/>
                </a:cubicBezTo>
                <a:lnTo>
                  <a:pt x="6849080" y="2399537"/>
                </a:lnTo>
                <a:cubicBezTo>
                  <a:pt x="6392153" y="2388722"/>
                  <a:pt x="5724130" y="2406026"/>
                  <a:pt x="5240990" y="2475878"/>
                </a:cubicBezTo>
                <a:cubicBezTo>
                  <a:pt x="4757851" y="2545730"/>
                  <a:pt x="4231322" y="2695614"/>
                  <a:pt x="3948462" y="2780480"/>
                </a:cubicBezTo>
                <a:cubicBezTo>
                  <a:pt x="3665601" y="2865346"/>
                  <a:pt x="3110697" y="3050347"/>
                  <a:pt x="2170630" y="3365764"/>
                </a:cubicBezTo>
                <a:cubicBezTo>
                  <a:pt x="1230563" y="3681181"/>
                  <a:pt x="585826" y="3561071"/>
                  <a:pt x="585826" y="3561071"/>
                </a:cubicBezTo>
                <a:cubicBezTo>
                  <a:pt x="359589" y="3533715"/>
                  <a:pt x="282607" y="3501397"/>
                  <a:pt x="183231" y="3421875"/>
                </a:cubicBezTo>
                <a:cubicBezTo>
                  <a:pt x="83855" y="3342353"/>
                  <a:pt x="90853" y="3171730"/>
                  <a:pt x="90853" y="3171730"/>
                </a:cubicBezTo>
                <a:close/>
                <a:moveTo>
                  <a:pt x="1182338" y="5427363"/>
                </a:moveTo>
                <a:cubicBezTo>
                  <a:pt x="1011579" y="5404588"/>
                  <a:pt x="718794" y="5359928"/>
                  <a:pt x="591552" y="5123270"/>
                </a:cubicBezTo>
                <a:cubicBezTo>
                  <a:pt x="464309" y="4886611"/>
                  <a:pt x="349791" y="4568904"/>
                  <a:pt x="349791" y="4568904"/>
                </a:cubicBezTo>
                <a:cubicBezTo>
                  <a:pt x="349791" y="4568904"/>
                  <a:pt x="342157" y="4543457"/>
                  <a:pt x="334013" y="4521572"/>
                </a:cubicBezTo>
                <a:cubicBezTo>
                  <a:pt x="325869" y="4499688"/>
                  <a:pt x="316581" y="4473223"/>
                  <a:pt x="338339" y="4457955"/>
                </a:cubicBezTo>
                <a:cubicBezTo>
                  <a:pt x="360098" y="4442687"/>
                  <a:pt x="424991" y="4457955"/>
                  <a:pt x="424991" y="4457955"/>
                </a:cubicBezTo>
                <a:cubicBezTo>
                  <a:pt x="662680" y="4506940"/>
                  <a:pt x="1049497" y="4542312"/>
                  <a:pt x="1049497" y="4542312"/>
                </a:cubicBezTo>
                <a:cubicBezTo>
                  <a:pt x="1276371" y="4564578"/>
                  <a:pt x="1610127" y="4563433"/>
                  <a:pt x="1610127" y="4563433"/>
                </a:cubicBezTo>
                <a:cubicBezTo>
                  <a:pt x="1814987" y="4564578"/>
                  <a:pt x="2116552" y="4537986"/>
                  <a:pt x="2116552" y="4537986"/>
                </a:cubicBezTo>
                <a:cubicBezTo>
                  <a:pt x="2399666" y="4515974"/>
                  <a:pt x="2803661" y="4440142"/>
                  <a:pt x="2803661" y="4440142"/>
                </a:cubicBezTo>
                <a:cubicBezTo>
                  <a:pt x="2977856" y="4408715"/>
                  <a:pt x="3401701" y="4313670"/>
                  <a:pt x="3652623" y="4257813"/>
                </a:cubicBezTo>
                <a:cubicBezTo>
                  <a:pt x="3903545" y="4201957"/>
                  <a:pt x="4171772" y="4160605"/>
                  <a:pt x="4171772" y="4160605"/>
                </a:cubicBezTo>
                <a:cubicBezTo>
                  <a:pt x="4308176" y="4141227"/>
                  <a:pt x="4445649" y="4130307"/>
                  <a:pt x="4583401" y="4127905"/>
                </a:cubicBezTo>
                <a:cubicBezTo>
                  <a:pt x="4583401" y="4127905"/>
                  <a:pt x="4854809" y="4123070"/>
                  <a:pt x="5135888" y="4149154"/>
                </a:cubicBezTo>
                <a:cubicBezTo>
                  <a:pt x="5355815" y="4167781"/>
                  <a:pt x="5574540" y="4198577"/>
                  <a:pt x="5791059" y="4241400"/>
                </a:cubicBezTo>
                <a:cubicBezTo>
                  <a:pt x="5997574" y="4281352"/>
                  <a:pt x="6195818" y="4337590"/>
                  <a:pt x="6230555" y="4347514"/>
                </a:cubicBezTo>
                <a:cubicBezTo>
                  <a:pt x="6265291" y="4357439"/>
                  <a:pt x="6378156" y="4392683"/>
                  <a:pt x="6386427" y="4395609"/>
                </a:cubicBezTo>
                <a:cubicBezTo>
                  <a:pt x="6394698" y="4398536"/>
                  <a:pt x="6407167" y="4405788"/>
                  <a:pt x="6403605" y="4415967"/>
                </a:cubicBezTo>
                <a:cubicBezTo>
                  <a:pt x="6400042" y="4426146"/>
                  <a:pt x="6382737" y="4424492"/>
                  <a:pt x="6382737" y="4424492"/>
                </a:cubicBezTo>
                <a:lnTo>
                  <a:pt x="6364541" y="4422711"/>
                </a:lnTo>
                <a:cubicBezTo>
                  <a:pt x="5798694" y="4367236"/>
                  <a:pt x="5164390" y="4511775"/>
                  <a:pt x="5164390" y="4511775"/>
                </a:cubicBezTo>
                <a:cubicBezTo>
                  <a:pt x="4939299" y="4557453"/>
                  <a:pt x="4609613" y="4672856"/>
                  <a:pt x="4289599" y="4790167"/>
                </a:cubicBezTo>
                <a:cubicBezTo>
                  <a:pt x="3969584" y="4907478"/>
                  <a:pt x="3551593" y="5057362"/>
                  <a:pt x="3144417" y="5183070"/>
                </a:cubicBezTo>
                <a:cubicBezTo>
                  <a:pt x="2737241" y="5308779"/>
                  <a:pt x="2259955" y="5408278"/>
                  <a:pt x="1923780" y="5443013"/>
                </a:cubicBezTo>
                <a:cubicBezTo>
                  <a:pt x="1587606" y="5477748"/>
                  <a:pt x="1182338" y="5427363"/>
                  <a:pt x="1182338" y="5427363"/>
                </a:cubicBezTo>
                <a:close/>
              </a:path>
            </a:pathLst>
          </a:custGeom>
          <a:solidFill>
            <a:schemeClr val="accent2"/>
          </a:solidFill>
          <a:ln w="12722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D68D7B-DF38-479E-8181-B200AE68BD7D}"/>
              </a:ext>
            </a:extLst>
          </p:cNvPr>
          <p:cNvSpPr/>
          <p:nvPr userDrawn="1"/>
        </p:nvSpPr>
        <p:spPr>
          <a:xfrm>
            <a:off x="1235074" y="2"/>
            <a:ext cx="4860926" cy="47947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944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30393"/>
            <a:ext cx="4284663" cy="2271708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3600" cap="none" baseline="0">
                <a:solidFill>
                  <a:schemeClr val="accent5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5074" y="4368356"/>
            <a:ext cx="4860926" cy="427979"/>
          </a:xfrm>
          <a:solidFill>
            <a:schemeClr val="bg1"/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600" cap="all" baseline="0">
                <a:solidFill>
                  <a:schemeClr val="accent5"/>
                </a:solidFill>
              </a:defRPr>
            </a:lvl1pPr>
            <a:lvl2pPr marL="5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0C94871-1278-4C9D-8FE4-92A94538EC1C}"/>
              </a:ext>
            </a:extLst>
          </p:cNvPr>
          <p:cNvGrpSpPr/>
          <p:nvPr userDrawn="1"/>
        </p:nvGrpSpPr>
        <p:grpSpPr>
          <a:xfrm>
            <a:off x="1533524" y="369094"/>
            <a:ext cx="2243139" cy="606869"/>
            <a:chOff x="1533524" y="369094"/>
            <a:chExt cx="2243139" cy="606869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8ED2CFF3-8D2B-4D37-BCA7-ECF1D6193D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0C11B633-41CA-4745-B60C-C77BAB1EE0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928779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 userDrawn="1">
          <p15:clr>
            <a:srgbClr val="FBAE40"/>
          </p15:clr>
        </p15:guide>
        <p15:guide id="2" pos="3659" userDrawn="1">
          <p15:clr>
            <a:srgbClr val="FBAE40"/>
          </p15:clr>
        </p15:guide>
        <p15:guide id="3" pos="778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 hea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6904019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4867" y="1836492"/>
            <a:ext cx="4968240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2241549"/>
            <a:ext cx="4968240" cy="378015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0C8456C9-98B9-4B92-A9A4-9A0FFCE17519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399213" y="1830388"/>
            <a:ext cx="4967287" cy="4191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665D8F-5853-4213-A499-47CFC77993B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368E036-9C4C-4396-9444-5A589716F3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931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with Sub hea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8570053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237" y="577216"/>
            <a:ext cx="4963552" cy="90709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4867" y="1836492"/>
            <a:ext cx="4968240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2241549"/>
            <a:ext cx="4968240" cy="378015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7C1D5F55-2691-47AF-8B04-7C6A7A77DC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99213" y="3175"/>
            <a:ext cx="5792787" cy="6854825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0370756-D056-4567-AAA8-F01FC46FB9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636BE3-5129-43BD-8534-2B1949CCA0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8804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41198B-7822-4395-9D3F-40CE6DC01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4579145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41198B-7822-4395-9D3F-40CE6DC01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BB9E0B-F9DD-4869-B2C0-64A92559BA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  <a:endParaRPr lang="en-GB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E5C3AB9-69FD-4C4F-8D38-537257DD2F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D9BB4E4-A757-4FA8-BD51-8A76F8814B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5220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41198B-7822-4395-9D3F-40CE6DC01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0749674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41198B-7822-4395-9D3F-40CE6DC01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BB9E0B-F9DD-4869-B2C0-64A92559BA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5BA2E3-82B7-4C36-9767-793A81D6BD3A}"/>
              </a:ext>
            </a:extLst>
          </p:cNvPr>
          <p:cNvSpPr/>
          <p:nvPr userDrawn="1"/>
        </p:nvSpPr>
        <p:spPr>
          <a:xfrm>
            <a:off x="0" y="0"/>
            <a:ext cx="12192000" cy="61407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GB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C2378D1-8F5C-4092-8710-DD705A3E84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5B8A1A-F1D3-443F-B5D4-76D5F0DBDD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2975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A702FF-1FBA-4017-9DB9-C02D09C91C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855922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A702FF-1FBA-4017-9DB9-C02D09C91C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3A72EFE-A939-4314-9B37-CFBB34A6B5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6CF783-739F-44F7-AB7E-B1400EF40E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911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C70547-57E7-43AE-8B74-42412D44D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791752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C70547-57E7-43AE-8B74-42412D44D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21"/>
            <a:ext cx="12192000" cy="6179819"/>
          </a:xfrm>
        </p:spPr>
        <p:txBody>
          <a:bodyPr/>
          <a:lstStyle/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EBD1446-BADE-496E-A120-409A271657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841E6B-1A10-4CB5-A9B6-2036ABE3C1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1924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C70547-57E7-43AE-8B74-42412D44D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922396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C70547-57E7-43AE-8B74-42412D44D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21"/>
            <a:ext cx="12192000" cy="6857979"/>
          </a:xfrm>
        </p:spPr>
        <p:txBody>
          <a:bodyPr/>
          <a:lstStyle/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EBD1446-BADE-496E-A120-409A271657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841E6B-1A10-4CB5-A9B6-2036ABE3C1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917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7458947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4867" y="1830707"/>
            <a:ext cx="4968240" cy="4191000"/>
          </a:xfrm>
        </p:spPr>
        <p:txBody>
          <a:bodyPr/>
          <a:lstStyle>
            <a:lvl1pPr marL="2057400" marR="0" indent="-2057400" algn="l" defTabSz="54861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None/>
              <a:tabLst/>
              <a:defRPr/>
            </a:lvl1pPr>
            <a:lvl2pPr marL="236212" indent="0">
              <a:buNone/>
              <a:defRPr/>
            </a:lvl2pPr>
            <a:lvl3pPr marL="496872" indent="0">
              <a:buNone/>
              <a:defRPr/>
            </a:lvl3pPr>
          </a:lstStyle>
          <a:p>
            <a:pPr lvl="0"/>
            <a:r>
              <a:rPr lang="en-GB"/>
              <a:t>00.00 – 00.00	Part o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A05AB-16D4-4417-A29E-1217E774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99213" y="3175"/>
            <a:ext cx="5792787" cy="68548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3B4242-62B9-435B-86D3-DEEA7ACF2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9237" y="577216"/>
            <a:ext cx="4963552" cy="90709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ABC70E0-D795-488D-8AC2-298449E2BE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5E9F28C-9388-465B-9107-6F50B2EE6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5195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403DDC-E99F-4F5C-9DB8-4CB79AB575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09811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403DDC-E99F-4F5C-9DB8-4CB79AB575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F600FB-64F8-427B-971C-CADB5FAA63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D5D76E-3B21-4346-8387-3ECEA55A7AF8}"/>
              </a:ext>
            </a:extLst>
          </p:cNvPr>
          <p:cNvSpPr/>
          <p:nvPr userDrawn="1"/>
        </p:nvSpPr>
        <p:spPr>
          <a:xfrm>
            <a:off x="0" y="0"/>
            <a:ext cx="12192000" cy="61407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25499" y="2753429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DFBA4834-1B47-48FA-B341-B048E3128F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5499" y="4822697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CD3F43B7-3974-4835-A8E9-FAB67672FBB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75298" y="2755017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0D2E8FF-F2DE-4D53-A047-6387A71314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5298" y="4824285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A89F8303-B8B6-4740-9407-07CFA2BE536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725097" y="2753429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65FBF798-2395-4DEA-893B-0A69A9C4E01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725097" y="4822697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3D80F3-4A3C-487A-BDD1-1179B87AD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AC487C7-5173-42A6-959E-EA91A12A5B8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7EDB19D-C3B2-48FD-864B-FA498F61F2C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42" name="Plassholder for tekst 13">
            <a:extLst>
              <a:ext uri="{FF2B5EF4-FFF2-40B4-BE49-F238E27FC236}">
                <a16:creationId xmlns:a16="http://schemas.microsoft.com/office/drawing/2014/main" id="{5B1FC8BA-51AF-415E-A4F8-0349DAF4E4A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75298" y="1830389"/>
            <a:ext cx="2640000" cy="719594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3" name="Plassholder for tekst 13">
            <a:extLst>
              <a:ext uri="{FF2B5EF4-FFF2-40B4-BE49-F238E27FC236}">
                <a16:creationId xmlns:a16="http://schemas.microsoft.com/office/drawing/2014/main" id="{C79AF395-5DA0-43BE-964A-9D760C68CFD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9236" y="1830389"/>
            <a:ext cx="2640000" cy="719594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4" name="Plassholder for tekst 13">
            <a:extLst>
              <a:ext uri="{FF2B5EF4-FFF2-40B4-BE49-F238E27FC236}">
                <a16:creationId xmlns:a16="http://schemas.microsoft.com/office/drawing/2014/main" id="{6F856F4B-C1E9-4A7E-ADC8-9BF349BDF8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6500" y="1830389"/>
            <a:ext cx="2640000" cy="719594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5" name="Plassholder for tekst 13">
            <a:extLst>
              <a:ext uri="{FF2B5EF4-FFF2-40B4-BE49-F238E27FC236}">
                <a16:creationId xmlns:a16="http://schemas.microsoft.com/office/drawing/2014/main" id="{1FAF68DD-F083-4112-AEE7-A6FF3667E23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76000" y="3898068"/>
            <a:ext cx="2640000" cy="719594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6" name="Plassholder for tekst 13">
            <a:extLst>
              <a:ext uri="{FF2B5EF4-FFF2-40B4-BE49-F238E27FC236}">
                <a16:creationId xmlns:a16="http://schemas.microsoft.com/office/drawing/2014/main" id="{A3BE0F03-ED02-4E92-AF74-B8C0C2010E1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9938" y="3898068"/>
            <a:ext cx="2640000" cy="719594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7" name="Plassholder for tekst 13">
            <a:extLst>
              <a:ext uri="{FF2B5EF4-FFF2-40B4-BE49-F238E27FC236}">
                <a16:creationId xmlns:a16="http://schemas.microsoft.com/office/drawing/2014/main" id="{56563C9C-49B1-46FC-BD14-AF22D17F3E9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727202" y="3898068"/>
            <a:ext cx="2640000" cy="719594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351342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0083655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027498F8-B643-49CA-B711-9895BAAEF51D}"/>
              </a:ext>
            </a:extLst>
          </p:cNvPr>
          <p:cNvSpPr/>
          <p:nvPr userDrawn="1"/>
        </p:nvSpPr>
        <p:spPr>
          <a:xfrm>
            <a:off x="1235074" y="2"/>
            <a:ext cx="4860926" cy="479478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944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30393"/>
            <a:ext cx="4284663" cy="2271708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5944DA81-A1C5-4AC7-A37D-7026E9D402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5074" y="4368356"/>
            <a:ext cx="4860926" cy="427979"/>
          </a:xfrm>
          <a:solidFill>
            <a:schemeClr val="accent2">
              <a:lumMod val="60000"/>
              <a:lumOff val="40000"/>
            </a:schemeClr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600" cap="all" baseline="0">
                <a:solidFill>
                  <a:schemeClr val="tx2"/>
                </a:solidFill>
              </a:defRPr>
            </a:lvl1pPr>
            <a:lvl2pPr marL="5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39063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9868240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t">
            <a:no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C20C8F6-248D-4C3E-87B3-1E76EE1E9591}"/>
              </a:ext>
            </a:extLst>
          </p:cNvPr>
          <p:cNvSpPr/>
          <p:nvPr userDrawn="1"/>
        </p:nvSpPr>
        <p:spPr>
          <a:xfrm>
            <a:off x="1235074" y="2"/>
            <a:ext cx="4860926" cy="47947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944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30393"/>
            <a:ext cx="4284663" cy="2271708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3600" cap="none" baseline="0">
                <a:solidFill>
                  <a:schemeClr val="accent5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33F1287C-318B-4F40-9FF1-E19D09469A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5075" y="4368356"/>
            <a:ext cx="4860925" cy="427979"/>
          </a:xfrm>
          <a:solidFill>
            <a:schemeClr val="bg1"/>
          </a:solidFill>
        </p:spPr>
        <p:txBody>
          <a:bodyPr wrap="square"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600" cap="all" baseline="0">
                <a:solidFill>
                  <a:schemeClr val="accent5"/>
                </a:solidFill>
              </a:defRPr>
            </a:lvl1pPr>
            <a:lvl2pPr marL="5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GB" noProof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48B993E-BF37-4D48-AD6A-25908C6899FA}"/>
              </a:ext>
            </a:extLst>
          </p:cNvPr>
          <p:cNvGrpSpPr/>
          <p:nvPr userDrawn="1"/>
        </p:nvGrpSpPr>
        <p:grpSpPr>
          <a:xfrm>
            <a:off x="1533524" y="369094"/>
            <a:ext cx="2243139" cy="606869"/>
            <a:chOff x="1533524" y="369094"/>
            <a:chExt cx="2243139" cy="606869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41D9DD3B-C3F8-4D09-9824-43A4FB97D0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28A26939-CABE-4692-9903-32D6323ADF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369820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02">
    <p:bg>
      <p:bgPr>
        <a:solidFill>
          <a:schemeClr val="accent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393456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30393"/>
            <a:ext cx="4284663" cy="2271708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99E99776-DDA5-4531-9FAA-7E1F063C97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5074" y="4368356"/>
            <a:ext cx="4860926" cy="427979"/>
          </a:xfrm>
          <a:solidFill>
            <a:schemeClr val="accent2">
              <a:lumMod val="60000"/>
              <a:lumOff val="40000"/>
            </a:schemeClr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600" cap="all" baseline="0">
                <a:solidFill>
                  <a:schemeClr val="tx2"/>
                </a:solidFill>
              </a:defRPr>
            </a:lvl1pPr>
            <a:lvl2pPr marL="5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62230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425057-A686-4E31-B8A1-F9DA3356AD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778722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425057-A686-4E31-B8A1-F9DA3356AD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60EACD11-8C82-4B33-9818-2E9B80C745F4}"/>
              </a:ext>
            </a:extLst>
          </p:cNvPr>
          <p:cNvSpPr/>
          <p:nvPr userDrawn="1"/>
        </p:nvSpPr>
        <p:spPr>
          <a:xfrm>
            <a:off x="0" y="0"/>
            <a:ext cx="6096000" cy="61407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A07FF22D-3C6C-48BB-8040-D34A9441D6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35076" y="1484313"/>
            <a:ext cx="3636962" cy="4127919"/>
          </a:xfrm>
          <a:blipFill dpi="0" rotWithShape="0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10000" b="98000"/>
            </a:stretch>
          </a:blipFill>
        </p:spPr>
        <p:txBody>
          <a:bodyPr lIns="0" tIns="288000" rIns="0" bIns="0">
            <a:noAutofit/>
          </a:bodyPr>
          <a:lstStyle>
            <a:lvl1pPr marL="0" indent="0" eaLnBrk="1">
              <a:lnSpc>
                <a:spcPct val="100000"/>
              </a:lnSpc>
              <a:buNone/>
              <a:defRPr sz="32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C69016-ED83-4DA8-8515-95C6620C560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41C938-DD81-4B48-A39A-291BD5BE17D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88CA222-7E26-47F7-846B-8C915D47E00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0"/>
            <a:ext cx="6096000" cy="614045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61653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78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06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0213321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raphic 5">
            <a:extLst>
              <a:ext uri="{FF2B5EF4-FFF2-40B4-BE49-F238E27FC236}">
                <a16:creationId xmlns:a16="http://schemas.microsoft.com/office/drawing/2014/main" id="{3A45DB2C-420A-4A46-9176-30488C4A057E}"/>
              </a:ext>
            </a:extLst>
          </p:cNvPr>
          <p:cNvSpPr/>
          <p:nvPr/>
        </p:nvSpPr>
        <p:spPr>
          <a:xfrm>
            <a:off x="4926457" y="0"/>
            <a:ext cx="7265543" cy="6845276"/>
          </a:xfrm>
          <a:custGeom>
            <a:avLst/>
            <a:gdLst>
              <a:gd name="connsiteX0" fmla="*/ 2134621 w 7265542"/>
              <a:gd name="connsiteY0" fmla="*/ 6837897 h 6845276"/>
              <a:gd name="connsiteX1" fmla="*/ 1877972 w 7265542"/>
              <a:gd name="connsiteY1" fmla="*/ 6655441 h 6845276"/>
              <a:gd name="connsiteX2" fmla="*/ 1560503 w 7265542"/>
              <a:gd name="connsiteY2" fmla="*/ 6389519 h 6845276"/>
              <a:gd name="connsiteX3" fmla="*/ 1495609 w 7265542"/>
              <a:gd name="connsiteY3" fmla="*/ 6305670 h 6845276"/>
              <a:gd name="connsiteX4" fmla="*/ 1541926 w 7265542"/>
              <a:gd name="connsiteY4" fmla="*/ 6292947 h 6845276"/>
              <a:gd name="connsiteX5" fmla="*/ 1909402 w 7265542"/>
              <a:gd name="connsiteY5" fmla="*/ 6333789 h 6845276"/>
              <a:gd name="connsiteX6" fmla="*/ 2362258 w 7265542"/>
              <a:gd name="connsiteY6" fmla="*/ 6339133 h 6845276"/>
              <a:gd name="connsiteX7" fmla="*/ 2887769 w 7265542"/>
              <a:gd name="connsiteY7" fmla="*/ 6288239 h 6845276"/>
              <a:gd name="connsiteX8" fmla="*/ 3362637 w 7265542"/>
              <a:gd name="connsiteY8" fmla="*/ 6207444 h 6845276"/>
              <a:gd name="connsiteX9" fmla="*/ 3823255 w 7265542"/>
              <a:gd name="connsiteY9" fmla="*/ 6126650 h 6845276"/>
              <a:gd name="connsiteX10" fmla="*/ 4278274 w 7265542"/>
              <a:gd name="connsiteY10" fmla="*/ 6088479 h 6845276"/>
              <a:gd name="connsiteX11" fmla="*/ 4877204 w 7265542"/>
              <a:gd name="connsiteY11" fmla="*/ 6126650 h 6845276"/>
              <a:gd name="connsiteX12" fmla="*/ 5343929 w 7265542"/>
              <a:gd name="connsiteY12" fmla="*/ 6239635 h 6845276"/>
              <a:gd name="connsiteX13" fmla="*/ 5368487 w 7265542"/>
              <a:gd name="connsiteY13" fmla="*/ 6267372 h 6845276"/>
              <a:gd name="connsiteX14" fmla="*/ 5347238 w 7265542"/>
              <a:gd name="connsiteY14" fmla="*/ 6276406 h 6845276"/>
              <a:gd name="connsiteX15" fmla="*/ 4678070 w 7265542"/>
              <a:gd name="connsiteY15" fmla="*/ 6324629 h 6845276"/>
              <a:gd name="connsiteX16" fmla="*/ 3901891 w 7265542"/>
              <a:gd name="connsiteY16" fmla="*/ 6573374 h 6845276"/>
              <a:gd name="connsiteX17" fmla="*/ 3526017 w 7265542"/>
              <a:gd name="connsiteY17" fmla="*/ 6721095 h 6845276"/>
              <a:gd name="connsiteX18" fmla="*/ 3009413 w 7265542"/>
              <a:gd name="connsiteY18" fmla="*/ 6854310 h 6845276"/>
              <a:gd name="connsiteX19" fmla="*/ 7275215 w 7265542"/>
              <a:gd name="connsiteY19" fmla="*/ 6854311 h 6845276"/>
              <a:gd name="connsiteX20" fmla="*/ 7275215 w 7265542"/>
              <a:gd name="connsiteY20" fmla="*/ 0 h 6845276"/>
              <a:gd name="connsiteX21" fmla="*/ 1146711 w 7265542"/>
              <a:gd name="connsiteY21" fmla="*/ 0 h 6845276"/>
              <a:gd name="connsiteX22" fmla="*/ 2 w 7265542"/>
              <a:gd name="connsiteY22" fmla="*/ 3050347 h 6845276"/>
              <a:gd name="connsiteX23" fmla="*/ 1986638 w 7265542"/>
              <a:gd name="connsiteY23" fmla="*/ 6854692 h 6845276"/>
              <a:gd name="connsiteX24" fmla="*/ 2162105 w 7265542"/>
              <a:gd name="connsiteY24" fmla="*/ 6854692 h 6845276"/>
              <a:gd name="connsiteX25" fmla="*/ 2134621 w 7265542"/>
              <a:gd name="connsiteY25" fmla="*/ 6837897 h 6845276"/>
              <a:gd name="connsiteX26" fmla="*/ 481360 w 7265542"/>
              <a:gd name="connsiteY26" fmla="*/ 1206321 h 6845276"/>
              <a:gd name="connsiteX27" fmla="*/ 755694 w 7265542"/>
              <a:gd name="connsiteY27" fmla="*/ 684655 h 6845276"/>
              <a:gd name="connsiteX28" fmla="*/ 796285 w 7265542"/>
              <a:gd name="connsiteY28" fmla="*/ 621037 h 6845276"/>
              <a:gd name="connsiteX29" fmla="*/ 858761 w 7265542"/>
              <a:gd name="connsiteY29" fmla="*/ 601061 h 6845276"/>
              <a:gd name="connsiteX30" fmla="*/ 893498 w 7265542"/>
              <a:gd name="connsiteY30" fmla="*/ 609204 h 6845276"/>
              <a:gd name="connsiteX31" fmla="*/ 1269626 w 7265542"/>
              <a:gd name="connsiteY31" fmla="*/ 624727 h 6845276"/>
              <a:gd name="connsiteX32" fmla="*/ 2060311 w 7265542"/>
              <a:gd name="connsiteY32" fmla="*/ 534390 h 6845276"/>
              <a:gd name="connsiteX33" fmla="*/ 2977475 w 7265542"/>
              <a:gd name="connsiteY33" fmla="*/ 385778 h 6845276"/>
              <a:gd name="connsiteX34" fmla="*/ 3465449 w 7265542"/>
              <a:gd name="connsiteY34" fmla="*/ 307529 h 6845276"/>
              <a:gd name="connsiteX35" fmla="*/ 4516472 w 7265542"/>
              <a:gd name="connsiteY35" fmla="*/ 287171 h 6845276"/>
              <a:gd name="connsiteX36" fmla="*/ 5616610 w 7265542"/>
              <a:gd name="connsiteY36" fmla="*/ 451559 h 6845276"/>
              <a:gd name="connsiteX37" fmla="*/ 6033074 w 7265542"/>
              <a:gd name="connsiteY37" fmla="*/ 554366 h 6845276"/>
              <a:gd name="connsiteX38" fmla="*/ 6356270 w 7265542"/>
              <a:gd name="connsiteY38" fmla="*/ 650556 h 6845276"/>
              <a:gd name="connsiteX39" fmla="*/ 6368104 w 7265542"/>
              <a:gd name="connsiteY39" fmla="*/ 662389 h 6845276"/>
              <a:gd name="connsiteX40" fmla="*/ 6354235 w 7265542"/>
              <a:gd name="connsiteY40" fmla="*/ 670150 h 6845276"/>
              <a:gd name="connsiteX41" fmla="*/ 6323951 w 7265542"/>
              <a:gd name="connsiteY41" fmla="*/ 668623 h 6845276"/>
              <a:gd name="connsiteX42" fmla="*/ 5538483 w 7265542"/>
              <a:gd name="connsiteY42" fmla="*/ 638087 h 6845276"/>
              <a:gd name="connsiteX43" fmla="*/ 4388084 w 7265542"/>
              <a:gd name="connsiteY43" fmla="*/ 695852 h 6845276"/>
              <a:gd name="connsiteX44" fmla="*/ 3048476 w 7265542"/>
              <a:gd name="connsiteY44" fmla="*/ 978569 h 6845276"/>
              <a:gd name="connsiteX45" fmla="*/ 2052295 w 7265542"/>
              <a:gd name="connsiteY45" fmla="*/ 1292460 h 6845276"/>
              <a:gd name="connsiteX46" fmla="*/ 1135258 w 7265542"/>
              <a:gd name="connsiteY46" fmla="*/ 1461301 h 6845276"/>
              <a:gd name="connsiteX47" fmla="*/ 715994 w 7265542"/>
              <a:gd name="connsiteY47" fmla="*/ 1438653 h 6845276"/>
              <a:gd name="connsiteX48" fmla="*/ 512407 w 7265542"/>
              <a:gd name="connsiteY48" fmla="*/ 1355950 h 6845276"/>
              <a:gd name="connsiteX49" fmla="*/ 481360 w 7265542"/>
              <a:gd name="connsiteY49" fmla="*/ 1206321 h 6845276"/>
              <a:gd name="connsiteX50" fmla="*/ 90853 w 7265542"/>
              <a:gd name="connsiteY50" fmla="*/ 3171730 h 6845276"/>
              <a:gd name="connsiteX51" fmla="*/ 124444 w 7265542"/>
              <a:gd name="connsiteY51" fmla="*/ 2481222 h 6845276"/>
              <a:gd name="connsiteX52" fmla="*/ 130807 w 7265542"/>
              <a:gd name="connsiteY52" fmla="*/ 2431727 h 6845276"/>
              <a:gd name="connsiteX53" fmla="*/ 158673 w 7265542"/>
              <a:gd name="connsiteY53" fmla="*/ 2387958 h 6845276"/>
              <a:gd name="connsiteX54" fmla="*/ 223057 w 7265542"/>
              <a:gd name="connsiteY54" fmla="*/ 2384777 h 6845276"/>
              <a:gd name="connsiteX55" fmla="*/ 259322 w 7265542"/>
              <a:gd name="connsiteY55" fmla="*/ 2391266 h 6845276"/>
              <a:gd name="connsiteX56" fmla="*/ 507444 w 7265542"/>
              <a:gd name="connsiteY56" fmla="*/ 2427656 h 6845276"/>
              <a:gd name="connsiteX57" fmla="*/ 1094159 w 7265542"/>
              <a:gd name="connsiteY57" fmla="*/ 2453103 h 6845276"/>
              <a:gd name="connsiteX58" fmla="*/ 1746532 w 7265542"/>
              <a:gd name="connsiteY58" fmla="*/ 2400936 h 6845276"/>
              <a:gd name="connsiteX59" fmla="*/ 2181191 w 7265542"/>
              <a:gd name="connsiteY59" fmla="*/ 2333247 h 6845276"/>
              <a:gd name="connsiteX60" fmla="*/ 2915889 w 7265542"/>
              <a:gd name="connsiteY60" fmla="*/ 2187562 h 6845276"/>
              <a:gd name="connsiteX61" fmla="*/ 3574496 w 7265542"/>
              <a:gd name="connsiteY61" fmla="*/ 2056255 h 6845276"/>
              <a:gd name="connsiteX62" fmla="*/ 4130291 w 7265542"/>
              <a:gd name="connsiteY62" fmla="*/ 1971898 h 6845276"/>
              <a:gd name="connsiteX63" fmla="*/ 4859390 w 7265542"/>
              <a:gd name="connsiteY63" fmla="*/ 1932327 h 6845276"/>
              <a:gd name="connsiteX64" fmla="*/ 5559223 w 7265542"/>
              <a:gd name="connsiteY64" fmla="*/ 1978769 h 6845276"/>
              <a:gd name="connsiteX65" fmla="*/ 6203070 w 7265542"/>
              <a:gd name="connsiteY65" fmla="*/ 2094298 h 6845276"/>
              <a:gd name="connsiteX66" fmla="*/ 6813071 w 7265542"/>
              <a:gd name="connsiteY66" fmla="*/ 2274591 h 6845276"/>
              <a:gd name="connsiteX67" fmla="*/ 7072900 w 7265542"/>
              <a:gd name="connsiteY67" fmla="*/ 2378543 h 6845276"/>
              <a:gd name="connsiteX68" fmla="*/ 7081807 w 7265542"/>
              <a:gd name="connsiteY68" fmla="*/ 2395338 h 6845276"/>
              <a:gd name="connsiteX69" fmla="*/ 7056358 w 7265542"/>
              <a:gd name="connsiteY69" fmla="*/ 2404372 h 6845276"/>
              <a:gd name="connsiteX70" fmla="*/ 6849080 w 7265542"/>
              <a:gd name="connsiteY70" fmla="*/ 2399537 h 6845276"/>
              <a:gd name="connsiteX71" fmla="*/ 5240990 w 7265542"/>
              <a:gd name="connsiteY71" fmla="*/ 2475878 h 6845276"/>
              <a:gd name="connsiteX72" fmla="*/ 3948462 w 7265542"/>
              <a:gd name="connsiteY72" fmla="*/ 2780480 h 6845276"/>
              <a:gd name="connsiteX73" fmla="*/ 2170630 w 7265542"/>
              <a:gd name="connsiteY73" fmla="*/ 3365764 h 6845276"/>
              <a:gd name="connsiteX74" fmla="*/ 585826 w 7265542"/>
              <a:gd name="connsiteY74" fmla="*/ 3561071 h 6845276"/>
              <a:gd name="connsiteX75" fmla="*/ 183231 w 7265542"/>
              <a:gd name="connsiteY75" fmla="*/ 3421875 h 6845276"/>
              <a:gd name="connsiteX76" fmla="*/ 90853 w 7265542"/>
              <a:gd name="connsiteY76" fmla="*/ 3171730 h 6845276"/>
              <a:gd name="connsiteX77" fmla="*/ 1182338 w 7265542"/>
              <a:gd name="connsiteY77" fmla="*/ 5427363 h 6845276"/>
              <a:gd name="connsiteX78" fmla="*/ 591552 w 7265542"/>
              <a:gd name="connsiteY78" fmla="*/ 5123270 h 6845276"/>
              <a:gd name="connsiteX79" fmla="*/ 349791 w 7265542"/>
              <a:gd name="connsiteY79" fmla="*/ 4568904 h 6845276"/>
              <a:gd name="connsiteX80" fmla="*/ 334013 w 7265542"/>
              <a:gd name="connsiteY80" fmla="*/ 4521572 h 6845276"/>
              <a:gd name="connsiteX81" fmla="*/ 338339 w 7265542"/>
              <a:gd name="connsiteY81" fmla="*/ 4457955 h 6845276"/>
              <a:gd name="connsiteX82" fmla="*/ 424991 w 7265542"/>
              <a:gd name="connsiteY82" fmla="*/ 4457955 h 6845276"/>
              <a:gd name="connsiteX83" fmla="*/ 1049497 w 7265542"/>
              <a:gd name="connsiteY83" fmla="*/ 4542312 h 6845276"/>
              <a:gd name="connsiteX84" fmla="*/ 1610127 w 7265542"/>
              <a:gd name="connsiteY84" fmla="*/ 4563433 h 6845276"/>
              <a:gd name="connsiteX85" fmla="*/ 2116552 w 7265542"/>
              <a:gd name="connsiteY85" fmla="*/ 4537986 h 6845276"/>
              <a:gd name="connsiteX86" fmla="*/ 2803661 w 7265542"/>
              <a:gd name="connsiteY86" fmla="*/ 4440142 h 6845276"/>
              <a:gd name="connsiteX87" fmla="*/ 3652623 w 7265542"/>
              <a:gd name="connsiteY87" fmla="*/ 4257813 h 6845276"/>
              <a:gd name="connsiteX88" fmla="*/ 4171772 w 7265542"/>
              <a:gd name="connsiteY88" fmla="*/ 4160605 h 6845276"/>
              <a:gd name="connsiteX89" fmla="*/ 4583401 w 7265542"/>
              <a:gd name="connsiteY89" fmla="*/ 4127905 h 6845276"/>
              <a:gd name="connsiteX90" fmla="*/ 5135888 w 7265542"/>
              <a:gd name="connsiteY90" fmla="*/ 4149154 h 6845276"/>
              <a:gd name="connsiteX91" fmla="*/ 5791059 w 7265542"/>
              <a:gd name="connsiteY91" fmla="*/ 4241400 h 6845276"/>
              <a:gd name="connsiteX92" fmla="*/ 6230555 w 7265542"/>
              <a:gd name="connsiteY92" fmla="*/ 4347514 h 6845276"/>
              <a:gd name="connsiteX93" fmla="*/ 6386427 w 7265542"/>
              <a:gd name="connsiteY93" fmla="*/ 4395609 h 6845276"/>
              <a:gd name="connsiteX94" fmla="*/ 6403605 w 7265542"/>
              <a:gd name="connsiteY94" fmla="*/ 4415967 h 6845276"/>
              <a:gd name="connsiteX95" fmla="*/ 6382737 w 7265542"/>
              <a:gd name="connsiteY95" fmla="*/ 4424492 h 6845276"/>
              <a:gd name="connsiteX96" fmla="*/ 6364541 w 7265542"/>
              <a:gd name="connsiteY96" fmla="*/ 4422711 h 6845276"/>
              <a:gd name="connsiteX97" fmla="*/ 5164390 w 7265542"/>
              <a:gd name="connsiteY97" fmla="*/ 4511775 h 6845276"/>
              <a:gd name="connsiteX98" fmla="*/ 4289599 w 7265542"/>
              <a:gd name="connsiteY98" fmla="*/ 4790167 h 6845276"/>
              <a:gd name="connsiteX99" fmla="*/ 3144417 w 7265542"/>
              <a:gd name="connsiteY99" fmla="*/ 5183070 h 6845276"/>
              <a:gd name="connsiteX100" fmla="*/ 1923780 w 7265542"/>
              <a:gd name="connsiteY100" fmla="*/ 5443013 h 6845276"/>
              <a:gd name="connsiteX101" fmla="*/ 1182338 w 7265542"/>
              <a:gd name="connsiteY101" fmla="*/ 5427363 h 684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7265542" h="6845276">
                <a:moveTo>
                  <a:pt x="2134621" y="6837897"/>
                </a:moveTo>
                <a:cubicBezTo>
                  <a:pt x="2134621" y="6837897"/>
                  <a:pt x="2045551" y="6778605"/>
                  <a:pt x="1877972" y="6655441"/>
                </a:cubicBezTo>
                <a:cubicBezTo>
                  <a:pt x="1773252" y="6578464"/>
                  <a:pt x="1643337" y="6464588"/>
                  <a:pt x="1560503" y="6389519"/>
                </a:cubicBezTo>
                <a:cubicBezTo>
                  <a:pt x="1536072" y="6366871"/>
                  <a:pt x="1493701" y="6324628"/>
                  <a:pt x="1495609" y="6305670"/>
                </a:cubicBezTo>
                <a:cubicBezTo>
                  <a:pt x="1495609" y="6305670"/>
                  <a:pt x="1496627" y="6287985"/>
                  <a:pt x="1541926" y="6292947"/>
                </a:cubicBezTo>
                <a:cubicBezTo>
                  <a:pt x="1587224" y="6297909"/>
                  <a:pt x="1720956" y="6319794"/>
                  <a:pt x="1909402" y="6333789"/>
                </a:cubicBezTo>
                <a:cubicBezTo>
                  <a:pt x="2060167" y="6343218"/>
                  <a:pt x="2211312" y="6345002"/>
                  <a:pt x="2362258" y="6339133"/>
                </a:cubicBezTo>
                <a:cubicBezTo>
                  <a:pt x="2539252" y="6333408"/>
                  <a:pt x="2727825" y="6310124"/>
                  <a:pt x="2887769" y="6288239"/>
                </a:cubicBezTo>
                <a:cubicBezTo>
                  <a:pt x="3047712" y="6266355"/>
                  <a:pt x="3362637" y="6207444"/>
                  <a:pt x="3362637" y="6207444"/>
                </a:cubicBezTo>
                <a:cubicBezTo>
                  <a:pt x="3362637" y="6207444"/>
                  <a:pt x="3615214" y="6158459"/>
                  <a:pt x="3823255" y="6126650"/>
                </a:cubicBezTo>
                <a:cubicBezTo>
                  <a:pt x="3973869" y="6103476"/>
                  <a:pt x="4125904" y="6090723"/>
                  <a:pt x="4278274" y="6088479"/>
                </a:cubicBezTo>
                <a:cubicBezTo>
                  <a:pt x="4478495" y="6089387"/>
                  <a:pt x="4678488" y="6102132"/>
                  <a:pt x="4877204" y="6126650"/>
                </a:cubicBezTo>
                <a:cubicBezTo>
                  <a:pt x="5169862" y="6164820"/>
                  <a:pt x="5330060" y="6233146"/>
                  <a:pt x="5343929" y="6239635"/>
                </a:cubicBezTo>
                <a:cubicBezTo>
                  <a:pt x="5357799" y="6246124"/>
                  <a:pt x="5371287" y="6256430"/>
                  <a:pt x="5368487" y="6267372"/>
                </a:cubicBezTo>
                <a:cubicBezTo>
                  <a:pt x="5365688" y="6278315"/>
                  <a:pt x="5347238" y="6276406"/>
                  <a:pt x="5347238" y="6276406"/>
                </a:cubicBezTo>
                <a:cubicBezTo>
                  <a:pt x="5123140" y="6270490"/>
                  <a:pt x="4899003" y="6286642"/>
                  <a:pt x="4678070" y="6324629"/>
                </a:cubicBezTo>
                <a:cubicBezTo>
                  <a:pt x="4339478" y="6386592"/>
                  <a:pt x="3901891" y="6573374"/>
                  <a:pt x="3901891" y="6573374"/>
                </a:cubicBezTo>
                <a:lnTo>
                  <a:pt x="3526017" y="6721095"/>
                </a:lnTo>
                <a:cubicBezTo>
                  <a:pt x="3358065" y="6780596"/>
                  <a:pt x="3185194" y="6825174"/>
                  <a:pt x="3009413" y="6854310"/>
                </a:cubicBezTo>
                <a:lnTo>
                  <a:pt x="7275215" y="6854311"/>
                </a:lnTo>
                <a:lnTo>
                  <a:pt x="7275215" y="0"/>
                </a:lnTo>
                <a:lnTo>
                  <a:pt x="1146711" y="0"/>
                </a:lnTo>
                <a:cubicBezTo>
                  <a:pt x="406626" y="843748"/>
                  <a:pt x="-988" y="1928039"/>
                  <a:pt x="2" y="3050347"/>
                </a:cubicBezTo>
                <a:cubicBezTo>
                  <a:pt x="1" y="4622852"/>
                  <a:pt x="786360" y="6014937"/>
                  <a:pt x="1986638" y="6854692"/>
                </a:cubicBezTo>
                <a:lnTo>
                  <a:pt x="2162105" y="6854692"/>
                </a:lnTo>
                <a:cubicBezTo>
                  <a:pt x="2152501" y="6849854"/>
                  <a:pt x="2143308" y="6844237"/>
                  <a:pt x="2134621" y="6837897"/>
                </a:cubicBezTo>
                <a:close/>
                <a:moveTo>
                  <a:pt x="481360" y="1206321"/>
                </a:moveTo>
                <a:cubicBezTo>
                  <a:pt x="568648" y="1000072"/>
                  <a:pt x="755694" y="684655"/>
                  <a:pt x="755694" y="684655"/>
                </a:cubicBezTo>
                <a:cubicBezTo>
                  <a:pt x="755694" y="684655"/>
                  <a:pt x="773890" y="653609"/>
                  <a:pt x="796285" y="621037"/>
                </a:cubicBezTo>
                <a:cubicBezTo>
                  <a:pt x="818680" y="588465"/>
                  <a:pt x="858761" y="601061"/>
                  <a:pt x="858761" y="601061"/>
                </a:cubicBezTo>
                <a:lnTo>
                  <a:pt x="893498" y="609204"/>
                </a:lnTo>
                <a:cubicBezTo>
                  <a:pt x="1024049" y="637832"/>
                  <a:pt x="1269626" y="624727"/>
                  <a:pt x="1269626" y="624727"/>
                </a:cubicBezTo>
                <a:cubicBezTo>
                  <a:pt x="1534800" y="610731"/>
                  <a:pt x="1942103" y="551694"/>
                  <a:pt x="2060311" y="534390"/>
                </a:cubicBezTo>
                <a:cubicBezTo>
                  <a:pt x="2178519" y="517086"/>
                  <a:pt x="2977475" y="385778"/>
                  <a:pt x="2977475" y="385778"/>
                </a:cubicBezTo>
                <a:cubicBezTo>
                  <a:pt x="3170883" y="350661"/>
                  <a:pt x="3465449" y="307529"/>
                  <a:pt x="3465449" y="307529"/>
                </a:cubicBezTo>
                <a:cubicBezTo>
                  <a:pt x="3938791" y="242257"/>
                  <a:pt x="4516472" y="287171"/>
                  <a:pt x="4516472" y="287171"/>
                </a:cubicBezTo>
                <a:cubicBezTo>
                  <a:pt x="4999993" y="314908"/>
                  <a:pt x="5616610" y="451559"/>
                  <a:pt x="5616610" y="451559"/>
                </a:cubicBezTo>
                <a:cubicBezTo>
                  <a:pt x="5789914" y="487821"/>
                  <a:pt x="6033074" y="554366"/>
                  <a:pt x="6033074" y="554366"/>
                </a:cubicBezTo>
                <a:cubicBezTo>
                  <a:pt x="6136268" y="581594"/>
                  <a:pt x="6356270" y="650556"/>
                  <a:pt x="6356270" y="650556"/>
                </a:cubicBezTo>
                <a:cubicBezTo>
                  <a:pt x="6356270" y="650556"/>
                  <a:pt x="6370140" y="654246"/>
                  <a:pt x="6368104" y="662389"/>
                </a:cubicBezTo>
                <a:cubicBezTo>
                  <a:pt x="6366068" y="670532"/>
                  <a:pt x="6354235" y="670150"/>
                  <a:pt x="6354235" y="670150"/>
                </a:cubicBezTo>
                <a:lnTo>
                  <a:pt x="6323951" y="668623"/>
                </a:lnTo>
                <a:cubicBezTo>
                  <a:pt x="6258166" y="664170"/>
                  <a:pt x="5799203" y="640250"/>
                  <a:pt x="5538483" y="638087"/>
                </a:cubicBezTo>
                <a:cubicBezTo>
                  <a:pt x="5277763" y="635924"/>
                  <a:pt x="4979762" y="634651"/>
                  <a:pt x="4388084" y="695852"/>
                </a:cubicBezTo>
                <a:cubicBezTo>
                  <a:pt x="3796407" y="757052"/>
                  <a:pt x="3182207" y="940017"/>
                  <a:pt x="3048476" y="978569"/>
                </a:cubicBezTo>
                <a:cubicBezTo>
                  <a:pt x="2914744" y="1017122"/>
                  <a:pt x="2052295" y="1292460"/>
                  <a:pt x="2052295" y="1292460"/>
                </a:cubicBezTo>
                <a:cubicBezTo>
                  <a:pt x="1560248" y="1436490"/>
                  <a:pt x="1356279" y="1447687"/>
                  <a:pt x="1135258" y="1461301"/>
                </a:cubicBezTo>
                <a:cubicBezTo>
                  <a:pt x="995096" y="1468825"/>
                  <a:pt x="854531" y="1461232"/>
                  <a:pt x="715994" y="1438653"/>
                </a:cubicBezTo>
                <a:cubicBezTo>
                  <a:pt x="567503" y="1413206"/>
                  <a:pt x="512407" y="1355950"/>
                  <a:pt x="512407" y="1355950"/>
                </a:cubicBezTo>
                <a:cubicBezTo>
                  <a:pt x="439370" y="1285080"/>
                  <a:pt x="481360" y="1206321"/>
                  <a:pt x="481360" y="1206321"/>
                </a:cubicBezTo>
                <a:close/>
                <a:moveTo>
                  <a:pt x="90853" y="3171730"/>
                </a:moveTo>
                <a:cubicBezTo>
                  <a:pt x="75965" y="2855804"/>
                  <a:pt x="124444" y="2481222"/>
                  <a:pt x="124444" y="2481222"/>
                </a:cubicBezTo>
                <a:cubicBezTo>
                  <a:pt x="124444" y="2481222"/>
                  <a:pt x="126353" y="2463027"/>
                  <a:pt x="130807" y="2431727"/>
                </a:cubicBezTo>
                <a:cubicBezTo>
                  <a:pt x="132916" y="2413645"/>
                  <a:pt x="143181" y="2397521"/>
                  <a:pt x="158673" y="2387958"/>
                </a:cubicBezTo>
                <a:cubicBezTo>
                  <a:pt x="179320" y="2380418"/>
                  <a:pt x="201767" y="2379309"/>
                  <a:pt x="223057" y="2384777"/>
                </a:cubicBezTo>
                <a:lnTo>
                  <a:pt x="259322" y="2391266"/>
                </a:lnTo>
                <a:cubicBezTo>
                  <a:pt x="370023" y="2412515"/>
                  <a:pt x="507444" y="2427656"/>
                  <a:pt x="507444" y="2427656"/>
                </a:cubicBezTo>
                <a:cubicBezTo>
                  <a:pt x="702225" y="2449267"/>
                  <a:pt x="898238" y="2457768"/>
                  <a:pt x="1094159" y="2453103"/>
                </a:cubicBezTo>
                <a:cubicBezTo>
                  <a:pt x="1391143" y="2449540"/>
                  <a:pt x="1746532" y="2400936"/>
                  <a:pt x="1746532" y="2400936"/>
                </a:cubicBezTo>
                <a:cubicBezTo>
                  <a:pt x="1889806" y="2383760"/>
                  <a:pt x="2181191" y="2333247"/>
                  <a:pt x="2181191" y="2333247"/>
                </a:cubicBezTo>
                <a:cubicBezTo>
                  <a:pt x="2304744" y="2311999"/>
                  <a:pt x="2776686" y="2216572"/>
                  <a:pt x="2915889" y="2187562"/>
                </a:cubicBezTo>
                <a:cubicBezTo>
                  <a:pt x="3055092" y="2158552"/>
                  <a:pt x="3574496" y="2056255"/>
                  <a:pt x="3574496" y="2056255"/>
                </a:cubicBezTo>
                <a:cubicBezTo>
                  <a:pt x="3807986" y="2011086"/>
                  <a:pt x="4130291" y="1971898"/>
                  <a:pt x="4130291" y="1971898"/>
                </a:cubicBezTo>
                <a:cubicBezTo>
                  <a:pt x="4372258" y="1943481"/>
                  <a:pt x="4615769" y="1930265"/>
                  <a:pt x="4859390" y="1932327"/>
                </a:cubicBezTo>
                <a:cubicBezTo>
                  <a:pt x="5005465" y="1932327"/>
                  <a:pt x="5246971" y="1942506"/>
                  <a:pt x="5559223" y="1978769"/>
                </a:cubicBezTo>
                <a:cubicBezTo>
                  <a:pt x="5775652" y="2006382"/>
                  <a:pt x="5990543" y="2044942"/>
                  <a:pt x="6203070" y="2094298"/>
                </a:cubicBezTo>
                <a:cubicBezTo>
                  <a:pt x="6430707" y="2145193"/>
                  <a:pt x="6688119" y="2230059"/>
                  <a:pt x="6813071" y="2274591"/>
                </a:cubicBezTo>
                <a:cubicBezTo>
                  <a:pt x="6938023" y="2319124"/>
                  <a:pt x="7067556" y="2376380"/>
                  <a:pt x="7072900" y="2378543"/>
                </a:cubicBezTo>
                <a:cubicBezTo>
                  <a:pt x="7078244" y="2380706"/>
                  <a:pt x="7084733" y="2384396"/>
                  <a:pt x="7081807" y="2395338"/>
                </a:cubicBezTo>
                <a:cubicBezTo>
                  <a:pt x="7078880" y="2406280"/>
                  <a:pt x="7056358" y="2404372"/>
                  <a:pt x="7056358" y="2404372"/>
                </a:cubicBezTo>
                <a:lnTo>
                  <a:pt x="6849080" y="2399537"/>
                </a:lnTo>
                <a:cubicBezTo>
                  <a:pt x="6392153" y="2388722"/>
                  <a:pt x="5724130" y="2406026"/>
                  <a:pt x="5240990" y="2475878"/>
                </a:cubicBezTo>
                <a:cubicBezTo>
                  <a:pt x="4757851" y="2545730"/>
                  <a:pt x="4231322" y="2695614"/>
                  <a:pt x="3948462" y="2780480"/>
                </a:cubicBezTo>
                <a:cubicBezTo>
                  <a:pt x="3665601" y="2865346"/>
                  <a:pt x="3110697" y="3050347"/>
                  <a:pt x="2170630" y="3365764"/>
                </a:cubicBezTo>
                <a:cubicBezTo>
                  <a:pt x="1230563" y="3681181"/>
                  <a:pt x="585826" y="3561071"/>
                  <a:pt x="585826" y="3561071"/>
                </a:cubicBezTo>
                <a:cubicBezTo>
                  <a:pt x="359589" y="3533715"/>
                  <a:pt x="282607" y="3501397"/>
                  <a:pt x="183231" y="3421875"/>
                </a:cubicBezTo>
                <a:cubicBezTo>
                  <a:pt x="83855" y="3342353"/>
                  <a:pt x="90853" y="3171730"/>
                  <a:pt x="90853" y="3171730"/>
                </a:cubicBezTo>
                <a:close/>
                <a:moveTo>
                  <a:pt x="1182338" y="5427363"/>
                </a:moveTo>
                <a:cubicBezTo>
                  <a:pt x="1011579" y="5404588"/>
                  <a:pt x="718794" y="5359928"/>
                  <a:pt x="591552" y="5123270"/>
                </a:cubicBezTo>
                <a:cubicBezTo>
                  <a:pt x="464309" y="4886611"/>
                  <a:pt x="349791" y="4568904"/>
                  <a:pt x="349791" y="4568904"/>
                </a:cubicBezTo>
                <a:cubicBezTo>
                  <a:pt x="349791" y="4568904"/>
                  <a:pt x="342157" y="4543457"/>
                  <a:pt x="334013" y="4521572"/>
                </a:cubicBezTo>
                <a:cubicBezTo>
                  <a:pt x="325869" y="4499688"/>
                  <a:pt x="316581" y="4473223"/>
                  <a:pt x="338339" y="4457955"/>
                </a:cubicBezTo>
                <a:cubicBezTo>
                  <a:pt x="360098" y="4442687"/>
                  <a:pt x="424991" y="4457955"/>
                  <a:pt x="424991" y="4457955"/>
                </a:cubicBezTo>
                <a:cubicBezTo>
                  <a:pt x="662680" y="4506940"/>
                  <a:pt x="1049497" y="4542312"/>
                  <a:pt x="1049497" y="4542312"/>
                </a:cubicBezTo>
                <a:cubicBezTo>
                  <a:pt x="1276371" y="4564578"/>
                  <a:pt x="1610127" y="4563433"/>
                  <a:pt x="1610127" y="4563433"/>
                </a:cubicBezTo>
                <a:cubicBezTo>
                  <a:pt x="1814987" y="4564578"/>
                  <a:pt x="2116552" y="4537986"/>
                  <a:pt x="2116552" y="4537986"/>
                </a:cubicBezTo>
                <a:cubicBezTo>
                  <a:pt x="2399666" y="4515974"/>
                  <a:pt x="2803661" y="4440142"/>
                  <a:pt x="2803661" y="4440142"/>
                </a:cubicBezTo>
                <a:cubicBezTo>
                  <a:pt x="2977856" y="4408715"/>
                  <a:pt x="3401701" y="4313670"/>
                  <a:pt x="3652623" y="4257813"/>
                </a:cubicBezTo>
                <a:cubicBezTo>
                  <a:pt x="3903545" y="4201957"/>
                  <a:pt x="4171772" y="4160605"/>
                  <a:pt x="4171772" y="4160605"/>
                </a:cubicBezTo>
                <a:cubicBezTo>
                  <a:pt x="4308176" y="4141227"/>
                  <a:pt x="4445649" y="4130307"/>
                  <a:pt x="4583401" y="4127905"/>
                </a:cubicBezTo>
                <a:cubicBezTo>
                  <a:pt x="4583401" y="4127905"/>
                  <a:pt x="4854809" y="4123070"/>
                  <a:pt x="5135888" y="4149154"/>
                </a:cubicBezTo>
                <a:cubicBezTo>
                  <a:pt x="5355815" y="4167781"/>
                  <a:pt x="5574540" y="4198577"/>
                  <a:pt x="5791059" y="4241400"/>
                </a:cubicBezTo>
                <a:cubicBezTo>
                  <a:pt x="5997574" y="4281352"/>
                  <a:pt x="6195818" y="4337590"/>
                  <a:pt x="6230555" y="4347514"/>
                </a:cubicBezTo>
                <a:cubicBezTo>
                  <a:pt x="6265291" y="4357439"/>
                  <a:pt x="6378156" y="4392683"/>
                  <a:pt x="6386427" y="4395609"/>
                </a:cubicBezTo>
                <a:cubicBezTo>
                  <a:pt x="6394698" y="4398536"/>
                  <a:pt x="6407167" y="4405788"/>
                  <a:pt x="6403605" y="4415967"/>
                </a:cubicBezTo>
                <a:cubicBezTo>
                  <a:pt x="6400042" y="4426146"/>
                  <a:pt x="6382737" y="4424492"/>
                  <a:pt x="6382737" y="4424492"/>
                </a:cubicBezTo>
                <a:lnTo>
                  <a:pt x="6364541" y="4422711"/>
                </a:lnTo>
                <a:cubicBezTo>
                  <a:pt x="5798694" y="4367236"/>
                  <a:pt x="5164390" y="4511775"/>
                  <a:pt x="5164390" y="4511775"/>
                </a:cubicBezTo>
                <a:cubicBezTo>
                  <a:pt x="4939299" y="4557453"/>
                  <a:pt x="4609613" y="4672856"/>
                  <a:pt x="4289599" y="4790167"/>
                </a:cubicBezTo>
                <a:cubicBezTo>
                  <a:pt x="3969584" y="4907478"/>
                  <a:pt x="3551593" y="5057362"/>
                  <a:pt x="3144417" y="5183070"/>
                </a:cubicBezTo>
                <a:cubicBezTo>
                  <a:pt x="2737241" y="5308779"/>
                  <a:pt x="2259955" y="5408278"/>
                  <a:pt x="1923780" y="5443013"/>
                </a:cubicBezTo>
                <a:cubicBezTo>
                  <a:pt x="1587606" y="5477748"/>
                  <a:pt x="1182338" y="5427363"/>
                  <a:pt x="1182338" y="5427363"/>
                </a:cubicBezTo>
                <a:close/>
              </a:path>
            </a:pathLst>
          </a:custGeom>
          <a:solidFill>
            <a:schemeClr val="accent2"/>
          </a:solidFill>
          <a:ln w="12722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D68D7B-DF38-479E-8181-B200AE68BD7D}"/>
              </a:ext>
            </a:extLst>
          </p:cNvPr>
          <p:cNvSpPr/>
          <p:nvPr userDrawn="1"/>
        </p:nvSpPr>
        <p:spPr>
          <a:xfrm>
            <a:off x="1235074" y="2"/>
            <a:ext cx="4860926" cy="47947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944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6C8F9C-65F5-4250-AD42-B973C904C2CF}"/>
              </a:ext>
            </a:extLst>
          </p:cNvPr>
          <p:cNvGrpSpPr/>
          <p:nvPr userDrawn="1"/>
        </p:nvGrpSpPr>
        <p:grpSpPr>
          <a:xfrm>
            <a:off x="1533524" y="3103453"/>
            <a:ext cx="2243139" cy="606869"/>
            <a:chOff x="1533524" y="369094"/>
            <a:chExt cx="2243139" cy="606869"/>
          </a:xfrm>
        </p:grpSpPr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1F687E69-D217-4D8B-98A4-3BB1B88451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7F76E90C-FE8B-4B20-BF55-89FC5902AC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6DD640D-0C8B-4171-936E-345748646807}"/>
              </a:ext>
            </a:extLst>
          </p:cNvPr>
          <p:cNvSpPr txBox="1"/>
          <p:nvPr userDrawn="1"/>
        </p:nvSpPr>
        <p:spPr>
          <a:xfrm>
            <a:off x="1524001" y="4342961"/>
            <a:ext cx="4284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  <a:buSzPct val="120000"/>
            </a:pPr>
            <a:r>
              <a:rPr lang="en-GB" sz="16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atkraft.com</a:t>
            </a:r>
          </a:p>
        </p:txBody>
      </p:sp>
    </p:spTree>
    <p:extLst>
      <p:ext uri="{BB962C8B-B14F-4D97-AF65-F5344CB8AC3E}">
        <p14:creationId xmlns:p14="http://schemas.microsoft.com/office/powerpoint/2010/main" val="1709606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3408389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t">
            <a:no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7CE9B5C-501B-458A-9AAE-82BC7915415C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D9D3D84-F3BF-4AAA-85BD-3D14ACE849EC}"/>
              </a:ext>
            </a:extLst>
          </p:cNvPr>
          <p:cNvGrpSpPr/>
          <p:nvPr userDrawn="1"/>
        </p:nvGrpSpPr>
        <p:grpSpPr>
          <a:xfrm>
            <a:off x="1533524" y="3103453"/>
            <a:ext cx="2243139" cy="606869"/>
            <a:chOff x="1533524" y="369094"/>
            <a:chExt cx="2243139" cy="606869"/>
          </a:xfrm>
        </p:grpSpPr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C99FE193-D0A4-440E-B317-9F342F4AFE4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03542199-FD88-48AE-AE87-02D8A29F14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93BBD505-94FE-43B7-9059-CF1DF297CA36}"/>
              </a:ext>
            </a:extLst>
          </p:cNvPr>
          <p:cNvSpPr txBox="1"/>
          <p:nvPr userDrawn="1"/>
        </p:nvSpPr>
        <p:spPr>
          <a:xfrm>
            <a:off x="1524001" y="4342961"/>
            <a:ext cx="4284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  <a:buSzPct val="120000"/>
            </a:pPr>
            <a:r>
              <a:rPr lang="en-GB" sz="16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atkraft.com</a:t>
            </a:r>
          </a:p>
        </p:txBody>
      </p:sp>
    </p:spTree>
    <p:extLst>
      <p:ext uri="{BB962C8B-B14F-4D97-AF65-F5344CB8AC3E}">
        <p14:creationId xmlns:p14="http://schemas.microsoft.com/office/powerpoint/2010/main" val="2940163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5027928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8676" y="1830707"/>
            <a:ext cx="10536555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 err="1"/>
              <a:t>Sixt</a:t>
            </a:r>
            <a:r>
              <a:rPr lang="en-GB" noProof="0"/>
              <a:t> level</a:t>
            </a:r>
          </a:p>
          <a:p>
            <a:pPr lvl="6"/>
            <a:r>
              <a:rPr lang="en-GB" noProof="0"/>
              <a:t>Seventh level</a:t>
            </a:r>
          </a:p>
          <a:p>
            <a:pPr lvl="7"/>
            <a:r>
              <a:rPr lang="en-GB" noProof="0"/>
              <a:t>Eight level</a:t>
            </a:r>
          </a:p>
          <a:p>
            <a:pPr lvl="8"/>
            <a:r>
              <a:rPr lang="en-GB" noProof="0" err="1"/>
              <a:t>Nineth</a:t>
            </a:r>
            <a:r>
              <a:rPr lang="en-GB" noProof="0"/>
              <a:t>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1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7156182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8676" y="1830707"/>
            <a:ext cx="10536555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7A6F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2ACB19-C0E1-7345-B8BA-15A723BE30E5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rgbClr val="7A6F6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7A6F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6855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2115775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raphic 5">
            <a:extLst>
              <a:ext uri="{FF2B5EF4-FFF2-40B4-BE49-F238E27FC236}">
                <a16:creationId xmlns:a16="http://schemas.microsoft.com/office/drawing/2014/main" id="{3A45DB2C-420A-4A46-9176-30488C4A057E}"/>
              </a:ext>
            </a:extLst>
          </p:cNvPr>
          <p:cNvSpPr/>
          <p:nvPr/>
        </p:nvSpPr>
        <p:spPr>
          <a:xfrm>
            <a:off x="4926457" y="0"/>
            <a:ext cx="7265543" cy="6845276"/>
          </a:xfrm>
          <a:custGeom>
            <a:avLst/>
            <a:gdLst>
              <a:gd name="connsiteX0" fmla="*/ 2134621 w 7265542"/>
              <a:gd name="connsiteY0" fmla="*/ 6837897 h 6845276"/>
              <a:gd name="connsiteX1" fmla="*/ 1877972 w 7265542"/>
              <a:gd name="connsiteY1" fmla="*/ 6655441 h 6845276"/>
              <a:gd name="connsiteX2" fmla="*/ 1560503 w 7265542"/>
              <a:gd name="connsiteY2" fmla="*/ 6389519 h 6845276"/>
              <a:gd name="connsiteX3" fmla="*/ 1495609 w 7265542"/>
              <a:gd name="connsiteY3" fmla="*/ 6305670 h 6845276"/>
              <a:gd name="connsiteX4" fmla="*/ 1541926 w 7265542"/>
              <a:gd name="connsiteY4" fmla="*/ 6292947 h 6845276"/>
              <a:gd name="connsiteX5" fmla="*/ 1909402 w 7265542"/>
              <a:gd name="connsiteY5" fmla="*/ 6333789 h 6845276"/>
              <a:gd name="connsiteX6" fmla="*/ 2362258 w 7265542"/>
              <a:gd name="connsiteY6" fmla="*/ 6339133 h 6845276"/>
              <a:gd name="connsiteX7" fmla="*/ 2887769 w 7265542"/>
              <a:gd name="connsiteY7" fmla="*/ 6288239 h 6845276"/>
              <a:gd name="connsiteX8" fmla="*/ 3362637 w 7265542"/>
              <a:gd name="connsiteY8" fmla="*/ 6207444 h 6845276"/>
              <a:gd name="connsiteX9" fmla="*/ 3823255 w 7265542"/>
              <a:gd name="connsiteY9" fmla="*/ 6126650 h 6845276"/>
              <a:gd name="connsiteX10" fmla="*/ 4278274 w 7265542"/>
              <a:gd name="connsiteY10" fmla="*/ 6088479 h 6845276"/>
              <a:gd name="connsiteX11" fmla="*/ 4877204 w 7265542"/>
              <a:gd name="connsiteY11" fmla="*/ 6126650 h 6845276"/>
              <a:gd name="connsiteX12" fmla="*/ 5343929 w 7265542"/>
              <a:gd name="connsiteY12" fmla="*/ 6239635 h 6845276"/>
              <a:gd name="connsiteX13" fmla="*/ 5368487 w 7265542"/>
              <a:gd name="connsiteY13" fmla="*/ 6267372 h 6845276"/>
              <a:gd name="connsiteX14" fmla="*/ 5347238 w 7265542"/>
              <a:gd name="connsiteY14" fmla="*/ 6276406 h 6845276"/>
              <a:gd name="connsiteX15" fmla="*/ 4678070 w 7265542"/>
              <a:gd name="connsiteY15" fmla="*/ 6324629 h 6845276"/>
              <a:gd name="connsiteX16" fmla="*/ 3901891 w 7265542"/>
              <a:gd name="connsiteY16" fmla="*/ 6573374 h 6845276"/>
              <a:gd name="connsiteX17" fmla="*/ 3526017 w 7265542"/>
              <a:gd name="connsiteY17" fmla="*/ 6721095 h 6845276"/>
              <a:gd name="connsiteX18" fmla="*/ 3009413 w 7265542"/>
              <a:gd name="connsiteY18" fmla="*/ 6854310 h 6845276"/>
              <a:gd name="connsiteX19" fmla="*/ 7275215 w 7265542"/>
              <a:gd name="connsiteY19" fmla="*/ 6854311 h 6845276"/>
              <a:gd name="connsiteX20" fmla="*/ 7275215 w 7265542"/>
              <a:gd name="connsiteY20" fmla="*/ 0 h 6845276"/>
              <a:gd name="connsiteX21" fmla="*/ 1146711 w 7265542"/>
              <a:gd name="connsiteY21" fmla="*/ 0 h 6845276"/>
              <a:gd name="connsiteX22" fmla="*/ 2 w 7265542"/>
              <a:gd name="connsiteY22" fmla="*/ 3050347 h 6845276"/>
              <a:gd name="connsiteX23" fmla="*/ 1986638 w 7265542"/>
              <a:gd name="connsiteY23" fmla="*/ 6854692 h 6845276"/>
              <a:gd name="connsiteX24" fmla="*/ 2162105 w 7265542"/>
              <a:gd name="connsiteY24" fmla="*/ 6854692 h 6845276"/>
              <a:gd name="connsiteX25" fmla="*/ 2134621 w 7265542"/>
              <a:gd name="connsiteY25" fmla="*/ 6837897 h 6845276"/>
              <a:gd name="connsiteX26" fmla="*/ 481360 w 7265542"/>
              <a:gd name="connsiteY26" fmla="*/ 1206321 h 6845276"/>
              <a:gd name="connsiteX27" fmla="*/ 755694 w 7265542"/>
              <a:gd name="connsiteY27" fmla="*/ 684655 h 6845276"/>
              <a:gd name="connsiteX28" fmla="*/ 796285 w 7265542"/>
              <a:gd name="connsiteY28" fmla="*/ 621037 h 6845276"/>
              <a:gd name="connsiteX29" fmla="*/ 858761 w 7265542"/>
              <a:gd name="connsiteY29" fmla="*/ 601061 h 6845276"/>
              <a:gd name="connsiteX30" fmla="*/ 893498 w 7265542"/>
              <a:gd name="connsiteY30" fmla="*/ 609204 h 6845276"/>
              <a:gd name="connsiteX31" fmla="*/ 1269626 w 7265542"/>
              <a:gd name="connsiteY31" fmla="*/ 624727 h 6845276"/>
              <a:gd name="connsiteX32" fmla="*/ 2060311 w 7265542"/>
              <a:gd name="connsiteY32" fmla="*/ 534390 h 6845276"/>
              <a:gd name="connsiteX33" fmla="*/ 2977475 w 7265542"/>
              <a:gd name="connsiteY33" fmla="*/ 385778 h 6845276"/>
              <a:gd name="connsiteX34" fmla="*/ 3465449 w 7265542"/>
              <a:gd name="connsiteY34" fmla="*/ 307529 h 6845276"/>
              <a:gd name="connsiteX35" fmla="*/ 4516472 w 7265542"/>
              <a:gd name="connsiteY35" fmla="*/ 287171 h 6845276"/>
              <a:gd name="connsiteX36" fmla="*/ 5616610 w 7265542"/>
              <a:gd name="connsiteY36" fmla="*/ 451559 h 6845276"/>
              <a:gd name="connsiteX37" fmla="*/ 6033074 w 7265542"/>
              <a:gd name="connsiteY37" fmla="*/ 554366 h 6845276"/>
              <a:gd name="connsiteX38" fmla="*/ 6356270 w 7265542"/>
              <a:gd name="connsiteY38" fmla="*/ 650556 h 6845276"/>
              <a:gd name="connsiteX39" fmla="*/ 6368104 w 7265542"/>
              <a:gd name="connsiteY39" fmla="*/ 662389 h 6845276"/>
              <a:gd name="connsiteX40" fmla="*/ 6354235 w 7265542"/>
              <a:gd name="connsiteY40" fmla="*/ 670150 h 6845276"/>
              <a:gd name="connsiteX41" fmla="*/ 6323951 w 7265542"/>
              <a:gd name="connsiteY41" fmla="*/ 668623 h 6845276"/>
              <a:gd name="connsiteX42" fmla="*/ 5538483 w 7265542"/>
              <a:gd name="connsiteY42" fmla="*/ 638087 h 6845276"/>
              <a:gd name="connsiteX43" fmla="*/ 4388084 w 7265542"/>
              <a:gd name="connsiteY43" fmla="*/ 695852 h 6845276"/>
              <a:gd name="connsiteX44" fmla="*/ 3048476 w 7265542"/>
              <a:gd name="connsiteY44" fmla="*/ 978569 h 6845276"/>
              <a:gd name="connsiteX45" fmla="*/ 2052295 w 7265542"/>
              <a:gd name="connsiteY45" fmla="*/ 1292460 h 6845276"/>
              <a:gd name="connsiteX46" fmla="*/ 1135258 w 7265542"/>
              <a:gd name="connsiteY46" fmla="*/ 1461301 h 6845276"/>
              <a:gd name="connsiteX47" fmla="*/ 715994 w 7265542"/>
              <a:gd name="connsiteY47" fmla="*/ 1438653 h 6845276"/>
              <a:gd name="connsiteX48" fmla="*/ 512407 w 7265542"/>
              <a:gd name="connsiteY48" fmla="*/ 1355950 h 6845276"/>
              <a:gd name="connsiteX49" fmla="*/ 481360 w 7265542"/>
              <a:gd name="connsiteY49" fmla="*/ 1206321 h 6845276"/>
              <a:gd name="connsiteX50" fmla="*/ 90853 w 7265542"/>
              <a:gd name="connsiteY50" fmla="*/ 3171730 h 6845276"/>
              <a:gd name="connsiteX51" fmla="*/ 124444 w 7265542"/>
              <a:gd name="connsiteY51" fmla="*/ 2481222 h 6845276"/>
              <a:gd name="connsiteX52" fmla="*/ 130807 w 7265542"/>
              <a:gd name="connsiteY52" fmla="*/ 2431727 h 6845276"/>
              <a:gd name="connsiteX53" fmla="*/ 158673 w 7265542"/>
              <a:gd name="connsiteY53" fmla="*/ 2387958 h 6845276"/>
              <a:gd name="connsiteX54" fmla="*/ 223057 w 7265542"/>
              <a:gd name="connsiteY54" fmla="*/ 2384777 h 6845276"/>
              <a:gd name="connsiteX55" fmla="*/ 259322 w 7265542"/>
              <a:gd name="connsiteY55" fmla="*/ 2391266 h 6845276"/>
              <a:gd name="connsiteX56" fmla="*/ 507444 w 7265542"/>
              <a:gd name="connsiteY56" fmla="*/ 2427656 h 6845276"/>
              <a:gd name="connsiteX57" fmla="*/ 1094159 w 7265542"/>
              <a:gd name="connsiteY57" fmla="*/ 2453103 h 6845276"/>
              <a:gd name="connsiteX58" fmla="*/ 1746532 w 7265542"/>
              <a:gd name="connsiteY58" fmla="*/ 2400936 h 6845276"/>
              <a:gd name="connsiteX59" fmla="*/ 2181191 w 7265542"/>
              <a:gd name="connsiteY59" fmla="*/ 2333247 h 6845276"/>
              <a:gd name="connsiteX60" fmla="*/ 2915889 w 7265542"/>
              <a:gd name="connsiteY60" fmla="*/ 2187562 h 6845276"/>
              <a:gd name="connsiteX61" fmla="*/ 3574496 w 7265542"/>
              <a:gd name="connsiteY61" fmla="*/ 2056255 h 6845276"/>
              <a:gd name="connsiteX62" fmla="*/ 4130291 w 7265542"/>
              <a:gd name="connsiteY62" fmla="*/ 1971898 h 6845276"/>
              <a:gd name="connsiteX63" fmla="*/ 4859390 w 7265542"/>
              <a:gd name="connsiteY63" fmla="*/ 1932327 h 6845276"/>
              <a:gd name="connsiteX64" fmla="*/ 5559223 w 7265542"/>
              <a:gd name="connsiteY64" fmla="*/ 1978769 h 6845276"/>
              <a:gd name="connsiteX65" fmla="*/ 6203070 w 7265542"/>
              <a:gd name="connsiteY65" fmla="*/ 2094298 h 6845276"/>
              <a:gd name="connsiteX66" fmla="*/ 6813071 w 7265542"/>
              <a:gd name="connsiteY66" fmla="*/ 2274591 h 6845276"/>
              <a:gd name="connsiteX67" fmla="*/ 7072900 w 7265542"/>
              <a:gd name="connsiteY67" fmla="*/ 2378543 h 6845276"/>
              <a:gd name="connsiteX68" fmla="*/ 7081807 w 7265542"/>
              <a:gd name="connsiteY68" fmla="*/ 2395338 h 6845276"/>
              <a:gd name="connsiteX69" fmla="*/ 7056358 w 7265542"/>
              <a:gd name="connsiteY69" fmla="*/ 2404372 h 6845276"/>
              <a:gd name="connsiteX70" fmla="*/ 6849080 w 7265542"/>
              <a:gd name="connsiteY70" fmla="*/ 2399537 h 6845276"/>
              <a:gd name="connsiteX71" fmla="*/ 5240990 w 7265542"/>
              <a:gd name="connsiteY71" fmla="*/ 2475878 h 6845276"/>
              <a:gd name="connsiteX72" fmla="*/ 3948462 w 7265542"/>
              <a:gd name="connsiteY72" fmla="*/ 2780480 h 6845276"/>
              <a:gd name="connsiteX73" fmla="*/ 2170630 w 7265542"/>
              <a:gd name="connsiteY73" fmla="*/ 3365764 h 6845276"/>
              <a:gd name="connsiteX74" fmla="*/ 585826 w 7265542"/>
              <a:gd name="connsiteY74" fmla="*/ 3561071 h 6845276"/>
              <a:gd name="connsiteX75" fmla="*/ 183231 w 7265542"/>
              <a:gd name="connsiteY75" fmla="*/ 3421875 h 6845276"/>
              <a:gd name="connsiteX76" fmla="*/ 90853 w 7265542"/>
              <a:gd name="connsiteY76" fmla="*/ 3171730 h 6845276"/>
              <a:gd name="connsiteX77" fmla="*/ 1182338 w 7265542"/>
              <a:gd name="connsiteY77" fmla="*/ 5427363 h 6845276"/>
              <a:gd name="connsiteX78" fmla="*/ 591552 w 7265542"/>
              <a:gd name="connsiteY78" fmla="*/ 5123270 h 6845276"/>
              <a:gd name="connsiteX79" fmla="*/ 349791 w 7265542"/>
              <a:gd name="connsiteY79" fmla="*/ 4568904 h 6845276"/>
              <a:gd name="connsiteX80" fmla="*/ 334013 w 7265542"/>
              <a:gd name="connsiteY80" fmla="*/ 4521572 h 6845276"/>
              <a:gd name="connsiteX81" fmla="*/ 338339 w 7265542"/>
              <a:gd name="connsiteY81" fmla="*/ 4457955 h 6845276"/>
              <a:gd name="connsiteX82" fmla="*/ 424991 w 7265542"/>
              <a:gd name="connsiteY82" fmla="*/ 4457955 h 6845276"/>
              <a:gd name="connsiteX83" fmla="*/ 1049497 w 7265542"/>
              <a:gd name="connsiteY83" fmla="*/ 4542312 h 6845276"/>
              <a:gd name="connsiteX84" fmla="*/ 1610127 w 7265542"/>
              <a:gd name="connsiteY84" fmla="*/ 4563433 h 6845276"/>
              <a:gd name="connsiteX85" fmla="*/ 2116552 w 7265542"/>
              <a:gd name="connsiteY85" fmla="*/ 4537986 h 6845276"/>
              <a:gd name="connsiteX86" fmla="*/ 2803661 w 7265542"/>
              <a:gd name="connsiteY86" fmla="*/ 4440142 h 6845276"/>
              <a:gd name="connsiteX87" fmla="*/ 3652623 w 7265542"/>
              <a:gd name="connsiteY87" fmla="*/ 4257813 h 6845276"/>
              <a:gd name="connsiteX88" fmla="*/ 4171772 w 7265542"/>
              <a:gd name="connsiteY88" fmla="*/ 4160605 h 6845276"/>
              <a:gd name="connsiteX89" fmla="*/ 4583401 w 7265542"/>
              <a:gd name="connsiteY89" fmla="*/ 4127905 h 6845276"/>
              <a:gd name="connsiteX90" fmla="*/ 5135888 w 7265542"/>
              <a:gd name="connsiteY90" fmla="*/ 4149154 h 6845276"/>
              <a:gd name="connsiteX91" fmla="*/ 5791059 w 7265542"/>
              <a:gd name="connsiteY91" fmla="*/ 4241400 h 6845276"/>
              <a:gd name="connsiteX92" fmla="*/ 6230555 w 7265542"/>
              <a:gd name="connsiteY92" fmla="*/ 4347514 h 6845276"/>
              <a:gd name="connsiteX93" fmla="*/ 6386427 w 7265542"/>
              <a:gd name="connsiteY93" fmla="*/ 4395609 h 6845276"/>
              <a:gd name="connsiteX94" fmla="*/ 6403605 w 7265542"/>
              <a:gd name="connsiteY94" fmla="*/ 4415967 h 6845276"/>
              <a:gd name="connsiteX95" fmla="*/ 6382737 w 7265542"/>
              <a:gd name="connsiteY95" fmla="*/ 4424492 h 6845276"/>
              <a:gd name="connsiteX96" fmla="*/ 6364541 w 7265542"/>
              <a:gd name="connsiteY96" fmla="*/ 4422711 h 6845276"/>
              <a:gd name="connsiteX97" fmla="*/ 5164390 w 7265542"/>
              <a:gd name="connsiteY97" fmla="*/ 4511775 h 6845276"/>
              <a:gd name="connsiteX98" fmla="*/ 4289599 w 7265542"/>
              <a:gd name="connsiteY98" fmla="*/ 4790167 h 6845276"/>
              <a:gd name="connsiteX99" fmla="*/ 3144417 w 7265542"/>
              <a:gd name="connsiteY99" fmla="*/ 5183070 h 6845276"/>
              <a:gd name="connsiteX100" fmla="*/ 1923780 w 7265542"/>
              <a:gd name="connsiteY100" fmla="*/ 5443013 h 6845276"/>
              <a:gd name="connsiteX101" fmla="*/ 1182338 w 7265542"/>
              <a:gd name="connsiteY101" fmla="*/ 5427363 h 684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7265542" h="6845276">
                <a:moveTo>
                  <a:pt x="2134621" y="6837897"/>
                </a:moveTo>
                <a:cubicBezTo>
                  <a:pt x="2134621" y="6837897"/>
                  <a:pt x="2045551" y="6778605"/>
                  <a:pt x="1877972" y="6655441"/>
                </a:cubicBezTo>
                <a:cubicBezTo>
                  <a:pt x="1773252" y="6578464"/>
                  <a:pt x="1643337" y="6464588"/>
                  <a:pt x="1560503" y="6389519"/>
                </a:cubicBezTo>
                <a:cubicBezTo>
                  <a:pt x="1536072" y="6366871"/>
                  <a:pt x="1493701" y="6324628"/>
                  <a:pt x="1495609" y="6305670"/>
                </a:cubicBezTo>
                <a:cubicBezTo>
                  <a:pt x="1495609" y="6305670"/>
                  <a:pt x="1496627" y="6287985"/>
                  <a:pt x="1541926" y="6292947"/>
                </a:cubicBezTo>
                <a:cubicBezTo>
                  <a:pt x="1587224" y="6297909"/>
                  <a:pt x="1720956" y="6319794"/>
                  <a:pt x="1909402" y="6333789"/>
                </a:cubicBezTo>
                <a:cubicBezTo>
                  <a:pt x="2060167" y="6343218"/>
                  <a:pt x="2211312" y="6345002"/>
                  <a:pt x="2362258" y="6339133"/>
                </a:cubicBezTo>
                <a:cubicBezTo>
                  <a:pt x="2539252" y="6333408"/>
                  <a:pt x="2727825" y="6310124"/>
                  <a:pt x="2887769" y="6288239"/>
                </a:cubicBezTo>
                <a:cubicBezTo>
                  <a:pt x="3047712" y="6266355"/>
                  <a:pt x="3362637" y="6207444"/>
                  <a:pt x="3362637" y="6207444"/>
                </a:cubicBezTo>
                <a:cubicBezTo>
                  <a:pt x="3362637" y="6207444"/>
                  <a:pt x="3615214" y="6158459"/>
                  <a:pt x="3823255" y="6126650"/>
                </a:cubicBezTo>
                <a:cubicBezTo>
                  <a:pt x="3973869" y="6103476"/>
                  <a:pt x="4125904" y="6090723"/>
                  <a:pt x="4278274" y="6088479"/>
                </a:cubicBezTo>
                <a:cubicBezTo>
                  <a:pt x="4478495" y="6089387"/>
                  <a:pt x="4678488" y="6102132"/>
                  <a:pt x="4877204" y="6126650"/>
                </a:cubicBezTo>
                <a:cubicBezTo>
                  <a:pt x="5169862" y="6164820"/>
                  <a:pt x="5330060" y="6233146"/>
                  <a:pt x="5343929" y="6239635"/>
                </a:cubicBezTo>
                <a:cubicBezTo>
                  <a:pt x="5357799" y="6246124"/>
                  <a:pt x="5371287" y="6256430"/>
                  <a:pt x="5368487" y="6267372"/>
                </a:cubicBezTo>
                <a:cubicBezTo>
                  <a:pt x="5365688" y="6278315"/>
                  <a:pt x="5347238" y="6276406"/>
                  <a:pt x="5347238" y="6276406"/>
                </a:cubicBezTo>
                <a:cubicBezTo>
                  <a:pt x="5123140" y="6270490"/>
                  <a:pt x="4899003" y="6286642"/>
                  <a:pt x="4678070" y="6324629"/>
                </a:cubicBezTo>
                <a:cubicBezTo>
                  <a:pt x="4339478" y="6386592"/>
                  <a:pt x="3901891" y="6573374"/>
                  <a:pt x="3901891" y="6573374"/>
                </a:cubicBezTo>
                <a:lnTo>
                  <a:pt x="3526017" y="6721095"/>
                </a:lnTo>
                <a:cubicBezTo>
                  <a:pt x="3358065" y="6780596"/>
                  <a:pt x="3185194" y="6825174"/>
                  <a:pt x="3009413" y="6854310"/>
                </a:cubicBezTo>
                <a:lnTo>
                  <a:pt x="7275215" y="6854311"/>
                </a:lnTo>
                <a:lnTo>
                  <a:pt x="7275215" y="0"/>
                </a:lnTo>
                <a:lnTo>
                  <a:pt x="1146711" y="0"/>
                </a:lnTo>
                <a:cubicBezTo>
                  <a:pt x="406626" y="843748"/>
                  <a:pt x="-988" y="1928039"/>
                  <a:pt x="2" y="3050347"/>
                </a:cubicBezTo>
                <a:cubicBezTo>
                  <a:pt x="1" y="4622852"/>
                  <a:pt x="786360" y="6014937"/>
                  <a:pt x="1986638" y="6854692"/>
                </a:cubicBezTo>
                <a:lnTo>
                  <a:pt x="2162105" y="6854692"/>
                </a:lnTo>
                <a:cubicBezTo>
                  <a:pt x="2152501" y="6849854"/>
                  <a:pt x="2143308" y="6844237"/>
                  <a:pt x="2134621" y="6837897"/>
                </a:cubicBezTo>
                <a:close/>
                <a:moveTo>
                  <a:pt x="481360" y="1206321"/>
                </a:moveTo>
                <a:cubicBezTo>
                  <a:pt x="568648" y="1000072"/>
                  <a:pt x="755694" y="684655"/>
                  <a:pt x="755694" y="684655"/>
                </a:cubicBezTo>
                <a:cubicBezTo>
                  <a:pt x="755694" y="684655"/>
                  <a:pt x="773890" y="653609"/>
                  <a:pt x="796285" y="621037"/>
                </a:cubicBezTo>
                <a:cubicBezTo>
                  <a:pt x="818680" y="588465"/>
                  <a:pt x="858761" y="601061"/>
                  <a:pt x="858761" y="601061"/>
                </a:cubicBezTo>
                <a:lnTo>
                  <a:pt x="893498" y="609204"/>
                </a:lnTo>
                <a:cubicBezTo>
                  <a:pt x="1024049" y="637832"/>
                  <a:pt x="1269626" y="624727"/>
                  <a:pt x="1269626" y="624727"/>
                </a:cubicBezTo>
                <a:cubicBezTo>
                  <a:pt x="1534800" y="610731"/>
                  <a:pt x="1942103" y="551694"/>
                  <a:pt x="2060311" y="534390"/>
                </a:cubicBezTo>
                <a:cubicBezTo>
                  <a:pt x="2178519" y="517086"/>
                  <a:pt x="2977475" y="385778"/>
                  <a:pt x="2977475" y="385778"/>
                </a:cubicBezTo>
                <a:cubicBezTo>
                  <a:pt x="3170883" y="350661"/>
                  <a:pt x="3465449" y="307529"/>
                  <a:pt x="3465449" y="307529"/>
                </a:cubicBezTo>
                <a:cubicBezTo>
                  <a:pt x="3938791" y="242257"/>
                  <a:pt x="4516472" y="287171"/>
                  <a:pt x="4516472" y="287171"/>
                </a:cubicBezTo>
                <a:cubicBezTo>
                  <a:pt x="4999993" y="314908"/>
                  <a:pt x="5616610" y="451559"/>
                  <a:pt x="5616610" y="451559"/>
                </a:cubicBezTo>
                <a:cubicBezTo>
                  <a:pt x="5789914" y="487821"/>
                  <a:pt x="6033074" y="554366"/>
                  <a:pt x="6033074" y="554366"/>
                </a:cubicBezTo>
                <a:cubicBezTo>
                  <a:pt x="6136268" y="581594"/>
                  <a:pt x="6356270" y="650556"/>
                  <a:pt x="6356270" y="650556"/>
                </a:cubicBezTo>
                <a:cubicBezTo>
                  <a:pt x="6356270" y="650556"/>
                  <a:pt x="6370140" y="654246"/>
                  <a:pt x="6368104" y="662389"/>
                </a:cubicBezTo>
                <a:cubicBezTo>
                  <a:pt x="6366068" y="670532"/>
                  <a:pt x="6354235" y="670150"/>
                  <a:pt x="6354235" y="670150"/>
                </a:cubicBezTo>
                <a:lnTo>
                  <a:pt x="6323951" y="668623"/>
                </a:lnTo>
                <a:cubicBezTo>
                  <a:pt x="6258166" y="664170"/>
                  <a:pt x="5799203" y="640250"/>
                  <a:pt x="5538483" y="638087"/>
                </a:cubicBezTo>
                <a:cubicBezTo>
                  <a:pt x="5277763" y="635924"/>
                  <a:pt x="4979762" y="634651"/>
                  <a:pt x="4388084" y="695852"/>
                </a:cubicBezTo>
                <a:cubicBezTo>
                  <a:pt x="3796407" y="757052"/>
                  <a:pt x="3182207" y="940017"/>
                  <a:pt x="3048476" y="978569"/>
                </a:cubicBezTo>
                <a:cubicBezTo>
                  <a:pt x="2914744" y="1017122"/>
                  <a:pt x="2052295" y="1292460"/>
                  <a:pt x="2052295" y="1292460"/>
                </a:cubicBezTo>
                <a:cubicBezTo>
                  <a:pt x="1560248" y="1436490"/>
                  <a:pt x="1356279" y="1447687"/>
                  <a:pt x="1135258" y="1461301"/>
                </a:cubicBezTo>
                <a:cubicBezTo>
                  <a:pt x="995096" y="1468825"/>
                  <a:pt x="854531" y="1461232"/>
                  <a:pt x="715994" y="1438653"/>
                </a:cubicBezTo>
                <a:cubicBezTo>
                  <a:pt x="567503" y="1413206"/>
                  <a:pt x="512407" y="1355950"/>
                  <a:pt x="512407" y="1355950"/>
                </a:cubicBezTo>
                <a:cubicBezTo>
                  <a:pt x="439370" y="1285080"/>
                  <a:pt x="481360" y="1206321"/>
                  <a:pt x="481360" y="1206321"/>
                </a:cubicBezTo>
                <a:close/>
                <a:moveTo>
                  <a:pt x="90853" y="3171730"/>
                </a:moveTo>
                <a:cubicBezTo>
                  <a:pt x="75965" y="2855804"/>
                  <a:pt x="124444" y="2481222"/>
                  <a:pt x="124444" y="2481222"/>
                </a:cubicBezTo>
                <a:cubicBezTo>
                  <a:pt x="124444" y="2481222"/>
                  <a:pt x="126353" y="2463027"/>
                  <a:pt x="130807" y="2431727"/>
                </a:cubicBezTo>
                <a:cubicBezTo>
                  <a:pt x="132916" y="2413645"/>
                  <a:pt x="143181" y="2397521"/>
                  <a:pt x="158673" y="2387958"/>
                </a:cubicBezTo>
                <a:cubicBezTo>
                  <a:pt x="179320" y="2380418"/>
                  <a:pt x="201767" y="2379309"/>
                  <a:pt x="223057" y="2384777"/>
                </a:cubicBezTo>
                <a:lnTo>
                  <a:pt x="259322" y="2391266"/>
                </a:lnTo>
                <a:cubicBezTo>
                  <a:pt x="370023" y="2412515"/>
                  <a:pt x="507444" y="2427656"/>
                  <a:pt x="507444" y="2427656"/>
                </a:cubicBezTo>
                <a:cubicBezTo>
                  <a:pt x="702225" y="2449267"/>
                  <a:pt x="898238" y="2457768"/>
                  <a:pt x="1094159" y="2453103"/>
                </a:cubicBezTo>
                <a:cubicBezTo>
                  <a:pt x="1391143" y="2449540"/>
                  <a:pt x="1746532" y="2400936"/>
                  <a:pt x="1746532" y="2400936"/>
                </a:cubicBezTo>
                <a:cubicBezTo>
                  <a:pt x="1889806" y="2383760"/>
                  <a:pt x="2181191" y="2333247"/>
                  <a:pt x="2181191" y="2333247"/>
                </a:cubicBezTo>
                <a:cubicBezTo>
                  <a:pt x="2304744" y="2311999"/>
                  <a:pt x="2776686" y="2216572"/>
                  <a:pt x="2915889" y="2187562"/>
                </a:cubicBezTo>
                <a:cubicBezTo>
                  <a:pt x="3055092" y="2158552"/>
                  <a:pt x="3574496" y="2056255"/>
                  <a:pt x="3574496" y="2056255"/>
                </a:cubicBezTo>
                <a:cubicBezTo>
                  <a:pt x="3807986" y="2011086"/>
                  <a:pt x="4130291" y="1971898"/>
                  <a:pt x="4130291" y="1971898"/>
                </a:cubicBezTo>
                <a:cubicBezTo>
                  <a:pt x="4372258" y="1943481"/>
                  <a:pt x="4615769" y="1930265"/>
                  <a:pt x="4859390" y="1932327"/>
                </a:cubicBezTo>
                <a:cubicBezTo>
                  <a:pt x="5005465" y="1932327"/>
                  <a:pt x="5246971" y="1942506"/>
                  <a:pt x="5559223" y="1978769"/>
                </a:cubicBezTo>
                <a:cubicBezTo>
                  <a:pt x="5775652" y="2006382"/>
                  <a:pt x="5990543" y="2044942"/>
                  <a:pt x="6203070" y="2094298"/>
                </a:cubicBezTo>
                <a:cubicBezTo>
                  <a:pt x="6430707" y="2145193"/>
                  <a:pt x="6688119" y="2230059"/>
                  <a:pt x="6813071" y="2274591"/>
                </a:cubicBezTo>
                <a:cubicBezTo>
                  <a:pt x="6938023" y="2319124"/>
                  <a:pt x="7067556" y="2376380"/>
                  <a:pt x="7072900" y="2378543"/>
                </a:cubicBezTo>
                <a:cubicBezTo>
                  <a:pt x="7078244" y="2380706"/>
                  <a:pt x="7084733" y="2384396"/>
                  <a:pt x="7081807" y="2395338"/>
                </a:cubicBezTo>
                <a:cubicBezTo>
                  <a:pt x="7078880" y="2406280"/>
                  <a:pt x="7056358" y="2404372"/>
                  <a:pt x="7056358" y="2404372"/>
                </a:cubicBezTo>
                <a:lnTo>
                  <a:pt x="6849080" y="2399537"/>
                </a:lnTo>
                <a:cubicBezTo>
                  <a:pt x="6392153" y="2388722"/>
                  <a:pt x="5724130" y="2406026"/>
                  <a:pt x="5240990" y="2475878"/>
                </a:cubicBezTo>
                <a:cubicBezTo>
                  <a:pt x="4757851" y="2545730"/>
                  <a:pt x="4231322" y="2695614"/>
                  <a:pt x="3948462" y="2780480"/>
                </a:cubicBezTo>
                <a:cubicBezTo>
                  <a:pt x="3665601" y="2865346"/>
                  <a:pt x="3110697" y="3050347"/>
                  <a:pt x="2170630" y="3365764"/>
                </a:cubicBezTo>
                <a:cubicBezTo>
                  <a:pt x="1230563" y="3681181"/>
                  <a:pt x="585826" y="3561071"/>
                  <a:pt x="585826" y="3561071"/>
                </a:cubicBezTo>
                <a:cubicBezTo>
                  <a:pt x="359589" y="3533715"/>
                  <a:pt x="282607" y="3501397"/>
                  <a:pt x="183231" y="3421875"/>
                </a:cubicBezTo>
                <a:cubicBezTo>
                  <a:pt x="83855" y="3342353"/>
                  <a:pt x="90853" y="3171730"/>
                  <a:pt x="90853" y="3171730"/>
                </a:cubicBezTo>
                <a:close/>
                <a:moveTo>
                  <a:pt x="1182338" y="5427363"/>
                </a:moveTo>
                <a:cubicBezTo>
                  <a:pt x="1011579" y="5404588"/>
                  <a:pt x="718794" y="5359928"/>
                  <a:pt x="591552" y="5123270"/>
                </a:cubicBezTo>
                <a:cubicBezTo>
                  <a:pt x="464309" y="4886611"/>
                  <a:pt x="349791" y="4568904"/>
                  <a:pt x="349791" y="4568904"/>
                </a:cubicBezTo>
                <a:cubicBezTo>
                  <a:pt x="349791" y="4568904"/>
                  <a:pt x="342157" y="4543457"/>
                  <a:pt x="334013" y="4521572"/>
                </a:cubicBezTo>
                <a:cubicBezTo>
                  <a:pt x="325869" y="4499688"/>
                  <a:pt x="316581" y="4473223"/>
                  <a:pt x="338339" y="4457955"/>
                </a:cubicBezTo>
                <a:cubicBezTo>
                  <a:pt x="360098" y="4442687"/>
                  <a:pt x="424991" y="4457955"/>
                  <a:pt x="424991" y="4457955"/>
                </a:cubicBezTo>
                <a:cubicBezTo>
                  <a:pt x="662680" y="4506940"/>
                  <a:pt x="1049497" y="4542312"/>
                  <a:pt x="1049497" y="4542312"/>
                </a:cubicBezTo>
                <a:cubicBezTo>
                  <a:pt x="1276371" y="4564578"/>
                  <a:pt x="1610127" y="4563433"/>
                  <a:pt x="1610127" y="4563433"/>
                </a:cubicBezTo>
                <a:cubicBezTo>
                  <a:pt x="1814987" y="4564578"/>
                  <a:pt x="2116552" y="4537986"/>
                  <a:pt x="2116552" y="4537986"/>
                </a:cubicBezTo>
                <a:cubicBezTo>
                  <a:pt x="2399666" y="4515974"/>
                  <a:pt x="2803661" y="4440142"/>
                  <a:pt x="2803661" y="4440142"/>
                </a:cubicBezTo>
                <a:cubicBezTo>
                  <a:pt x="2977856" y="4408715"/>
                  <a:pt x="3401701" y="4313670"/>
                  <a:pt x="3652623" y="4257813"/>
                </a:cubicBezTo>
                <a:cubicBezTo>
                  <a:pt x="3903545" y="4201957"/>
                  <a:pt x="4171772" y="4160605"/>
                  <a:pt x="4171772" y="4160605"/>
                </a:cubicBezTo>
                <a:cubicBezTo>
                  <a:pt x="4308176" y="4141227"/>
                  <a:pt x="4445649" y="4130307"/>
                  <a:pt x="4583401" y="4127905"/>
                </a:cubicBezTo>
                <a:cubicBezTo>
                  <a:pt x="4583401" y="4127905"/>
                  <a:pt x="4854809" y="4123070"/>
                  <a:pt x="5135888" y="4149154"/>
                </a:cubicBezTo>
                <a:cubicBezTo>
                  <a:pt x="5355815" y="4167781"/>
                  <a:pt x="5574540" y="4198577"/>
                  <a:pt x="5791059" y="4241400"/>
                </a:cubicBezTo>
                <a:cubicBezTo>
                  <a:pt x="5997574" y="4281352"/>
                  <a:pt x="6195818" y="4337590"/>
                  <a:pt x="6230555" y="4347514"/>
                </a:cubicBezTo>
                <a:cubicBezTo>
                  <a:pt x="6265291" y="4357439"/>
                  <a:pt x="6378156" y="4392683"/>
                  <a:pt x="6386427" y="4395609"/>
                </a:cubicBezTo>
                <a:cubicBezTo>
                  <a:pt x="6394698" y="4398536"/>
                  <a:pt x="6407167" y="4405788"/>
                  <a:pt x="6403605" y="4415967"/>
                </a:cubicBezTo>
                <a:cubicBezTo>
                  <a:pt x="6400042" y="4426146"/>
                  <a:pt x="6382737" y="4424492"/>
                  <a:pt x="6382737" y="4424492"/>
                </a:cubicBezTo>
                <a:lnTo>
                  <a:pt x="6364541" y="4422711"/>
                </a:lnTo>
                <a:cubicBezTo>
                  <a:pt x="5798694" y="4367236"/>
                  <a:pt x="5164390" y="4511775"/>
                  <a:pt x="5164390" y="4511775"/>
                </a:cubicBezTo>
                <a:cubicBezTo>
                  <a:pt x="4939299" y="4557453"/>
                  <a:pt x="4609613" y="4672856"/>
                  <a:pt x="4289599" y="4790167"/>
                </a:cubicBezTo>
                <a:cubicBezTo>
                  <a:pt x="3969584" y="4907478"/>
                  <a:pt x="3551593" y="5057362"/>
                  <a:pt x="3144417" y="5183070"/>
                </a:cubicBezTo>
                <a:cubicBezTo>
                  <a:pt x="2737241" y="5308779"/>
                  <a:pt x="2259955" y="5408278"/>
                  <a:pt x="1923780" y="5443013"/>
                </a:cubicBezTo>
                <a:cubicBezTo>
                  <a:pt x="1587606" y="5477748"/>
                  <a:pt x="1182338" y="5427363"/>
                  <a:pt x="1182338" y="5427363"/>
                </a:cubicBezTo>
                <a:close/>
              </a:path>
            </a:pathLst>
          </a:custGeom>
          <a:solidFill>
            <a:schemeClr val="accent2"/>
          </a:solidFill>
          <a:ln w="12722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D68D7B-DF38-479E-8181-B200AE68BD7D}"/>
              </a:ext>
            </a:extLst>
          </p:cNvPr>
          <p:cNvSpPr/>
          <p:nvPr userDrawn="1"/>
        </p:nvSpPr>
        <p:spPr>
          <a:xfrm>
            <a:off x="1235074" y="2"/>
            <a:ext cx="4860926" cy="47947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944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30393"/>
            <a:ext cx="4284663" cy="2271708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3600" cap="none" baseline="0">
                <a:solidFill>
                  <a:schemeClr val="accent5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5074" y="4368356"/>
            <a:ext cx="4860926" cy="427979"/>
          </a:xfrm>
          <a:solidFill>
            <a:schemeClr val="bg1"/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600" cap="all" baseline="0">
                <a:solidFill>
                  <a:schemeClr val="accent5"/>
                </a:solidFill>
              </a:defRPr>
            </a:lvl1pPr>
            <a:lvl2pPr marL="5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0C94871-1278-4C9D-8FE4-92A94538EC1C}"/>
              </a:ext>
            </a:extLst>
          </p:cNvPr>
          <p:cNvGrpSpPr/>
          <p:nvPr userDrawn="1"/>
        </p:nvGrpSpPr>
        <p:grpSpPr>
          <a:xfrm>
            <a:off x="1533524" y="369094"/>
            <a:ext cx="2243139" cy="606869"/>
            <a:chOff x="1533524" y="369094"/>
            <a:chExt cx="2243139" cy="606869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8ED2CFF3-8D2B-4D37-BCA7-ECF1D6193D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0C11B633-41CA-4745-B60C-C77BAB1EE0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61002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6114566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t">
            <a:no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C20C8F6-248D-4C3E-87B3-1E76EE1E9591}"/>
              </a:ext>
            </a:extLst>
          </p:cNvPr>
          <p:cNvSpPr/>
          <p:nvPr userDrawn="1"/>
        </p:nvSpPr>
        <p:spPr>
          <a:xfrm>
            <a:off x="1235074" y="2"/>
            <a:ext cx="4860926" cy="47947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944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30393"/>
            <a:ext cx="4284663" cy="2271708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3600" cap="none" baseline="0">
                <a:solidFill>
                  <a:schemeClr val="accent5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33F1287C-318B-4F40-9FF1-E19D09469A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5075" y="4368356"/>
            <a:ext cx="4860925" cy="427979"/>
          </a:xfrm>
          <a:solidFill>
            <a:schemeClr val="bg1"/>
          </a:solidFill>
        </p:spPr>
        <p:txBody>
          <a:bodyPr wrap="square"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600" cap="all" baseline="0">
                <a:solidFill>
                  <a:schemeClr val="accent5"/>
                </a:solidFill>
              </a:defRPr>
            </a:lvl1pPr>
            <a:lvl2pPr marL="5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GB" noProof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48B993E-BF37-4D48-AD6A-25908C6899FA}"/>
              </a:ext>
            </a:extLst>
          </p:cNvPr>
          <p:cNvGrpSpPr/>
          <p:nvPr userDrawn="1"/>
        </p:nvGrpSpPr>
        <p:grpSpPr>
          <a:xfrm>
            <a:off x="1533524" y="369094"/>
            <a:ext cx="2243139" cy="606869"/>
            <a:chOff x="1533524" y="369094"/>
            <a:chExt cx="2243139" cy="606869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41D9DD3B-C3F8-4D09-9824-43A4FB97D0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28A26939-CABE-4692-9903-32D6323ADF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32062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7359385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8676" y="1830707"/>
            <a:ext cx="10536555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6553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1574840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4866" y="1836492"/>
            <a:ext cx="10541633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6" y="2241549"/>
            <a:ext cx="10541633" cy="378015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1444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0545639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8676" y="1830707"/>
            <a:ext cx="10536555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291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8856367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6AFC8A-F573-4DCA-AAB1-789495D6F80D}"/>
              </a:ext>
            </a:extLst>
          </p:cNvPr>
          <p:cNvSpPr/>
          <p:nvPr userDrawn="1"/>
        </p:nvSpPr>
        <p:spPr>
          <a:xfrm>
            <a:off x="0" y="0"/>
            <a:ext cx="12192000" cy="61407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8676" y="1830707"/>
            <a:ext cx="10536555" cy="4191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3268226-9F81-47A5-AC33-CAD42162848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FB7FD7-1337-425B-A227-B659A64CE19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6348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 with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0118244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F6C0BA-F5D8-4B1E-938B-E4EFD61EBD27}"/>
              </a:ext>
            </a:extLst>
          </p:cNvPr>
          <p:cNvSpPr/>
          <p:nvPr userDrawn="1"/>
        </p:nvSpPr>
        <p:spPr>
          <a:xfrm>
            <a:off x="0" y="0"/>
            <a:ext cx="12192000" cy="61407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4866" y="1836492"/>
            <a:ext cx="10541633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6" y="2241549"/>
            <a:ext cx="10541633" cy="378015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9026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5590591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1830707"/>
            <a:ext cx="4968240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9E18CF8-020B-4471-89E6-85F54EEEFE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98898" y="1830707"/>
            <a:ext cx="4966335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A561E1-8545-4FA9-9BDC-392506752BA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054F62-0B85-4EBD-84A4-5D56AA871C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28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9126846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1830707"/>
            <a:ext cx="4968240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A05AB-16D4-4417-A29E-1217E774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99213" y="3175"/>
            <a:ext cx="5792787" cy="68548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3B4242-62B9-435B-86D3-DEEA7ACF2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237" y="577216"/>
            <a:ext cx="4963552" cy="90709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ABC70E0-D795-488D-8AC2-298449E2BE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5E9F28C-9388-465B-9107-6F50B2EE6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577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 hea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4963356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4867" y="1836492"/>
            <a:ext cx="4968240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851DCF0-9768-4EEE-9C12-5CAFCAFF4C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98898" y="1836492"/>
            <a:ext cx="4966336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8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2241549"/>
            <a:ext cx="4968240" cy="378015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15" name="Content Placeholder 12">
            <a:extLst>
              <a:ext uri="{FF2B5EF4-FFF2-40B4-BE49-F238E27FC236}">
                <a16:creationId xmlns:a16="http://schemas.microsoft.com/office/drawing/2014/main" id="{3279856D-28DF-4275-908D-D6BF96710C7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98898" y="2241549"/>
            <a:ext cx="4966335" cy="378015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103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 hea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6587873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4867" y="1836492"/>
            <a:ext cx="4968240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2241549"/>
            <a:ext cx="4968240" cy="378015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0C8456C9-98B9-4B92-A9A4-9A0FFCE17519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399213" y="1830388"/>
            <a:ext cx="4967287" cy="4191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665D8F-5853-4213-A499-47CFC77993B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368E036-9C4C-4396-9444-5A589716F3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5404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with Sub hea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6237043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237" y="577216"/>
            <a:ext cx="4963552" cy="90709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4867" y="1836492"/>
            <a:ext cx="4968240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2241549"/>
            <a:ext cx="4968240" cy="378015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7C1D5F55-2691-47AF-8B04-7C6A7A77DC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99213" y="3175"/>
            <a:ext cx="5792787" cy="6854825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0370756-D056-4567-AAA8-F01FC46FB9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636BE3-5129-43BD-8534-2B1949CCA0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6668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41198B-7822-4395-9D3F-40CE6DC01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3501560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41198B-7822-4395-9D3F-40CE6DC01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BB9E0B-F9DD-4869-B2C0-64A92559BA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  <a:endParaRPr lang="en-GB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E5C3AB9-69FD-4C4F-8D38-537257DD2F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D9BB4E4-A757-4FA8-BD51-8A76F8814B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994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41198B-7822-4395-9D3F-40CE6DC01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7056937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41198B-7822-4395-9D3F-40CE6DC01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BB9E0B-F9DD-4869-B2C0-64A92559BA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5BA2E3-82B7-4C36-9767-793A81D6BD3A}"/>
              </a:ext>
            </a:extLst>
          </p:cNvPr>
          <p:cNvSpPr/>
          <p:nvPr userDrawn="1"/>
        </p:nvSpPr>
        <p:spPr>
          <a:xfrm>
            <a:off x="0" y="0"/>
            <a:ext cx="12192000" cy="61407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GB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C2378D1-8F5C-4092-8710-DD705A3E84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5B8A1A-F1D3-443F-B5D4-76D5F0DBDD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520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A702FF-1FBA-4017-9DB9-C02D09C91C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14823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A702FF-1FBA-4017-9DB9-C02D09C91C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3A72EFE-A939-4314-9B37-CFBB34A6B5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6CF783-739F-44F7-AB7E-B1400EF40E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0736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4610716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4866" y="1836492"/>
            <a:ext cx="10541633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6" y="2241549"/>
            <a:ext cx="10541633" cy="378015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6916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C70547-57E7-43AE-8B74-42412D44D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755107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C70547-57E7-43AE-8B74-42412D44D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21"/>
            <a:ext cx="12192000" cy="6179819"/>
          </a:xfrm>
        </p:spPr>
        <p:txBody>
          <a:bodyPr/>
          <a:lstStyle/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EBD1446-BADE-496E-A120-409A271657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841E6B-1A10-4CB5-A9B6-2036ABE3C1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0508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C70547-57E7-43AE-8B74-42412D44D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640717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C70547-57E7-43AE-8B74-42412D44D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21"/>
            <a:ext cx="12192000" cy="6857979"/>
          </a:xfrm>
        </p:spPr>
        <p:txBody>
          <a:bodyPr/>
          <a:lstStyle/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EBD1446-BADE-496E-A120-409A271657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841E6B-1A10-4CB5-A9B6-2036ABE3C1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3162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9568277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4867" y="1830707"/>
            <a:ext cx="4968240" cy="4191000"/>
          </a:xfrm>
        </p:spPr>
        <p:txBody>
          <a:bodyPr/>
          <a:lstStyle>
            <a:lvl1pPr marL="2057400" marR="0" indent="-2057400" algn="l" defTabSz="54861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None/>
              <a:tabLst/>
              <a:defRPr/>
            </a:lvl1pPr>
            <a:lvl2pPr marL="236212" indent="0">
              <a:buNone/>
              <a:defRPr/>
            </a:lvl2pPr>
            <a:lvl3pPr marL="496872" indent="0">
              <a:buNone/>
              <a:defRPr/>
            </a:lvl3pPr>
          </a:lstStyle>
          <a:p>
            <a:pPr lvl="0"/>
            <a:r>
              <a:rPr lang="en-GB"/>
              <a:t>00.00 – 00.00	Part o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A05AB-16D4-4417-A29E-1217E774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99213" y="3175"/>
            <a:ext cx="5792787" cy="68548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3B4242-62B9-435B-86D3-DEEA7ACF2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9237" y="577216"/>
            <a:ext cx="4963552" cy="90709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ABC70E0-D795-488D-8AC2-298449E2BE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5E9F28C-9388-465B-9107-6F50B2EE6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5098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403DDC-E99F-4F5C-9DB8-4CB79AB575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209456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403DDC-E99F-4F5C-9DB8-4CB79AB575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F600FB-64F8-427B-971C-CADB5FAA63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D5D76E-3B21-4346-8387-3ECEA55A7AF8}"/>
              </a:ext>
            </a:extLst>
          </p:cNvPr>
          <p:cNvSpPr/>
          <p:nvPr userDrawn="1"/>
        </p:nvSpPr>
        <p:spPr>
          <a:xfrm>
            <a:off x="0" y="0"/>
            <a:ext cx="12192000" cy="61407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25499" y="2753429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DFBA4834-1B47-48FA-B341-B048E3128F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5499" y="4822697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CD3F43B7-3974-4835-A8E9-FAB67672FBB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75298" y="2755017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0D2E8FF-F2DE-4D53-A047-6387A71314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5298" y="4824285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A89F8303-B8B6-4740-9407-07CFA2BE536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725097" y="2753429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65FBF798-2395-4DEA-893B-0A69A9C4E01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725097" y="4822697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3D80F3-4A3C-487A-BDD1-1179B87AD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AC487C7-5173-42A6-959E-EA91A12A5B8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7EDB19D-C3B2-48FD-864B-FA498F61F2C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42" name="Plassholder for tekst 13">
            <a:extLst>
              <a:ext uri="{FF2B5EF4-FFF2-40B4-BE49-F238E27FC236}">
                <a16:creationId xmlns:a16="http://schemas.microsoft.com/office/drawing/2014/main" id="{5B1FC8BA-51AF-415E-A4F8-0349DAF4E4A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75298" y="1830389"/>
            <a:ext cx="2640000" cy="719594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3" name="Plassholder for tekst 13">
            <a:extLst>
              <a:ext uri="{FF2B5EF4-FFF2-40B4-BE49-F238E27FC236}">
                <a16:creationId xmlns:a16="http://schemas.microsoft.com/office/drawing/2014/main" id="{C79AF395-5DA0-43BE-964A-9D760C68CFD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9236" y="1830389"/>
            <a:ext cx="2640000" cy="719594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4" name="Plassholder for tekst 13">
            <a:extLst>
              <a:ext uri="{FF2B5EF4-FFF2-40B4-BE49-F238E27FC236}">
                <a16:creationId xmlns:a16="http://schemas.microsoft.com/office/drawing/2014/main" id="{6F856F4B-C1E9-4A7E-ADC8-9BF349BDF8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6500" y="1830389"/>
            <a:ext cx="2640000" cy="719594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5" name="Plassholder for tekst 13">
            <a:extLst>
              <a:ext uri="{FF2B5EF4-FFF2-40B4-BE49-F238E27FC236}">
                <a16:creationId xmlns:a16="http://schemas.microsoft.com/office/drawing/2014/main" id="{1FAF68DD-F083-4112-AEE7-A6FF3667E23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76000" y="3898068"/>
            <a:ext cx="2640000" cy="719594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6" name="Plassholder for tekst 13">
            <a:extLst>
              <a:ext uri="{FF2B5EF4-FFF2-40B4-BE49-F238E27FC236}">
                <a16:creationId xmlns:a16="http://schemas.microsoft.com/office/drawing/2014/main" id="{A3BE0F03-ED02-4E92-AF74-B8C0C2010E1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9938" y="3898068"/>
            <a:ext cx="2640000" cy="719594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7" name="Plassholder for tekst 13">
            <a:extLst>
              <a:ext uri="{FF2B5EF4-FFF2-40B4-BE49-F238E27FC236}">
                <a16:creationId xmlns:a16="http://schemas.microsoft.com/office/drawing/2014/main" id="{56563C9C-49B1-46FC-BD14-AF22D17F3E9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727202" y="3898068"/>
            <a:ext cx="2640000" cy="719594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504695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7783915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027498F8-B643-49CA-B711-9895BAAEF51D}"/>
              </a:ext>
            </a:extLst>
          </p:cNvPr>
          <p:cNvSpPr/>
          <p:nvPr userDrawn="1"/>
        </p:nvSpPr>
        <p:spPr>
          <a:xfrm>
            <a:off x="1235074" y="2"/>
            <a:ext cx="4860926" cy="479478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944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30393"/>
            <a:ext cx="4284663" cy="2271708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5944DA81-A1C5-4AC7-A37D-7026E9D402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5074" y="4368356"/>
            <a:ext cx="4860926" cy="427979"/>
          </a:xfrm>
          <a:solidFill>
            <a:schemeClr val="accent2">
              <a:lumMod val="60000"/>
              <a:lumOff val="40000"/>
            </a:schemeClr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600" cap="all" baseline="0">
                <a:solidFill>
                  <a:schemeClr val="tx2"/>
                </a:solidFill>
              </a:defRPr>
            </a:lvl1pPr>
            <a:lvl2pPr marL="5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27423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02">
    <p:bg>
      <p:bgPr>
        <a:solidFill>
          <a:schemeClr val="accent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5317368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30393"/>
            <a:ext cx="4284663" cy="2271708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99E99776-DDA5-4531-9FAA-7E1F063C97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5074" y="4368356"/>
            <a:ext cx="4860926" cy="427979"/>
          </a:xfrm>
          <a:solidFill>
            <a:schemeClr val="accent2">
              <a:lumMod val="60000"/>
              <a:lumOff val="40000"/>
            </a:schemeClr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600" cap="all" baseline="0">
                <a:solidFill>
                  <a:schemeClr val="tx2"/>
                </a:solidFill>
              </a:defRPr>
            </a:lvl1pPr>
            <a:lvl2pPr marL="5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009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425057-A686-4E31-B8A1-F9DA3356AD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176179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425057-A686-4E31-B8A1-F9DA3356AD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60EACD11-8C82-4B33-9818-2E9B80C745F4}"/>
              </a:ext>
            </a:extLst>
          </p:cNvPr>
          <p:cNvSpPr/>
          <p:nvPr userDrawn="1"/>
        </p:nvSpPr>
        <p:spPr>
          <a:xfrm>
            <a:off x="0" y="0"/>
            <a:ext cx="6096000" cy="61407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A07FF22D-3C6C-48BB-8040-D34A9441D6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35076" y="1484313"/>
            <a:ext cx="3636962" cy="4127919"/>
          </a:xfrm>
          <a:blipFill dpi="0" rotWithShape="0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10000" b="98000"/>
            </a:stretch>
          </a:blipFill>
        </p:spPr>
        <p:txBody>
          <a:bodyPr lIns="0" tIns="288000" rIns="0" bIns="0">
            <a:noAutofit/>
          </a:bodyPr>
          <a:lstStyle>
            <a:lvl1pPr marL="0" indent="0" eaLnBrk="1">
              <a:lnSpc>
                <a:spcPct val="100000"/>
              </a:lnSpc>
              <a:buNone/>
              <a:defRPr sz="32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C69016-ED83-4DA8-8515-95C6620C560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41C938-DD81-4B48-A39A-291BD5BE17D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88CA222-7E26-47F7-846B-8C915D47E00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0"/>
            <a:ext cx="6096000" cy="614045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70795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78">
          <p15:clr>
            <a:srgbClr val="FBAE40"/>
          </p15:clr>
        </p15:guide>
        <p15:guide id="2" pos="3840">
          <p15:clr>
            <a:srgbClr val="FBAE40"/>
          </p15:clr>
        </p15:guide>
        <p15:guide id="3" pos="3069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349486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raphic 5">
            <a:extLst>
              <a:ext uri="{FF2B5EF4-FFF2-40B4-BE49-F238E27FC236}">
                <a16:creationId xmlns:a16="http://schemas.microsoft.com/office/drawing/2014/main" id="{3A45DB2C-420A-4A46-9176-30488C4A057E}"/>
              </a:ext>
            </a:extLst>
          </p:cNvPr>
          <p:cNvSpPr/>
          <p:nvPr/>
        </p:nvSpPr>
        <p:spPr>
          <a:xfrm>
            <a:off x="4926457" y="0"/>
            <a:ext cx="7265543" cy="6845276"/>
          </a:xfrm>
          <a:custGeom>
            <a:avLst/>
            <a:gdLst>
              <a:gd name="connsiteX0" fmla="*/ 2134621 w 7265542"/>
              <a:gd name="connsiteY0" fmla="*/ 6837897 h 6845276"/>
              <a:gd name="connsiteX1" fmla="*/ 1877972 w 7265542"/>
              <a:gd name="connsiteY1" fmla="*/ 6655441 h 6845276"/>
              <a:gd name="connsiteX2" fmla="*/ 1560503 w 7265542"/>
              <a:gd name="connsiteY2" fmla="*/ 6389519 h 6845276"/>
              <a:gd name="connsiteX3" fmla="*/ 1495609 w 7265542"/>
              <a:gd name="connsiteY3" fmla="*/ 6305670 h 6845276"/>
              <a:gd name="connsiteX4" fmla="*/ 1541926 w 7265542"/>
              <a:gd name="connsiteY4" fmla="*/ 6292947 h 6845276"/>
              <a:gd name="connsiteX5" fmla="*/ 1909402 w 7265542"/>
              <a:gd name="connsiteY5" fmla="*/ 6333789 h 6845276"/>
              <a:gd name="connsiteX6" fmla="*/ 2362258 w 7265542"/>
              <a:gd name="connsiteY6" fmla="*/ 6339133 h 6845276"/>
              <a:gd name="connsiteX7" fmla="*/ 2887769 w 7265542"/>
              <a:gd name="connsiteY7" fmla="*/ 6288239 h 6845276"/>
              <a:gd name="connsiteX8" fmla="*/ 3362637 w 7265542"/>
              <a:gd name="connsiteY8" fmla="*/ 6207444 h 6845276"/>
              <a:gd name="connsiteX9" fmla="*/ 3823255 w 7265542"/>
              <a:gd name="connsiteY9" fmla="*/ 6126650 h 6845276"/>
              <a:gd name="connsiteX10" fmla="*/ 4278274 w 7265542"/>
              <a:gd name="connsiteY10" fmla="*/ 6088479 h 6845276"/>
              <a:gd name="connsiteX11" fmla="*/ 4877204 w 7265542"/>
              <a:gd name="connsiteY11" fmla="*/ 6126650 h 6845276"/>
              <a:gd name="connsiteX12" fmla="*/ 5343929 w 7265542"/>
              <a:gd name="connsiteY12" fmla="*/ 6239635 h 6845276"/>
              <a:gd name="connsiteX13" fmla="*/ 5368487 w 7265542"/>
              <a:gd name="connsiteY13" fmla="*/ 6267372 h 6845276"/>
              <a:gd name="connsiteX14" fmla="*/ 5347238 w 7265542"/>
              <a:gd name="connsiteY14" fmla="*/ 6276406 h 6845276"/>
              <a:gd name="connsiteX15" fmla="*/ 4678070 w 7265542"/>
              <a:gd name="connsiteY15" fmla="*/ 6324629 h 6845276"/>
              <a:gd name="connsiteX16" fmla="*/ 3901891 w 7265542"/>
              <a:gd name="connsiteY16" fmla="*/ 6573374 h 6845276"/>
              <a:gd name="connsiteX17" fmla="*/ 3526017 w 7265542"/>
              <a:gd name="connsiteY17" fmla="*/ 6721095 h 6845276"/>
              <a:gd name="connsiteX18" fmla="*/ 3009413 w 7265542"/>
              <a:gd name="connsiteY18" fmla="*/ 6854310 h 6845276"/>
              <a:gd name="connsiteX19" fmla="*/ 7275215 w 7265542"/>
              <a:gd name="connsiteY19" fmla="*/ 6854311 h 6845276"/>
              <a:gd name="connsiteX20" fmla="*/ 7275215 w 7265542"/>
              <a:gd name="connsiteY20" fmla="*/ 0 h 6845276"/>
              <a:gd name="connsiteX21" fmla="*/ 1146711 w 7265542"/>
              <a:gd name="connsiteY21" fmla="*/ 0 h 6845276"/>
              <a:gd name="connsiteX22" fmla="*/ 2 w 7265542"/>
              <a:gd name="connsiteY22" fmla="*/ 3050347 h 6845276"/>
              <a:gd name="connsiteX23" fmla="*/ 1986638 w 7265542"/>
              <a:gd name="connsiteY23" fmla="*/ 6854692 h 6845276"/>
              <a:gd name="connsiteX24" fmla="*/ 2162105 w 7265542"/>
              <a:gd name="connsiteY24" fmla="*/ 6854692 h 6845276"/>
              <a:gd name="connsiteX25" fmla="*/ 2134621 w 7265542"/>
              <a:gd name="connsiteY25" fmla="*/ 6837897 h 6845276"/>
              <a:gd name="connsiteX26" fmla="*/ 481360 w 7265542"/>
              <a:gd name="connsiteY26" fmla="*/ 1206321 h 6845276"/>
              <a:gd name="connsiteX27" fmla="*/ 755694 w 7265542"/>
              <a:gd name="connsiteY27" fmla="*/ 684655 h 6845276"/>
              <a:gd name="connsiteX28" fmla="*/ 796285 w 7265542"/>
              <a:gd name="connsiteY28" fmla="*/ 621037 h 6845276"/>
              <a:gd name="connsiteX29" fmla="*/ 858761 w 7265542"/>
              <a:gd name="connsiteY29" fmla="*/ 601061 h 6845276"/>
              <a:gd name="connsiteX30" fmla="*/ 893498 w 7265542"/>
              <a:gd name="connsiteY30" fmla="*/ 609204 h 6845276"/>
              <a:gd name="connsiteX31" fmla="*/ 1269626 w 7265542"/>
              <a:gd name="connsiteY31" fmla="*/ 624727 h 6845276"/>
              <a:gd name="connsiteX32" fmla="*/ 2060311 w 7265542"/>
              <a:gd name="connsiteY32" fmla="*/ 534390 h 6845276"/>
              <a:gd name="connsiteX33" fmla="*/ 2977475 w 7265542"/>
              <a:gd name="connsiteY33" fmla="*/ 385778 h 6845276"/>
              <a:gd name="connsiteX34" fmla="*/ 3465449 w 7265542"/>
              <a:gd name="connsiteY34" fmla="*/ 307529 h 6845276"/>
              <a:gd name="connsiteX35" fmla="*/ 4516472 w 7265542"/>
              <a:gd name="connsiteY35" fmla="*/ 287171 h 6845276"/>
              <a:gd name="connsiteX36" fmla="*/ 5616610 w 7265542"/>
              <a:gd name="connsiteY36" fmla="*/ 451559 h 6845276"/>
              <a:gd name="connsiteX37" fmla="*/ 6033074 w 7265542"/>
              <a:gd name="connsiteY37" fmla="*/ 554366 h 6845276"/>
              <a:gd name="connsiteX38" fmla="*/ 6356270 w 7265542"/>
              <a:gd name="connsiteY38" fmla="*/ 650556 h 6845276"/>
              <a:gd name="connsiteX39" fmla="*/ 6368104 w 7265542"/>
              <a:gd name="connsiteY39" fmla="*/ 662389 h 6845276"/>
              <a:gd name="connsiteX40" fmla="*/ 6354235 w 7265542"/>
              <a:gd name="connsiteY40" fmla="*/ 670150 h 6845276"/>
              <a:gd name="connsiteX41" fmla="*/ 6323951 w 7265542"/>
              <a:gd name="connsiteY41" fmla="*/ 668623 h 6845276"/>
              <a:gd name="connsiteX42" fmla="*/ 5538483 w 7265542"/>
              <a:gd name="connsiteY42" fmla="*/ 638087 h 6845276"/>
              <a:gd name="connsiteX43" fmla="*/ 4388084 w 7265542"/>
              <a:gd name="connsiteY43" fmla="*/ 695852 h 6845276"/>
              <a:gd name="connsiteX44" fmla="*/ 3048476 w 7265542"/>
              <a:gd name="connsiteY44" fmla="*/ 978569 h 6845276"/>
              <a:gd name="connsiteX45" fmla="*/ 2052295 w 7265542"/>
              <a:gd name="connsiteY45" fmla="*/ 1292460 h 6845276"/>
              <a:gd name="connsiteX46" fmla="*/ 1135258 w 7265542"/>
              <a:gd name="connsiteY46" fmla="*/ 1461301 h 6845276"/>
              <a:gd name="connsiteX47" fmla="*/ 715994 w 7265542"/>
              <a:gd name="connsiteY47" fmla="*/ 1438653 h 6845276"/>
              <a:gd name="connsiteX48" fmla="*/ 512407 w 7265542"/>
              <a:gd name="connsiteY48" fmla="*/ 1355950 h 6845276"/>
              <a:gd name="connsiteX49" fmla="*/ 481360 w 7265542"/>
              <a:gd name="connsiteY49" fmla="*/ 1206321 h 6845276"/>
              <a:gd name="connsiteX50" fmla="*/ 90853 w 7265542"/>
              <a:gd name="connsiteY50" fmla="*/ 3171730 h 6845276"/>
              <a:gd name="connsiteX51" fmla="*/ 124444 w 7265542"/>
              <a:gd name="connsiteY51" fmla="*/ 2481222 h 6845276"/>
              <a:gd name="connsiteX52" fmla="*/ 130807 w 7265542"/>
              <a:gd name="connsiteY52" fmla="*/ 2431727 h 6845276"/>
              <a:gd name="connsiteX53" fmla="*/ 158673 w 7265542"/>
              <a:gd name="connsiteY53" fmla="*/ 2387958 h 6845276"/>
              <a:gd name="connsiteX54" fmla="*/ 223057 w 7265542"/>
              <a:gd name="connsiteY54" fmla="*/ 2384777 h 6845276"/>
              <a:gd name="connsiteX55" fmla="*/ 259322 w 7265542"/>
              <a:gd name="connsiteY55" fmla="*/ 2391266 h 6845276"/>
              <a:gd name="connsiteX56" fmla="*/ 507444 w 7265542"/>
              <a:gd name="connsiteY56" fmla="*/ 2427656 h 6845276"/>
              <a:gd name="connsiteX57" fmla="*/ 1094159 w 7265542"/>
              <a:gd name="connsiteY57" fmla="*/ 2453103 h 6845276"/>
              <a:gd name="connsiteX58" fmla="*/ 1746532 w 7265542"/>
              <a:gd name="connsiteY58" fmla="*/ 2400936 h 6845276"/>
              <a:gd name="connsiteX59" fmla="*/ 2181191 w 7265542"/>
              <a:gd name="connsiteY59" fmla="*/ 2333247 h 6845276"/>
              <a:gd name="connsiteX60" fmla="*/ 2915889 w 7265542"/>
              <a:gd name="connsiteY60" fmla="*/ 2187562 h 6845276"/>
              <a:gd name="connsiteX61" fmla="*/ 3574496 w 7265542"/>
              <a:gd name="connsiteY61" fmla="*/ 2056255 h 6845276"/>
              <a:gd name="connsiteX62" fmla="*/ 4130291 w 7265542"/>
              <a:gd name="connsiteY62" fmla="*/ 1971898 h 6845276"/>
              <a:gd name="connsiteX63" fmla="*/ 4859390 w 7265542"/>
              <a:gd name="connsiteY63" fmla="*/ 1932327 h 6845276"/>
              <a:gd name="connsiteX64" fmla="*/ 5559223 w 7265542"/>
              <a:gd name="connsiteY64" fmla="*/ 1978769 h 6845276"/>
              <a:gd name="connsiteX65" fmla="*/ 6203070 w 7265542"/>
              <a:gd name="connsiteY65" fmla="*/ 2094298 h 6845276"/>
              <a:gd name="connsiteX66" fmla="*/ 6813071 w 7265542"/>
              <a:gd name="connsiteY66" fmla="*/ 2274591 h 6845276"/>
              <a:gd name="connsiteX67" fmla="*/ 7072900 w 7265542"/>
              <a:gd name="connsiteY67" fmla="*/ 2378543 h 6845276"/>
              <a:gd name="connsiteX68" fmla="*/ 7081807 w 7265542"/>
              <a:gd name="connsiteY68" fmla="*/ 2395338 h 6845276"/>
              <a:gd name="connsiteX69" fmla="*/ 7056358 w 7265542"/>
              <a:gd name="connsiteY69" fmla="*/ 2404372 h 6845276"/>
              <a:gd name="connsiteX70" fmla="*/ 6849080 w 7265542"/>
              <a:gd name="connsiteY70" fmla="*/ 2399537 h 6845276"/>
              <a:gd name="connsiteX71" fmla="*/ 5240990 w 7265542"/>
              <a:gd name="connsiteY71" fmla="*/ 2475878 h 6845276"/>
              <a:gd name="connsiteX72" fmla="*/ 3948462 w 7265542"/>
              <a:gd name="connsiteY72" fmla="*/ 2780480 h 6845276"/>
              <a:gd name="connsiteX73" fmla="*/ 2170630 w 7265542"/>
              <a:gd name="connsiteY73" fmla="*/ 3365764 h 6845276"/>
              <a:gd name="connsiteX74" fmla="*/ 585826 w 7265542"/>
              <a:gd name="connsiteY74" fmla="*/ 3561071 h 6845276"/>
              <a:gd name="connsiteX75" fmla="*/ 183231 w 7265542"/>
              <a:gd name="connsiteY75" fmla="*/ 3421875 h 6845276"/>
              <a:gd name="connsiteX76" fmla="*/ 90853 w 7265542"/>
              <a:gd name="connsiteY76" fmla="*/ 3171730 h 6845276"/>
              <a:gd name="connsiteX77" fmla="*/ 1182338 w 7265542"/>
              <a:gd name="connsiteY77" fmla="*/ 5427363 h 6845276"/>
              <a:gd name="connsiteX78" fmla="*/ 591552 w 7265542"/>
              <a:gd name="connsiteY78" fmla="*/ 5123270 h 6845276"/>
              <a:gd name="connsiteX79" fmla="*/ 349791 w 7265542"/>
              <a:gd name="connsiteY79" fmla="*/ 4568904 h 6845276"/>
              <a:gd name="connsiteX80" fmla="*/ 334013 w 7265542"/>
              <a:gd name="connsiteY80" fmla="*/ 4521572 h 6845276"/>
              <a:gd name="connsiteX81" fmla="*/ 338339 w 7265542"/>
              <a:gd name="connsiteY81" fmla="*/ 4457955 h 6845276"/>
              <a:gd name="connsiteX82" fmla="*/ 424991 w 7265542"/>
              <a:gd name="connsiteY82" fmla="*/ 4457955 h 6845276"/>
              <a:gd name="connsiteX83" fmla="*/ 1049497 w 7265542"/>
              <a:gd name="connsiteY83" fmla="*/ 4542312 h 6845276"/>
              <a:gd name="connsiteX84" fmla="*/ 1610127 w 7265542"/>
              <a:gd name="connsiteY84" fmla="*/ 4563433 h 6845276"/>
              <a:gd name="connsiteX85" fmla="*/ 2116552 w 7265542"/>
              <a:gd name="connsiteY85" fmla="*/ 4537986 h 6845276"/>
              <a:gd name="connsiteX86" fmla="*/ 2803661 w 7265542"/>
              <a:gd name="connsiteY86" fmla="*/ 4440142 h 6845276"/>
              <a:gd name="connsiteX87" fmla="*/ 3652623 w 7265542"/>
              <a:gd name="connsiteY87" fmla="*/ 4257813 h 6845276"/>
              <a:gd name="connsiteX88" fmla="*/ 4171772 w 7265542"/>
              <a:gd name="connsiteY88" fmla="*/ 4160605 h 6845276"/>
              <a:gd name="connsiteX89" fmla="*/ 4583401 w 7265542"/>
              <a:gd name="connsiteY89" fmla="*/ 4127905 h 6845276"/>
              <a:gd name="connsiteX90" fmla="*/ 5135888 w 7265542"/>
              <a:gd name="connsiteY90" fmla="*/ 4149154 h 6845276"/>
              <a:gd name="connsiteX91" fmla="*/ 5791059 w 7265542"/>
              <a:gd name="connsiteY91" fmla="*/ 4241400 h 6845276"/>
              <a:gd name="connsiteX92" fmla="*/ 6230555 w 7265542"/>
              <a:gd name="connsiteY92" fmla="*/ 4347514 h 6845276"/>
              <a:gd name="connsiteX93" fmla="*/ 6386427 w 7265542"/>
              <a:gd name="connsiteY93" fmla="*/ 4395609 h 6845276"/>
              <a:gd name="connsiteX94" fmla="*/ 6403605 w 7265542"/>
              <a:gd name="connsiteY94" fmla="*/ 4415967 h 6845276"/>
              <a:gd name="connsiteX95" fmla="*/ 6382737 w 7265542"/>
              <a:gd name="connsiteY95" fmla="*/ 4424492 h 6845276"/>
              <a:gd name="connsiteX96" fmla="*/ 6364541 w 7265542"/>
              <a:gd name="connsiteY96" fmla="*/ 4422711 h 6845276"/>
              <a:gd name="connsiteX97" fmla="*/ 5164390 w 7265542"/>
              <a:gd name="connsiteY97" fmla="*/ 4511775 h 6845276"/>
              <a:gd name="connsiteX98" fmla="*/ 4289599 w 7265542"/>
              <a:gd name="connsiteY98" fmla="*/ 4790167 h 6845276"/>
              <a:gd name="connsiteX99" fmla="*/ 3144417 w 7265542"/>
              <a:gd name="connsiteY99" fmla="*/ 5183070 h 6845276"/>
              <a:gd name="connsiteX100" fmla="*/ 1923780 w 7265542"/>
              <a:gd name="connsiteY100" fmla="*/ 5443013 h 6845276"/>
              <a:gd name="connsiteX101" fmla="*/ 1182338 w 7265542"/>
              <a:gd name="connsiteY101" fmla="*/ 5427363 h 684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7265542" h="6845276">
                <a:moveTo>
                  <a:pt x="2134621" y="6837897"/>
                </a:moveTo>
                <a:cubicBezTo>
                  <a:pt x="2134621" y="6837897"/>
                  <a:pt x="2045551" y="6778605"/>
                  <a:pt x="1877972" y="6655441"/>
                </a:cubicBezTo>
                <a:cubicBezTo>
                  <a:pt x="1773252" y="6578464"/>
                  <a:pt x="1643337" y="6464588"/>
                  <a:pt x="1560503" y="6389519"/>
                </a:cubicBezTo>
                <a:cubicBezTo>
                  <a:pt x="1536072" y="6366871"/>
                  <a:pt x="1493701" y="6324628"/>
                  <a:pt x="1495609" y="6305670"/>
                </a:cubicBezTo>
                <a:cubicBezTo>
                  <a:pt x="1495609" y="6305670"/>
                  <a:pt x="1496627" y="6287985"/>
                  <a:pt x="1541926" y="6292947"/>
                </a:cubicBezTo>
                <a:cubicBezTo>
                  <a:pt x="1587224" y="6297909"/>
                  <a:pt x="1720956" y="6319794"/>
                  <a:pt x="1909402" y="6333789"/>
                </a:cubicBezTo>
                <a:cubicBezTo>
                  <a:pt x="2060167" y="6343218"/>
                  <a:pt x="2211312" y="6345002"/>
                  <a:pt x="2362258" y="6339133"/>
                </a:cubicBezTo>
                <a:cubicBezTo>
                  <a:pt x="2539252" y="6333408"/>
                  <a:pt x="2727825" y="6310124"/>
                  <a:pt x="2887769" y="6288239"/>
                </a:cubicBezTo>
                <a:cubicBezTo>
                  <a:pt x="3047712" y="6266355"/>
                  <a:pt x="3362637" y="6207444"/>
                  <a:pt x="3362637" y="6207444"/>
                </a:cubicBezTo>
                <a:cubicBezTo>
                  <a:pt x="3362637" y="6207444"/>
                  <a:pt x="3615214" y="6158459"/>
                  <a:pt x="3823255" y="6126650"/>
                </a:cubicBezTo>
                <a:cubicBezTo>
                  <a:pt x="3973869" y="6103476"/>
                  <a:pt x="4125904" y="6090723"/>
                  <a:pt x="4278274" y="6088479"/>
                </a:cubicBezTo>
                <a:cubicBezTo>
                  <a:pt x="4478495" y="6089387"/>
                  <a:pt x="4678488" y="6102132"/>
                  <a:pt x="4877204" y="6126650"/>
                </a:cubicBezTo>
                <a:cubicBezTo>
                  <a:pt x="5169862" y="6164820"/>
                  <a:pt x="5330060" y="6233146"/>
                  <a:pt x="5343929" y="6239635"/>
                </a:cubicBezTo>
                <a:cubicBezTo>
                  <a:pt x="5357799" y="6246124"/>
                  <a:pt x="5371287" y="6256430"/>
                  <a:pt x="5368487" y="6267372"/>
                </a:cubicBezTo>
                <a:cubicBezTo>
                  <a:pt x="5365688" y="6278315"/>
                  <a:pt x="5347238" y="6276406"/>
                  <a:pt x="5347238" y="6276406"/>
                </a:cubicBezTo>
                <a:cubicBezTo>
                  <a:pt x="5123140" y="6270490"/>
                  <a:pt x="4899003" y="6286642"/>
                  <a:pt x="4678070" y="6324629"/>
                </a:cubicBezTo>
                <a:cubicBezTo>
                  <a:pt x="4339478" y="6386592"/>
                  <a:pt x="3901891" y="6573374"/>
                  <a:pt x="3901891" y="6573374"/>
                </a:cubicBezTo>
                <a:lnTo>
                  <a:pt x="3526017" y="6721095"/>
                </a:lnTo>
                <a:cubicBezTo>
                  <a:pt x="3358065" y="6780596"/>
                  <a:pt x="3185194" y="6825174"/>
                  <a:pt x="3009413" y="6854310"/>
                </a:cubicBezTo>
                <a:lnTo>
                  <a:pt x="7275215" y="6854311"/>
                </a:lnTo>
                <a:lnTo>
                  <a:pt x="7275215" y="0"/>
                </a:lnTo>
                <a:lnTo>
                  <a:pt x="1146711" y="0"/>
                </a:lnTo>
                <a:cubicBezTo>
                  <a:pt x="406626" y="843748"/>
                  <a:pt x="-988" y="1928039"/>
                  <a:pt x="2" y="3050347"/>
                </a:cubicBezTo>
                <a:cubicBezTo>
                  <a:pt x="1" y="4622852"/>
                  <a:pt x="786360" y="6014937"/>
                  <a:pt x="1986638" y="6854692"/>
                </a:cubicBezTo>
                <a:lnTo>
                  <a:pt x="2162105" y="6854692"/>
                </a:lnTo>
                <a:cubicBezTo>
                  <a:pt x="2152501" y="6849854"/>
                  <a:pt x="2143308" y="6844237"/>
                  <a:pt x="2134621" y="6837897"/>
                </a:cubicBezTo>
                <a:close/>
                <a:moveTo>
                  <a:pt x="481360" y="1206321"/>
                </a:moveTo>
                <a:cubicBezTo>
                  <a:pt x="568648" y="1000072"/>
                  <a:pt x="755694" y="684655"/>
                  <a:pt x="755694" y="684655"/>
                </a:cubicBezTo>
                <a:cubicBezTo>
                  <a:pt x="755694" y="684655"/>
                  <a:pt x="773890" y="653609"/>
                  <a:pt x="796285" y="621037"/>
                </a:cubicBezTo>
                <a:cubicBezTo>
                  <a:pt x="818680" y="588465"/>
                  <a:pt x="858761" y="601061"/>
                  <a:pt x="858761" y="601061"/>
                </a:cubicBezTo>
                <a:lnTo>
                  <a:pt x="893498" y="609204"/>
                </a:lnTo>
                <a:cubicBezTo>
                  <a:pt x="1024049" y="637832"/>
                  <a:pt x="1269626" y="624727"/>
                  <a:pt x="1269626" y="624727"/>
                </a:cubicBezTo>
                <a:cubicBezTo>
                  <a:pt x="1534800" y="610731"/>
                  <a:pt x="1942103" y="551694"/>
                  <a:pt x="2060311" y="534390"/>
                </a:cubicBezTo>
                <a:cubicBezTo>
                  <a:pt x="2178519" y="517086"/>
                  <a:pt x="2977475" y="385778"/>
                  <a:pt x="2977475" y="385778"/>
                </a:cubicBezTo>
                <a:cubicBezTo>
                  <a:pt x="3170883" y="350661"/>
                  <a:pt x="3465449" y="307529"/>
                  <a:pt x="3465449" y="307529"/>
                </a:cubicBezTo>
                <a:cubicBezTo>
                  <a:pt x="3938791" y="242257"/>
                  <a:pt x="4516472" y="287171"/>
                  <a:pt x="4516472" y="287171"/>
                </a:cubicBezTo>
                <a:cubicBezTo>
                  <a:pt x="4999993" y="314908"/>
                  <a:pt x="5616610" y="451559"/>
                  <a:pt x="5616610" y="451559"/>
                </a:cubicBezTo>
                <a:cubicBezTo>
                  <a:pt x="5789914" y="487821"/>
                  <a:pt x="6033074" y="554366"/>
                  <a:pt x="6033074" y="554366"/>
                </a:cubicBezTo>
                <a:cubicBezTo>
                  <a:pt x="6136268" y="581594"/>
                  <a:pt x="6356270" y="650556"/>
                  <a:pt x="6356270" y="650556"/>
                </a:cubicBezTo>
                <a:cubicBezTo>
                  <a:pt x="6356270" y="650556"/>
                  <a:pt x="6370140" y="654246"/>
                  <a:pt x="6368104" y="662389"/>
                </a:cubicBezTo>
                <a:cubicBezTo>
                  <a:pt x="6366068" y="670532"/>
                  <a:pt x="6354235" y="670150"/>
                  <a:pt x="6354235" y="670150"/>
                </a:cubicBezTo>
                <a:lnTo>
                  <a:pt x="6323951" y="668623"/>
                </a:lnTo>
                <a:cubicBezTo>
                  <a:pt x="6258166" y="664170"/>
                  <a:pt x="5799203" y="640250"/>
                  <a:pt x="5538483" y="638087"/>
                </a:cubicBezTo>
                <a:cubicBezTo>
                  <a:pt x="5277763" y="635924"/>
                  <a:pt x="4979762" y="634651"/>
                  <a:pt x="4388084" y="695852"/>
                </a:cubicBezTo>
                <a:cubicBezTo>
                  <a:pt x="3796407" y="757052"/>
                  <a:pt x="3182207" y="940017"/>
                  <a:pt x="3048476" y="978569"/>
                </a:cubicBezTo>
                <a:cubicBezTo>
                  <a:pt x="2914744" y="1017122"/>
                  <a:pt x="2052295" y="1292460"/>
                  <a:pt x="2052295" y="1292460"/>
                </a:cubicBezTo>
                <a:cubicBezTo>
                  <a:pt x="1560248" y="1436490"/>
                  <a:pt x="1356279" y="1447687"/>
                  <a:pt x="1135258" y="1461301"/>
                </a:cubicBezTo>
                <a:cubicBezTo>
                  <a:pt x="995096" y="1468825"/>
                  <a:pt x="854531" y="1461232"/>
                  <a:pt x="715994" y="1438653"/>
                </a:cubicBezTo>
                <a:cubicBezTo>
                  <a:pt x="567503" y="1413206"/>
                  <a:pt x="512407" y="1355950"/>
                  <a:pt x="512407" y="1355950"/>
                </a:cubicBezTo>
                <a:cubicBezTo>
                  <a:pt x="439370" y="1285080"/>
                  <a:pt x="481360" y="1206321"/>
                  <a:pt x="481360" y="1206321"/>
                </a:cubicBezTo>
                <a:close/>
                <a:moveTo>
                  <a:pt x="90853" y="3171730"/>
                </a:moveTo>
                <a:cubicBezTo>
                  <a:pt x="75965" y="2855804"/>
                  <a:pt x="124444" y="2481222"/>
                  <a:pt x="124444" y="2481222"/>
                </a:cubicBezTo>
                <a:cubicBezTo>
                  <a:pt x="124444" y="2481222"/>
                  <a:pt x="126353" y="2463027"/>
                  <a:pt x="130807" y="2431727"/>
                </a:cubicBezTo>
                <a:cubicBezTo>
                  <a:pt x="132916" y="2413645"/>
                  <a:pt x="143181" y="2397521"/>
                  <a:pt x="158673" y="2387958"/>
                </a:cubicBezTo>
                <a:cubicBezTo>
                  <a:pt x="179320" y="2380418"/>
                  <a:pt x="201767" y="2379309"/>
                  <a:pt x="223057" y="2384777"/>
                </a:cubicBezTo>
                <a:lnTo>
                  <a:pt x="259322" y="2391266"/>
                </a:lnTo>
                <a:cubicBezTo>
                  <a:pt x="370023" y="2412515"/>
                  <a:pt x="507444" y="2427656"/>
                  <a:pt x="507444" y="2427656"/>
                </a:cubicBezTo>
                <a:cubicBezTo>
                  <a:pt x="702225" y="2449267"/>
                  <a:pt x="898238" y="2457768"/>
                  <a:pt x="1094159" y="2453103"/>
                </a:cubicBezTo>
                <a:cubicBezTo>
                  <a:pt x="1391143" y="2449540"/>
                  <a:pt x="1746532" y="2400936"/>
                  <a:pt x="1746532" y="2400936"/>
                </a:cubicBezTo>
                <a:cubicBezTo>
                  <a:pt x="1889806" y="2383760"/>
                  <a:pt x="2181191" y="2333247"/>
                  <a:pt x="2181191" y="2333247"/>
                </a:cubicBezTo>
                <a:cubicBezTo>
                  <a:pt x="2304744" y="2311999"/>
                  <a:pt x="2776686" y="2216572"/>
                  <a:pt x="2915889" y="2187562"/>
                </a:cubicBezTo>
                <a:cubicBezTo>
                  <a:pt x="3055092" y="2158552"/>
                  <a:pt x="3574496" y="2056255"/>
                  <a:pt x="3574496" y="2056255"/>
                </a:cubicBezTo>
                <a:cubicBezTo>
                  <a:pt x="3807986" y="2011086"/>
                  <a:pt x="4130291" y="1971898"/>
                  <a:pt x="4130291" y="1971898"/>
                </a:cubicBezTo>
                <a:cubicBezTo>
                  <a:pt x="4372258" y="1943481"/>
                  <a:pt x="4615769" y="1930265"/>
                  <a:pt x="4859390" y="1932327"/>
                </a:cubicBezTo>
                <a:cubicBezTo>
                  <a:pt x="5005465" y="1932327"/>
                  <a:pt x="5246971" y="1942506"/>
                  <a:pt x="5559223" y="1978769"/>
                </a:cubicBezTo>
                <a:cubicBezTo>
                  <a:pt x="5775652" y="2006382"/>
                  <a:pt x="5990543" y="2044942"/>
                  <a:pt x="6203070" y="2094298"/>
                </a:cubicBezTo>
                <a:cubicBezTo>
                  <a:pt x="6430707" y="2145193"/>
                  <a:pt x="6688119" y="2230059"/>
                  <a:pt x="6813071" y="2274591"/>
                </a:cubicBezTo>
                <a:cubicBezTo>
                  <a:pt x="6938023" y="2319124"/>
                  <a:pt x="7067556" y="2376380"/>
                  <a:pt x="7072900" y="2378543"/>
                </a:cubicBezTo>
                <a:cubicBezTo>
                  <a:pt x="7078244" y="2380706"/>
                  <a:pt x="7084733" y="2384396"/>
                  <a:pt x="7081807" y="2395338"/>
                </a:cubicBezTo>
                <a:cubicBezTo>
                  <a:pt x="7078880" y="2406280"/>
                  <a:pt x="7056358" y="2404372"/>
                  <a:pt x="7056358" y="2404372"/>
                </a:cubicBezTo>
                <a:lnTo>
                  <a:pt x="6849080" y="2399537"/>
                </a:lnTo>
                <a:cubicBezTo>
                  <a:pt x="6392153" y="2388722"/>
                  <a:pt x="5724130" y="2406026"/>
                  <a:pt x="5240990" y="2475878"/>
                </a:cubicBezTo>
                <a:cubicBezTo>
                  <a:pt x="4757851" y="2545730"/>
                  <a:pt x="4231322" y="2695614"/>
                  <a:pt x="3948462" y="2780480"/>
                </a:cubicBezTo>
                <a:cubicBezTo>
                  <a:pt x="3665601" y="2865346"/>
                  <a:pt x="3110697" y="3050347"/>
                  <a:pt x="2170630" y="3365764"/>
                </a:cubicBezTo>
                <a:cubicBezTo>
                  <a:pt x="1230563" y="3681181"/>
                  <a:pt x="585826" y="3561071"/>
                  <a:pt x="585826" y="3561071"/>
                </a:cubicBezTo>
                <a:cubicBezTo>
                  <a:pt x="359589" y="3533715"/>
                  <a:pt x="282607" y="3501397"/>
                  <a:pt x="183231" y="3421875"/>
                </a:cubicBezTo>
                <a:cubicBezTo>
                  <a:pt x="83855" y="3342353"/>
                  <a:pt x="90853" y="3171730"/>
                  <a:pt x="90853" y="3171730"/>
                </a:cubicBezTo>
                <a:close/>
                <a:moveTo>
                  <a:pt x="1182338" y="5427363"/>
                </a:moveTo>
                <a:cubicBezTo>
                  <a:pt x="1011579" y="5404588"/>
                  <a:pt x="718794" y="5359928"/>
                  <a:pt x="591552" y="5123270"/>
                </a:cubicBezTo>
                <a:cubicBezTo>
                  <a:pt x="464309" y="4886611"/>
                  <a:pt x="349791" y="4568904"/>
                  <a:pt x="349791" y="4568904"/>
                </a:cubicBezTo>
                <a:cubicBezTo>
                  <a:pt x="349791" y="4568904"/>
                  <a:pt x="342157" y="4543457"/>
                  <a:pt x="334013" y="4521572"/>
                </a:cubicBezTo>
                <a:cubicBezTo>
                  <a:pt x="325869" y="4499688"/>
                  <a:pt x="316581" y="4473223"/>
                  <a:pt x="338339" y="4457955"/>
                </a:cubicBezTo>
                <a:cubicBezTo>
                  <a:pt x="360098" y="4442687"/>
                  <a:pt x="424991" y="4457955"/>
                  <a:pt x="424991" y="4457955"/>
                </a:cubicBezTo>
                <a:cubicBezTo>
                  <a:pt x="662680" y="4506940"/>
                  <a:pt x="1049497" y="4542312"/>
                  <a:pt x="1049497" y="4542312"/>
                </a:cubicBezTo>
                <a:cubicBezTo>
                  <a:pt x="1276371" y="4564578"/>
                  <a:pt x="1610127" y="4563433"/>
                  <a:pt x="1610127" y="4563433"/>
                </a:cubicBezTo>
                <a:cubicBezTo>
                  <a:pt x="1814987" y="4564578"/>
                  <a:pt x="2116552" y="4537986"/>
                  <a:pt x="2116552" y="4537986"/>
                </a:cubicBezTo>
                <a:cubicBezTo>
                  <a:pt x="2399666" y="4515974"/>
                  <a:pt x="2803661" y="4440142"/>
                  <a:pt x="2803661" y="4440142"/>
                </a:cubicBezTo>
                <a:cubicBezTo>
                  <a:pt x="2977856" y="4408715"/>
                  <a:pt x="3401701" y="4313670"/>
                  <a:pt x="3652623" y="4257813"/>
                </a:cubicBezTo>
                <a:cubicBezTo>
                  <a:pt x="3903545" y="4201957"/>
                  <a:pt x="4171772" y="4160605"/>
                  <a:pt x="4171772" y="4160605"/>
                </a:cubicBezTo>
                <a:cubicBezTo>
                  <a:pt x="4308176" y="4141227"/>
                  <a:pt x="4445649" y="4130307"/>
                  <a:pt x="4583401" y="4127905"/>
                </a:cubicBezTo>
                <a:cubicBezTo>
                  <a:pt x="4583401" y="4127905"/>
                  <a:pt x="4854809" y="4123070"/>
                  <a:pt x="5135888" y="4149154"/>
                </a:cubicBezTo>
                <a:cubicBezTo>
                  <a:pt x="5355815" y="4167781"/>
                  <a:pt x="5574540" y="4198577"/>
                  <a:pt x="5791059" y="4241400"/>
                </a:cubicBezTo>
                <a:cubicBezTo>
                  <a:pt x="5997574" y="4281352"/>
                  <a:pt x="6195818" y="4337590"/>
                  <a:pt x="6230555" y="4347514"/>
                </a:cubicBezTo>
                <a:cubicBezTo>
                  <a:pt x="6265291" y="4357439"/>
                  <a:pt x="6378156" y="4392683"/>
                  <a:pt x="6386427" y="4395609"/>
                </a:cubicBezTo>
                <a:cubicBezTo>
                  <a:pt x="6394698" y="4398536"/>
                  <a:pt x="6407167" y="4405788"/>
                  <a:pt x="6403605" y="4415967"/>
                </a:cubicBezTo>
                <a:cubicBezTo>
                  <a:pt x="6400042" y="4426146"/>
                  <a:pt x="6382737" y="4424492"/>
                  <a:pt x="6382737" y="4424492"/>
                </a:cubicBezTo>
                <a:lnTo>
                  <a:pt x="6364541" y="4422711"/>
                </a:lnTo>
                <a:cubicBezTo>
                  <a:pt x="5798694" y="4367236"/>
                  <a:pt x="5164390" y="4511775"/>
                  <a:pt x="5164390" y="4511775"/>
                </a:cubicBezTo>
                <a:cubicBezTo>
                  <a:pt x="4939299" y="4557453"/>
                  <a:pt x="4609613" y="4672856"/>
                  <a:pt x="4289599" y="4790167"/>
                </a:cubicBezTo>
                <a:cubicBezTo>
                  <a:pt x="3969584" y="4907478"/>
                  <a:pt x="3551593" y="5057362"/>
                  <a:pt x="3144417" y="5183070"/>
                </a:cubicBezTo>
                <a:cubicBezTo>
                  <a:pt x="2737241" y="5308779"/>
                  <a:pt x="2259955" y="5408278"/>
                  <a:pt x="1923780" y="5443013"/>
                </a:cubicBezTo>
                <a:cubicBezTo>
                  <a:pt x="1587606" y="5477748"/>
                  <a:pt x="1182338" y="5427363"/>
                  <a:pt x="1182338" y="5427363"/>
                </a:cubicBezTo>
                <a:close/>
              </a:path>
            </a:pathLst>
          </a:custGeom>
          <a:solidFill>
            <a:schemeClr val="accent2"/>
          </a:solidFill>
          <a:ln w="12722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D68D7B-DF38-479E-8181-B200AE68BD7D}"/>
              </a:ext>
            </a:extLst>
          </p:cNvPr>
          <p:cNvSpPr/>
          <p:nvPr userDrawn="1"/>
        </p:nvSpPr>
        <p:spPr>
          <a:xfrm>
            <a:off x="1235074" y="2"/>
            <a:ext cx="4860926" cy="47947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944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6C8F9C-65F5-4250-AD42-B973C904C2CF}"/>
              </a:ext>
            </a:extLst>
          </p:cNvPr>
          <p:cNvGrpSpPr/>
          <p:nvPr userDrawn="1"/>
        </p:nvGrpSpPr>
        <p:grpSpPr>
          <a:xfrm>
            <a:off x="1533524" y="3103453"/>
            <a:ext cx="2243139" cy="606869"/>
            <a:chOff x="1533524" y="369094"/>
            <a:chExt cx="2243139" cy="606869"/>
          </a:xfrm>
        </p:grpSpPr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1F687E69-D217-4D8B-98A4-3BB1B88451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7F76E90C-FE8B-4B20-BF55-89FC5902AC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6DD640D-0C8B-4171-936E-345748646807}"/>
              </a:ext>
            </a:extLst>
          </p:cNvPr>
          <p:cNvSpPr txBox="1"/>
          <p:nvPr userDrawn="1"/>
        </p:nvSpPr>
        <p:spPr>
          <a:xfrm>
            <a:off x="1524001" y="4342961"/>
            <a:ext cx="4284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  <a:buSzPct val="120000"/>
            </a:pPr>
            <a:r>
              <a:rPr lang="en-GB" sz="16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atkraft.com</a:t>
            </a:r>
          </a:p>
        </p:txBody>
      </p:sp>
    </p:spTree>
    <p:extLst>
      <p:ext uri="{BB962C8B-B14F-4D97-AF65-F5344CB8AC3E}">
        <p14:creationId xmlns:p14="http://schemas.microsoft.com/office/powerpoint/2010/main" val="96448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262851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t">
            <a:no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7CE9B5C-501B-458A-9AAE-82BC7915415C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D9D3D84-F3BF-4AAA-85BD-3D14ACE849EC}"/>
              </a:ext>
            </a:extLst>
          </p:cNvPr>
          <p:cNvGrpSpPr/>
          <p:nvPr userDrawn="1"/>
        </p:nvGrpSpPr>
        <p:grpSpPr>
          <a:xfrm>
            <a:off x="1533524" y="3103453"/>
            <a:ext cx="2243139" cy="606869"/>
            <a:chOff x="1533524" y="369094"/>
            <a:chExt cx="2243139" cy="606869"/>
          </a:xfrm>
        </p:grpSpPr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C99FE193-D0A4-440E-B317-9F342F4AFE4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03542199-FD88-48AE-AE87-02D8A29F14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93BBD505-94FE-43B7-9059-CF1DF297CA36}"/>
              </a:ext>
            </a:extLst>
          </p:cNvPr>
          <p:cNvSpPr txBox="1"/>
          <p:nvPr userDrawn="1"/>
        </p:nvSpPr>
        <p:spPr>
          <a:xfrm>
            <a:off x="1524001" y="4342961"/>
            <a:ext cx="4284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  <a:buSzPct val="120000"/>
            </a:pPr>
            <a:r>
              <a:rPr lang="en-GB" sz="16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atkraft.com</a:t>
            </a:r>
          </a:p>
        </p:txBody>
      </p:sp>
    </p:spTree>
    <p:extLst>
      <p:ext uri="{BB962C8B-B14F-4D97-AF65-F5344CB8AC3E}">
        <p14:creationId xmlns:p14="http://schemas.microsoft.com/office/powerpoint/2010/main" val="1776022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618182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raphic 5">
            <a:extLst>
              <a:ext uri="{FF2B5EF4-FFF2-40B4-BE49-F238E27FC236}">
                <a16:creationId xmlns:a16="http://schemas.microsoft.com/office/drawing/2014/main" id="{3A45DB2C-420A-4A46-9176-30488C4A057E}"/>
              </a:ext>
            </a:extLst>
          </p:cNvPr>
          <p:cNvSpPr/>
          <p:nvPr/>
        </p:nvSpPr>
        <p:spPr>
          <a:xfrm>
            <a:off x="4926457" y="0"/>
            <a:ext cx="7265543" cy="6845276"/>
          </a:xfrm>
          <a:custGeom>
            <a:avLst/>
            <a:gdLst>
              <a:gd name="connsiteX0" fmla="*/ 2134621 w 7265542"/>
              <a:gd name="connsiteY0" fmla="*/ 6837897 h 6845276"/>
              <a:gd name="connsiteX1" fmla="*/ 1877972 w 7265542"/>
              <a:gd name="connsiteY1" fmla="*/ 6655441 h 6845276"/>
              <a:gd name="connsiteX2" fmla="*/ 1560503 w 7265542"/>
              <a:gd name="connsiteY2" fmla="*/ 6389519 h 6845276"/>
              <a:gd name="connsiteX3" fmla="*/ 1495609 w 7265542"/>
              <a:gd name="connsiteY3" fmla="*/ 6305670 h 6845276"/>
              <a:gd name="connsiteX4" fmla="*/ 1541926 w 7265542"/>
              <a:gd name="connsiteY4" fmla="*/ 6292947 h 6845276"/>
              <a:gd name="connsiteX5" fmla="*/ 1909402 w 7265542"/>
              <a:gd name="connsiteY5" fmla="*/ 6333789 h 6845276"/>
              <a:gd name="connsiteX6" fmla="*/ 2362258 w 7265542"/>
              <a:gd name="connsiteY6" fmla="*/ 6339133 h 6845276"/>
              <a:gd name="connsiteX7" fmla="*/ 2887769 w 7265542"/>
              <a:gd name="connsiteY7" fmla="*/ 6288239 h 6845276"/>
              <a:gd name="connsiteX8" fmla="*/ 3362637 w 7265542"/>
              <a:gd name="connsiteY8" fmla="*/ 6207444 h 6845276"/>
              <a:gd name="connsiteX9" fmla="*/ 3823255 w 7265542"/>
              <a:gd name="connsiteY9" fmla="*/ 6126650 h 6845276"/>
              <a:gd name="connsiteX10" fmla="*/ 4278274 w 7265542"/>
              <a:gd name="connsiteY10" fmla="*/ 6088479 h 6845276"/>
              <a:gd name="connsiteX11" fmla="*/ 4877204 w 7265542"/>
              <a:gd name="connsiteY11" fmla="*/ 6126650 h 6845276"/>
              <a:gd name="connsiteX12" fmla="*/ 5343929 w 7265542"/>
              <a:gd name="connsiteY12" fmla="*/ 6239635 h 6845276"/>
              <a:gd name="connsiteX13" fmla="*/ 5368487 w 7265542"/>
              <a:gd name="connsiteY13" fmla="*/ 6267372 h 6845276"/>
              <a:gd name="connsiteX14" fmla="*/ 5347238 w 7265542"/>
              <a:gd name="connsiteY14" fmla="*/ 6276406 h 6845276"/>
              <a:gd name="connsiteX15" fmla="*/ 4678070 w 7265542"/>
              <a:gd name="connsiteY15" fmla="*/ 6324629 h 6845276"/>
              <a:gd name="connsiteX16" fmla="*/ 3901891 w 7265542"/>
              <a:gd name="connsiteY16" fmla="*/ 6573374 h 6845276"/>
              <a:gd name="connsiteX17" fmla="*/ 3526017 w 7265542"/>
              <a:gd name="connsiteY17" fmla="*/ 6721095 h 6845276"/>
              <a:gd name="connsiteX18" fmla="*/ 3009413 w 7265542"/>
              <a:gd name="connsiteY18" fmla="*/ 6854310 h 6845276"/>
              <a:gd name="connsiteX19" fmla="*/ 7275215 w 7265542"/>
              <a:gd name="connsiteY19" fmla="*/ 6854311 h 6845276"/>
              <a:gd name="connsiteX20" fmla="*/ 7275215 w 7265542"/>
              <a:gd name="connsiteY20" fmla="*/ 0 h 6845276"/>
              <a:gd name="connsiteX21" fmla="*/ 1146711 w 7265542"/>
              <a:gd name="connsiteY21" fmla="*/ 0 h 6845276"/>
              <a:gd name="connsiteX22" fmla="*/ 2 w 7265542"/>
              <a:gd name="connsiteY22" fmla="*/ 3050347 h 6845276"/>
              <a:gd name="connsiteX23" fmla="*/ 1986638 w 7265542"/>
              <a:gd name="connsiteY23" fmla="*/ 6854692 h 6845276"/>
              <a:gd name="connsiteX24" fmla="*/ 2162105 w 7265542"/>
              <a:gd name="connsiteY24" fmla="*/ 6854692 h 6845276"/>
              <a:gd name="connsiteX25" fmla="*/ 2134621 w 7265542"/>
              <a:gd name="connsiteY25" fmla="*/ 6837897 h 6845276"/>
              <a:gd name="connsiteX26" fmla="*/ 481360 w 7265542"/>
              <a:gd name="connsiteY26" fmla="*/ 1206321 h 6845276"/>
              <a:gd name="connsiteX27" fmla="*/ 755694 w 7265542"/>
              <a:gd name="connsiteY27" fmla="*/ 684655 h 6845276"/>
              <a:gd name="connsiteX28" fmla="*/ 796285 w 7265542"/>
              <a:gd name="connsiteY28" fmla="*/ 621037 h 6845276"/>
              <a:gd name="connsiteX29" fmla="*/ 858761 w 7265542"/>
              <a:gd name="connsiteY29" fmla="*/ 601061 h 6845276"/>
              <a:gd name="connsiteX30" fmla="*/ 893498 w 7265542"/>
              <a:gd name="connsiteY30" fmla="*/ 609204 h 6845276"/>
              <a:gd name="connsiteX31" fmla="*/ 1269626 w 7265542"/>
              <a:gd name="connsiteY31" fmla="*/ 624727 h 6845276"/>
              <a:gd name="connsiteX32" fmla="*/ 2060311 w 7265542"/>
              <a:gd name="connsiteY32" fmla="*/ 534390 h 6845276"/>
              <a:gd name="connsiteX33" fmla="*/ 2977475 w 7265542"/>
              <a:gd name="connsiteY33" fmla="*/ 385778 h 6845276"/>
              <a:gd name="connsiteX34" fmla="*/ 3465449 w 7265542"/>
              <a:gd name="connsiteY34" fmla="*/ 307529 h 6845276"/>
              <a:gd name="connsiteX35" fmla="*/ 4516472 w 7265542"/>
              <a:gd name="connsiteY35" fmla="*/ 287171 h 6845276"/>
              <a:gd name="connsiteX36" fmla="*/ 5616610 w 7265542"/>
              <a:gd name="connsiteY36" fmla="*/ 451559 h 6845276"/>
              <a:gd name="connsiteX37" fmla="*/ 6033074 w 7265542"/>
              <a:gd name="connsiteY37" fmla="*/ 554366 h 6845276"/>
              <a:gd name="connsiteX38" fmla="*/ 6356270 w 7265542"/>
              <a:gd name="connsiteY38" fmla="*/ 650556 h 6845276"/>
              <a:gd name="connsiteX39" fmla="*/ 6368104 w 7265542"/>
              <a:gd name="connsiteY39" fmla="*/ 662389 h 6845276"/>
              <a:gd name="connsiteX40" fmla="*/ 6354235 w 7265542"/>
              <a:gd name="connsiteY40" fmla="*/ 670150 h 6845276"/>
              <a:gd name="connsiteX41" fmla="*/ 6323951 w 7265542"/>
              <a:gd name="connsiteY41" fmla="*/ 668623 h 6845276"/>
              <a:gd name="connsiteX42" fmla="*/ 5538483 w 7265542"/>
              <a:gd name="connsiteY42" fmla="*/ 638087 h 6845276"/>
              <a:gd name="connsiteX43" fmla="*/ 4388084 w 7265542"/>
              <a:gd name="connsiteY43" fmla="*/ 695852 h 6845276"/>
              <a:gd name="connsiteX44" fmla="*/ 3048476 w 7265542"/>
              <a:gd name="connsiteY44" fmla="*/ 978569 h 6845276"/>
              <a:gd name="connsiteX45" fmla="*/ 2052295 w 7265542"/>
              <a:gd name="connsiteY45" fmla="*/ 1292460 h 6845276"/>
              <a:gd name="connsiteX46" fmla="*/ 1135258 w 7265542"/>
              <a:gd name="connsiteY46" fmla="*/ 1461301 h 6845276"/>
              <a:gd name="connsiteX47" fmla="*/ 715994 w 7265542"/>
              <a:gd name="connsiteY47" fmla="*/ 1438653 h 6845276"/>
              <a:gd name="connsiteX48" fmla="*/ 512407 w 7265542"/>
              <a:gd name="connsiteY48" fmla="*/ 1355950 h 6845276"/>
              <a:gd name="connsiteX49" fmla="*/ 481360 w 7265542"/>
              <a:gd name="connsiteY49" fmla="*/ 1206321 h 6845276"/>
              <a:gd name="connsiteX50" fmla="*/ 90853 w 7265542"/>
              <a:gd name="connsiteY50" fmla="*/ 3171730 h 6845276"/>
              <a:gd name="connsiteX51" fmla="*/ 124444 w 7265542"/>
              <a:gd name="connsiteY51" fmla="*/ 2481222 h 6845276"/>
              <a:gd name="connsiteX52" fmla="*/ 130807 w 7265542"/>
              <a:gd name="connsiteY52" fmla="*/ 2431727 h 6845276"/>
              <a:gd name="connsiteX53" fmla="*/ 158673 w 7265542"/>
              <a:gd name="connsiteY53" fmla="*/ 2387958 h 6845276"/>
              <a:gd name="connsiteX54" fmla="*/ 223057 w 7265542"/>
              <a:gd name="connsiteY54" fmla="*/ 2384777 h 6845276"/>
              <a:gd name="connsiteX55" fmla="*/ 259322 w 7265542"/>
              <a:gd name="connsiteY55" fmla="*/ 2391266 h 6845276"/>
              <a:gd name="connsiteX56" fmla="*/ 507444 w 7265542"/>
              <a:gd name="connsiteY56" fmla="*/ 2427656 h 6845276"/>
              <a:gd name="connsiteX57" fmla="*/ 1094159 w 7265542"/>
              <a:gd name="connsiteY57" fmla="*/ 2453103 h 6845276"/>
              <a:gd name="connsiteX58" fmla="*/ 1746532 w 7265542"/>
              <a:gd name="connsiteY58" fmla="*/ 2400936 h 6845276"/>
              <a:gd name="connsiteX59" fmla="*/ 2181191 w 7265542"/>
              <a:gd name="connsiteY59" fmla="*/ 2333247 h 6845276"/>
              <a:gd name="connsiteX60" fmla="*/ 2915889 w 7265542"/>
              <a:gd name="connsiteY60" fmla="*/ 2187562 h 6845276"/>
              <a:gd name="connsiteX61" fmla="*/ 3574496 w 7265542"/>
              <a:gd name="connsiteY61" fmla="*/ 2056255 h 6845276"/>
              <a:gd name="connsiteX62" fmla="*/ 4130291 w 7265542"/>
              <a:gd name="connsiteY62" fmla="*/ 1971898 h 6845276"/>
              <a:gd name="connsiteX63" fmla="*/ 4859390 w 7265542"/>
              <a:gd name="connsiteY63" fmla="*/ 1932327 h 6845276"/>
              <a:gd name="connsiteX64" fmla="*/ 5559223 w 7265542"/>
              <a:gd name="connsiteY64" fmla="*/ 1978769 h 6845276"/>
              <a:gd name="connsiteX65" fmla="*/ 6203070 w 7265542"/>
              <a:gd name="connsiteY65" fmla="*/ 2094298 h 6845276"/>
              <a:gd name="connsiteX66" fmla="*/ 6813071 w 7265542"/>
              <a:gd name="connsiteY66" fmla="*/ 2274591 h 6845276"/>
              <a:gd name="connsiteX67" fmla="*/ 7072900 w 7265542"/>
              <a:gd name="connsiteY67" fmla="*/ 2378543 h 6845276"/>
              <a:gd name="connsiteX68" fmla="*/ 7081807 w 7265542"/>
              <a:gd name="connsiteY68" fmla="*/ 2395338 h 6845276"/>
              <a:gd name="connsiteX69" fmla="*/ 7056358 w 7265542"/>
              <a:gd name="connsiteY69" fmla="*/ 2404372 h 6845276"/>
              <a:gd name="connsiteX70" fmla="*/ 6849080 w 7265542"/>
              <a:gd name="connsiteY70" fmla="*/ 2399537 h 6845276"/>
              <a:gd name="connsiteX71" fmla="*/ 5240990 w 7265542"/>
              <a:gd name="connsiteY71" fmla="*/ 2475878 h 6845276"/>
              <a:gd name="connsiteX72" fmla="*/ 3948462 w 7265542"/>
              <a:gd name="connsiteY72" fmla="*/ 2780480 h 6845276"/>
              <a:gd name="connsiteX73" fmla="*/ 2170630 w 7265542"/>
              <a:gd name="connsiteY73" fmla="*/ 3365764 h 6845276"/>
              <a:gd name="connsiteX74" fmla="*/ 585826 w 7265542"/>
              <a:gd name="connsiteY74" fmla="*/ 3561071 h 6845276"/>
              <a:gd name="connsiteX75" fmla="*/ 183231 w 7265542"/>
              <a:gd name="connsiteY75" fmla="*/ 3421875 h 6845276"/>
              <a:gd name="connsiteX76" fmla="*/ 90853 w 7265542"/>
              <a:gd name="connsiteY76" fmla="*/ 3171730 h 6845276"/>
              <a:gd name="connsiteX77" fmla="*/ 1182338 w 7265542"/>
              <a:gd name="connsiteY77" fmla="*/ 5427363 h 6845276"/>
              <a:gd name="connsiteX78" fmla="*/ 591552 w 7265542"/>
              <a:gd name="connsiteY78" fmla="*/ 5123270 h 6845276"/>
              <a:gd name="connsiteX79" fmla="*/ 349791 w 7265542"/>
              <a:gd name="connsiteY79" fmla="*/ 4568904 h 6845276"/>
              <a:gd name="connsiteX80" fmla="*/ 334013 w 7265542"/>
              <a:gd name="connsiteY80" fmla="*/ 4521572 h 6845276"/>
              <a:gd name="connsiteX81" fmla="*/ 338339 w 7265542"/>
              <a:gd name="connsiteY81" fmla="*/ 4457955 h 6845276"/>
              <a:gd name="connsiteX82" fmla="*/ 424991 w 7265542"/>
              <a:gd name="connsiteY82" fmla="*/ 4457955 h 6845276"/>
              <a:gd name="connsiteX83" fmla="*/ 1049497 w 7265542"/>
              <a:gd name="connsiteY83" fmla="*/ 4542312 h 6845276"/>
              <a:gd name="connsiteX84" fmla="*/ 1610127 w 7265542"/>
              <a:gd name="connsiteY84" fmla="*/ 4563433 h 6845276"/>
              <a:gd name="connsiteX85" fmla="*/ 2116552 w 7265542"/>
              <a:gd name="connsiteY85" fmla="*/ 4537986 h 6845276"/>
              <a:gd name="connsiteX86" fmla="*/ 2803661 w 7265542"/>
              <a:gd name="connsiteY86" fmla="*/ 4440142 h 6845276"/>
              <a:gd name="connsiteX87" fmla="*/ 3652623 w 7265542"/>
              <a:gd name="connsiteY87" fmla="*/ 4257813 h 6845276"/>
              <a:gd name="connsiteX88" fmla="*/ 4171772 w 7265542"/>
              <a:gd name="connsiteY88" fmla="*/ 4160605 h 6845276"/>
              <a:gd name="connsiteX89" fmla="*/ 4583401 w 7265542"/>
              <a:gd name="connsiteY89" fmla="*/ 4127905 h 6845276"/>
              <a:gd name="connsiteX90" fmla="*/ 5135888 w 7265542"/>
              <a:gd name="connsiteY90" fmla="*/ 4149154 h 6845276"/>
              <a:gd name="connsiteX91" fmla="*/ 5791059 w 7265542"/>
              <a:gd name="connsiteY91" fmla="*/ 4241400 h 6845276"/>
              <a:gd name="connsiteX92" fmla="*/ 6230555 w 7265542"/>
              <a:gd name="connsiteY92" fmla="*/ 4347514 h 6845276"/>
              <a:gd name="connsiteX93" fmla="*/ 6386427 w 7265542"/>
              <a:gd name="connsiteY93" fmla="*/ 4395609 h 6845276"/>
              <a:gd name="connsiteX94" fmla="*/ 6403605 w 7265542"/>
              <a:gd name="connsiteY94" fmla="*/ 4415967 h 6845276"/>
              <a:gd name="connsiteX95" fmla="*/ 6382737 w 7265542"/>
              <a:gd name="connsiteY95" fmla="*/ 4424492 h 6845276"/>
              <a:gd name="connsiteX96" fmla="*/ 6364541 w 7265542"/>
              <a:gd name="connsiteY96" fmla="*/ 4422711 h 6845276"/>
              <a:gd name="connsiteX97" fmla="*/ 5164390 w 7265542"/>
              <a:gd name="connsiteY97" fmla="*/ 4511775 h 6845276"/>
              <a:gd name="connsiteX98" fmla="*/ 4289599 w 7265542"/>
              <a:gd name="connsiteY98" fmla="*/ 4790167 h 6845276"/>
              <a:gd name="connsiteX99" fmla="*/ 3144417 w 7265542"/>
              <a:gd name="connsiteY99" fmla="*/ 5183070 h 6845276"/>
              <a:gd name="connsiteX100" fmla="*/ 1923780 w 7265542"/>
              <a:gd name="connsiteY100" fmla="*/ 5443013 h 6845276"/>
              <a:gd name="connsiteX101" fmla="*/ 1182338 w 7265542"/>
              <a:gd name="connsiteY101" fmla="*/ 5427363 h 684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7265542" h="6845276">
                <a:moveTo>
                  <a:pt x="2134621" y="6837897"/>
                </a:moveTo>
                <a:cubicBezTo>
                  <a:pt x="2134621" y="6837897"/>
                  <a:pt x="2045551" y="6778605"/>
                  <a:pt x="1877972" y="6655441"/>
                </a:cubicBezTo>
                <a:cubicBezTo>
                  <a:pt x="1773252" y="6578464"/>
                  <a:pt x="1643337" y="6464588"/>
                  <a:pt x="1560503" y="6389519"/>
                </a:cubicBezTo>
                <a:cubicBezTo>
                  <a:pt x="1536072" y="6366871"/>
                  <a:pt x="1493701" y="6324628"/>
                  <a:pt x="1495609" y="6305670"/>
                </a:cubicBezTo>
                <a:cubicBezTo>
                  <a:pt x="1495609" y="6305670"/>
                  <a:pt x="1496627" y="6287985"/>
                  <a:pt x="1541926" y="6292947"/>
                </a:cubicBezTo>
                <a:cubicBezTo>
                  <a:pt x="1587224" y="6297909"/>
                  <a:pt x="1720956" y="6319794"/>
                  <a:pt x="1909402" y="6333789"/>
                </a:cubicBezTo>
                <a:cubicBezTo>
                  <a:pt x="2060167" y="6343218"/>
                  <a:pt x="2211312" y="6345002"/>
                  <a:pt x="2362258" y="6339133"/>
                </a:cubicBezTo>
                <a:cubicBezTo>
                  <a:pt x="2539252" y="6333408"/>
                  <a:pt x="2727825" y="6310124"/>
                  <a:pt x="2887769" y="6288239"/>
                </a:cubicBezTo>
                <a:cubicBezTo>
                  <a:pt x="3047712" y="6266355"/>
                  <a:pt x="3362637" y="6207444"/>
                  <a:pt x="3362637" y="6207444"/>
                </a:cubicBezTo>
                <a:cubicBezTo>
                  <a:pt x="3362637" y="6207444"/>
                  <a:pt x="3615214" y="6158459"/>
                  <a:pt x="3823255" y="6126650"/>
                </a:cubicBezTo>
                <a:cubicBezTo>
                  <a:pt x="3973869" y="6103476"/>
                  <a:pt x="4125904" y="6090723"/>
                  <a:pt x="4278274" y="6088479"/>
                </a:cubicBezTo>
                <a:cubicBezTo>
                  <a:pt x="4478495" y="6089387"/>
                  <a:pt x="4678488" y="6102132"/>
                  <a:pt x="4877204" y="6126650"/>
                </a:cubicBezTo>
                <a:cubicBezTo>
                  <a:pt x="5169862" y="6164820"/>
                  <a:pt x="5330060" y="6233146"/>
                  <a:pt x="5343929" y="6239635"/>
                </a:cubicBezTo>
                <a:cubicBezTo>
                  <a:pt x="5357799" y="6246124"/>
                  <a:pt x="5371287" y="6256430"/>
                  <a:pt x="5368487" y="6267372"/>
                </a:cubicBezTo>
                <a:cubicBezTo>
                  <a:pt x="5365688" y="6278315"/>
                  <a:pt x="5347238" y="6276406"/>
                  <a:pt x="5347238" y="6276406"/>
                </a:cubicBezTo>
                <a:cubicBezTo>
                  <a:pt x="5123140" y="6270490"/>
                  <a:pt x="4899003" y="6286642"/>
                  <a:pt x="4678070" y="6324629"/>
                </a:cubicBezTo>
                <a:cubicBezTo>
                  <a:pt x="4339478" y="6386592"/>
                  <a:pt x="3901891" y="6573374"/>
                  <a:pt x="3901891" y="6573374"/>
                </a:cubicBezTo>
                <a:lnTo>
                  <a:pt x="3526017" y="6721095"/>
                </a:lnTo>
                <a:cubicBezTo>
                  <a:pt x="3358065" y="6780596"/>
                  <a:pt x="3185194" y="6825174"/>
                  <a:pt x="3009413" y="6854310"/>
                </a:cubicBezTo>
                <a:lnTo>
                  <a:pt x="7275215" y="6854311"/>
                </a:lnTo>
                <a:lnTo>
                  <a:pt x="7275215" y="0"/>
                </a:lnTo>
                <a:lnTo>
                  <a:pt x="1146711" y="0"/>
                </a:lnTo>
                <a:cubicBezTo>
                  <a:pt x="406626" y="843748"/>
                  <a:pt x="-988" y="1928039"/>
                  <a:pt x="2" y="3050347"/>
                </a:cubicBezTo>
                <a:cubicBezTo>
                  <a:pt x="1" y="4622852"/>
                  <a:pt x="786360" y="6014937"/>
                  <a:pt x="1986638" y="6854692"/>
                </a:cubicBezTo>
                <a:lnTo>
                  <a:pt x="2162105" y="6854692"/>
                </a:lnTo>
                <a:cubicBezTo>
                  <a:pt x="2152501" y="6849854"/>
                  <a:pt x="2143308" y="6844237"/>
                  <a:pt x="2134621" y="6837897"/>
                </a:cubicBezTo>
                <a:close/>
                <a:moveTo>
                  <a:pt x="481360" y="1206321"/>
                </a:moveTo>
                <a:cubicBezTo>
                  <a:pt x="568648" y="1000072"/>
                  <a:pt x="755694" y="684655"/>
                  <a:pt x="755694" y="684655"/>
                </a:cubicBezTo>
                <a:cubicBezTo>
                  <a:pt x="755694" y="684655"/>
                  <a:pt x="773890" y="653609"/>
                  <a:pt x="796285" y="621037"/>
                </a:cubicBezTo>
                <a:cubicBezTo>
                  <a:pt x="818680" y="588465"/>
                  <a:pt x="858761" y="601061"/>
                  <a:pt x="858761" y="601061"/>
                </a:cubicBezTo>
                <a:lnTo>
                  <a:pt x="893498" y="609204"/>
                </a:lnTo>
                <a:cubicBezTo>
                  <a:pt x="1024049" y="637832"/>
                  <a:pt x="1269626" y="624727"/>
                  <a:pt x="1269626" y="624727"/>
                </a:cubicBezTo>
                <a:cubicBezTo>
                  <a:pt x="1534800" y="610731"/>
                  <a:pt x="1942103" y="551694"/>
                  <a:pt x="2060311" y="534390"/>
                </a:cubicBezTo>
                <a:cubicBezTo>
                  <a:pt x="2178519" y="517086"/>
                  <a:pt x="2977475" y="385778"/>
                  <a:pt x="2977475" y="385778"/>
                </a:cubicBezTo>
                <a:cubicBezTo>
                  <a:pt x="3170883" y="350661"/>
                  <a:pt x="3465449" y="307529"/>
                  <a:pt x="3465449" y="307529"/>
                </a:cubicBezTo>
                <a:cubicBezTo>
                  <a:pt x="3938791" y="242257"/>
                  <a:pt x="4516472" y="287171"/>
                  <a:pt x="4516472" y="287171"/>
                </a:cubicBezTo>
                <a:cubicBezTo>
                  <a:pt x="4999993" y="314908"/>
                  <a:pt x="5616610" y="451559"/>
                  <a:pt x="5616610" y="451559"/>
                </a:cubicBezTo>
                <a:cubicBezTo>
                  <a:pt x="5789914" y="487821"/>
                  <a:pt x="6033074" y="554366"/>
                  <a:pt x="6033074" y="554366"/>
                </a:cubicBezTo>
                <a:cubicBezTo>
                  <a:pt x="6136268" y="581594"/>
                  <a:pt x="6356270" y="650556"/>
                  <a:pt x="6356270" y="650556"/>
                </a:cubicBezTo>
                <a:cubicBezTo>
                  <a:pt x="6356270" y="650556"/>
                  <a:pt x="6370140" y="654246"/>
                  <a:pt x="6368104" y="662389"/>
                </a:cubicBezTo>
                <a:cubicBezTo>
                  <a:pt x="6366068" y="670532"/>
                  <a:pt x="6354235" y="670150"/>
                  <a:pt x="6354235" y="670150"/>
                </a:cubicBezTo>
                <a:lnTo>
                  <a:pt x="6323951" y="668623"/>
                </a:lnTo>
                <a:cubicBezTo>
                  <a:pt x="6258166" y="664170"/>
                  <a:pt x="5799203" y="640250"/>
                  <a:pt x="5538483" y="638087"/>
                </a:cubicBezTo>
                <a:cubicBezTo>
                  <a:pt x="5277763" y="635924"/>
                  <a:pt x="4979762" y="634651"/>
                  <a:pt x="4388084" y="695852"/>
                </a:cubicBezTo>
                <a:cubicBezTo>
                  <a:pt x="3796407" y="757052"/>
                  <a:pt x="3182207" y="940017"/>
                  <a:pt x="3048476" y="978569"/>
                </a:cubicBezTo>
                <a:cubicBezTo>
                  <a:pt x="2914744" y="1017122"/>
                  <a:pt x="2052295" y="1292460"/>
                  <a:pt x="2052295" y="1292460"/>
                </a:cubicBezTo>
                <a:cubicBezTo>
                  <a:pt x="1560248" y="1436490"/>
                  <a:pt x="1356279" y="1447687"/>
                  <a:pt x="1135258" y="1461301"/>
                </a:cubicBezTo>
                <a:cubicBezTo>
                  <a:pt x="995096" y="1468825"/>
                  <a:pt x="854531" y="1461232"/>
                  <a:pt x="715994" y="1438653"/>
                </a:cubicBezTo>
                <a:cubicBezTo>
                  <a:pt x="567503" y="1413206"/>
                  <a:pt x="512407" y="1355950"/>
                  <a:pt x="512407" y="1355950"/>
                </a:cubicBezTo>
                <a:cubicBezTo>
                  <a:pt x="439370" y="1285080"/>
                  <a:pt x="481360" y="1206321"/>
                  <a:pt x="481360" y="1206321"/>
                </a:cubicBezTo>
                <a:close/>
                <a:moveTo>
                  <a:pt x="90853" y="3171730"/>
                </a:moveTo>
                <a:cubicBezTo>
                  <a:pt x="75965" y="2855804"/>
                  <a:pt x="124444" y="2481222"/>
                  <a:pt x="124444" y="2481222"/>
                </a:cubicBezTo>
                <a:cubicBezTo>
                  <a:pt x="124444" y="2481222"/>
                  <a:pt x="126353" y="2463027"/>
                  <a:pt x="130807" y="2431727"/>
                </a:cubicBezTo>
                <a:cubicBezTo>
                  <a:pt x="132916" y="2413645"/>
                  <a:pt x="143181" y="2397521"/>
                  <a:pt x="158673" y="2387958"/>
                </a:cubicBezTo>
                <a:cubicBezTo>
                  <a:pt x="179320" y="2380418"/>
                  <a:pt x="201767" y="2379309"/>
                  <a:pt x="223057" y="2384777"/>
                </a:cubicBezTo>
                <a:lnTo>
                  <a:pt x="259322" y="2391266"/>
                </a:lnTo>
                <a:cubicBezTo>
                  <a:pt x="370023" y="2412515"/>
                  <a:pt x="507444" y="2427656"/>
                  <a:pt x="507444" y="2427656"/>
                </a:cubicBezTo>
                <a:cubicBezTo>
                  <a:pt x="702225" y="2449267"/>
                  <a:pt x="898238" y="2457768"/>
                  <a:pt x="1094159" y="2453103"/>
                </a:cubicBezTo>
                <a:cubicBezTo>
                  <a:pt x="1391143" y="2449540"/>
                  <a:pt x="1746532" y="2400936"/>
                  <a:pt x="1746532" y="2400936"/>
                </a:cubicBezTo>
                <a:cubicBezTo>
                  <a:pt x="1889806" y="2383760"/>
                  <a:pt x="2181191" y="2333247"/>
                  <a:pt x="2181191" y="2333247"/>
                </a:cubicBezTo>
                <a:cubicBezTo>
                  <a:pt x="2304744" y="2311999"/>
                  <a:pt x="2776686" y="2216572"/>
                  <a:pt x="2915889" y="2187562"/>
                </a:cubicBezTo>
                <a:cubicBezTo>
                  <a:pt x="3055092" y="2158552"/>
                  <a:pt x="3574496" y="2056255"/>
                  <a:pt x="3574496" y="2056255"/>
                </a:cubicBezTo>
                <a:cubicBezTo>
                  <a:pt x="3807986" y="2011086"/>
                  <a:pt x="4130291" y="1971898"/>
                  <a:pt x="4130291" y="1971898"/>
                </a:cubicBezTo>
                <a:cubicBezTo>
                  <a:pt x="4372258" y="1943481"/>
                  <a:pt x="4615769" y="1930265"/>
                  <a:pt x="4859390" y="1932327"/>
                </a:cubicBezTo>
                <a:cubicBezTo>
                  <a:pt x="5005465" y="1932327"/>
                  <a:pt x="5246971" y="1942506"/>
                  <a:pt x="5559223" y="1978769"/>
                </a:cubicBezTo>
                <a:cubicBezTo>
                  <a:pt x="5775652" y="2006382"/>
                  <a:pt x="5990543" y="2044942"/>
                  <a:pt x="6203070" y="2094298"/>
                </a:cubicBezTo>
                <a:cubicBezTo>
                  <a:pt x="6430707" y="2145193"/>
                  <a:pt x="6688119" y="2230059"/>
                  <a:pt x="6813071" y="2274591"/>
                </a:cubicBezTo>
                <a:cubicBezTo>
                  <a:pt x="6938023" y="2319124"/>
                  <a:pt x="7067556" y="2376380"/>
                  <a:pt x="7072900" y="2378543"/>
                </a:cubicBezTo>
                <a:cubicBezTo>
                  <a:pt x="7078244" y="2380706"/>
                  <a:pt x="7084733" y="2384396"/>
                  <a:pt x="7081807" y="2395338"/>
                </a:cubicBezTo>
                <a:cubicBezTo>
                  <a:pt x="7078880" y="2406280"/>
                  <a:pt x="7056358" y="2404372"/>
                  <a:pt x="7056358" y="2404372"/>
                </a:cubicBezTo>
                <a:lnTo>
                  <a:pt x="6849080" y="2399537"/>
                </a:lnTo>
                <a:cubicBezTo>
                  <a:pt x="6392153" y="2388722"/>
                  <a:pt x="5724130" y="2406026"/>
                  <a:pt x="5240990" y="2475878"/>
                </a:cubicBezTo>
                <a:cubicBezTo>
                  <a:pt x="4757851" y="2545730"/>
                  <a:pt x="4231322" y="2695614"/>
                  <a:pt x="3948462" y="2780480"/>
                </a:cubicBezTo>
                <a:cubicBezTo>
                  <a:pt x="3665601" y="2865346"/>
                  <a:pt x="3110697" y="3050347"/>
                  <a:pt x="2170630" y="3365764"/>
                </a:cubicBezTo>
                <a:cubicBezTo>
                  <a:pt x="1230563" y="3681181"/>
                  <a:pt x="585826" y="3561071"/>
                  <a:pt x="585826" y="3561071"/>
                </a:cubicBezTo>
                <a:cubicBezTo>
                  <a:pt x="359589" y="3533715"/>
                  <a:pt x="282607" y="3501397"/>
                  <a:pt x="183231" y="3421875"/>
                </a:cubicBezTo>
                <a:cubicBezTo>
                  <a:pt x="83855" y="3342353"/>
                  <a:pt x="90853" y="3171730"/>
                  <a:pt x="90853" y="3171730"/>
                </a:cubicBezTo>
                <a:close/>
                <a:moveTo>
                  <a:pt x="1182338" y="5427363"/>
                </a:moveTo>
                <a:cubicBezTo>
                  <a:pt x="1011579" y="5404588"/>
                  <a:pt x="718794" y="5359928"/>
                  <a:pt x="591552" y="5123270"/>
                </a:cubicBezTo>
                <a:cubicBezTo>
                  <a:pt x="464309" y="4886611"/>
                  <a:pt x="349791" y="4568904"/>
                  <a:pt x="349791" y="4568904"/>
                </a:cubicBezTo>
                <a:cubicBezTo>
                  <a:pt x="349791" y="4568904"/>
                  <a:pt x="342157" y="4543457"/>
                  <a:pt x="334013" y="4521572"/>
                </a:cubicBezTo>
                <a:cubicBezTo>
                  <a:pt x="325869" y="4499688"/>
                  <a:pt x="316581" y="4473223"/>
                  <a:pt x="338339" y="4457955"/>
                </a:cubicBezTo>
                <a:cubicBezTo>
                  <a:pt x="360098" y="4442687"/>
                  <a:pt x="424991" y="4457955"/>
                  <a:pt x="424991" y="4457955"/>
                </a:cubicBezTo>
                <a:cubicBezTo>
                  <a:pt x="662680" y="4506940"/>
                  <a:pt x="1049497" y="4542312"/>
                  <a:pt x="1049497" y="4542312"/>
                </a:cubicBezTo>
                <a:cubicBezTo>
                  <a:pt x="1276371" y="4564578"/>
                  <a:pt x="1610127" y="4563433"/>
                  <a:pt x="1610127" y="4563433"/>
                </a:cubicBezTo>
                <a:cubicBezTo>
                  <a:pt x="1814987" y="4564578"/>
                  <a:pt x="2116552" y="4537986"/>
                  <a:pt x="2116552" y="4537986"/>
                </a:cubicBezTo>
                <a:cubicBezTo>
                  <a:pt x="2399666" y="4515974"/>
                  <a:pt x="2803661" y="4440142"/>
                  <a:pt x="2803661" y="4440142"/>
                </a:cubicBezTo>
                <a:cubicBezTo>
                  <a:pt x="2977856" y="4408715"/>
                  <a:pt x="3401701" y="4313670"/>
                  <a:pt x="3652623" y="4257813"/>
                </a:cubicBezTo>
                <a:cubicBezTo>
                  <a:pt x="3903545" y="4201957"/>
                  <a:pt x="4171772" y="4160605"/>
                  <a:pt x="4171772" y="4160605"/>
                </a:cubicBezTo>
                <a:cubicBezTo>
                  <a:pt x="4308176" y="4141227"/>
                  <a:pt x="4445649" y="4130307"/>
                  <a:pt x="4583401" y="4127905"/>
                </a:cubicBezTo>
                <a:cubicBezTo>
                  <a:pt x="4583401" y="4127905"/>
                  <a:pt x="4854809" y="4123070"/>
                  <a:pt x="5135888" y="4149154"/>
                </a:cubicBezTo>
                <a:cubicBezTo>
                  <a:pt x="5355815" y="4167781"/>
                  <a:pt x="5574540" y="4198577"/>
                  <a:pt x="5791059" y="4241400"/>
                </a:cubicBezTo>
                <a:cubicBezTo>
                  <a:pt x="5997574" y="4281352"/>
                  <a:pt x="6195818" y="4337590"/>
                  <a:pt x="6230555" y="4347514"/>
                </a:cubicBezTo>
                <a:cubicBezTo>
                  <a:pt x="6265291" y="4357439"/>
                  <a:pt x="6378156" y="4392683"/>
                  <a:pt x="6386427" y="4395609"/>
                </a:cubicBezTo>
                <a:cubicBezTo>
                  <a:pt x="6394698" y="4398536"/>
                  <a:pt x="6407167" y="4405788"/>
                  <a:pt x="6403605" y="4415967"/>
                </a:cubicBezTo>
                <a:cubicBezTo>
                  <a:pt x="6400042" y="4426146"/>
                  <a:pt x="6382737" y="4424492"/>
                  <a:pt x="6382737" y="4424492"/>
                </a:cubicBezTo>
                <a:lnTo>
                  <a:pt x="6364541" y="4422711"/>
                </a:lnTo>
                <a:cubicBezTo>
                  <a:pt x="5798694" y="4367236"/>
                  <a:pt x="5164390" y="4511775"/>
                  <a:pt x="5164390" y="4511775"/>
                </a:cubicBezTo>
                <a:cubicBezTo>
                  <a:pt x="4939299" y="4557453"/>
                  <a:pt x="4609613" y="4672856"/>
                  <a:pt x="4289599" y="4790167"/>
                </a:cubicBezTo>
                <a:cubicBezTo>
                  <a:pt x="3969584" y="4907478"/>
                  <a:pt x="3551593" y="5057362"/>
                  <a:pt x="3144417" y="5183070"/>
                </a:cubicBezTo>
                <a:cubicBezTo>
                  <a:pt x="2737241" y="5308779"/>
                  <a:pt x="2259955" y="5408278"/>
                  <a:pt x="1923780" y="5443013"/>
                </a:cubicBezTo>
                <a:cubicBezTo>
                  <a:pt x="1587606" y="5477748"/>
                  <a:pt x="1182338" y="5427363"/>
                  <a:pt x="1182338" y="5427363"/>
                </a:cubicBezTo>
                <a:close/>
              </a:path>
            </a:pathLst>
          </a:custGeom>
          <a:solidFill>
            <a:schemeClr val="accent2"/>
          </a:solidFill>
          <a:ln w="12722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D68D7B-DF38-479E-8181-B200AE68BD7D}"/>
              </a:ext>
            </a:extLst>
          </p:cNvPr>
          <p:cNvSpPr/>
          <p:nvPr userDrawn="1"/>
        </p:nvSpPr>
        <p:spPr>
          <a:xfrm>
            <a:off x="1235074" y="2"/>
            <a:ext cx="4860926" cy="47947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944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078985"/>
            <a:ext cx="4284663" cy="1946151"/>
          </a:xfrm>
        </p:spPr>
        <p:txBody>
          <a:bodyPr anchor="t">
            <a:noAutofit/>
          </a:bodyPr>
          <a:lstStyle>
            <a:lvl1pPr algn="l" eaLnBrk="1">
              <a:lnSpc>
                <a:spcPct val="90000"/>
              </a:lnSpc>
              <a:defRPr sz="3600" cap="none" baseline="0">
                <a:solidFill>
                  <a:schemeClr val="accent5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5074" y="4427225"/>
            <a:ext cx="4860926" cy="366424"/>
          </a:xfrm>
          <a:solidFill>
            <a:schemeClr val="bg1"/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200" cap="all" baseline="0">
                <a:solidFill>
                  <a:schemeClr val="accent5"/>
                </a:solidFill>
              </a:defRPr>
            </a:lvl1pPr>
            <a:lvl2pPr marL="5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322483"/>
            <a:ext cx="4284663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0C94871-1278-4C9D-8FE4-92A94538EC1C}"/>
              </a:ext>
            </a:extLst>
          </p:cNvPr>
          <p:cNvGrpSpPr/>
          <p:nvPr userDrawn="1"/>
        </p:nvGrpSpPr>
        <p:grpSpPr>
          <a:xfrm>
            <a:off x="1533524" y="369094"/>
            <a:ext cx="2243139" cy="606869"/>
            <a:chOff x="1533524" y="369094"/>
            <a:chExt cx="2243139" cy="606869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8ED2CFF3-8D2B-4D37-BCA7-ECF1D6193D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0C11B633-41CA-4745-B60C-C77BAB1EE0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50774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2310833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6AFC8A-F573-4DCA-AAB1-789495D6F80D}"/>
              </a:ext>
            </a:extLst>
          </p:cNvPr>
          <p:cNvSpPr/>
          <p:nvPr userDrawn="1"/>
        </p:nvSpPr>
        <p:spPr>
          <a:xfrm>
            <a:off x="0" y="0"/>
            <a:ext cx="12192000" cy="61407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8676" y="1830707"/>
            <a:ext cx="10536555" cy="4191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3268226-9F81-47A5-AC33-CAD42162848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FB7FD7-1337-425B-A227-B659A64CE19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7450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1124561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t">
            <a:no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/>
            </a:lvl1pPr>
          </a:lstStyle>
          <a:p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C20C8F6-248D-4C3E-87B3-1E76EE1E9591}"/>
              </a:ext>
            </a:extLst>
          </p:cNvPr>
          <p:cNvSpPr/>
          <p:nvPr userDrawn="1"/>
        </p:nvSpPr>
        <p:spPr>
          <a:xfrm>
            <a:off x="1235074" y="6352"/>
            <a:ext cx="4860926" cy="47947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944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30393"/>
            <a:ext cx="4284663" cy="2271708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3600" cap="none" baseline="0">
                <a:solidFill>
                  <a:schemeClr val="accent5"/>
                </a:solidFill>
              </a:defRPr>
            </a:lvl1pPr>
          </a:lstStyle>
          <a:p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319943"/>
            <a:ext cx="4284663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33F1287C-318B-4F40-9FF1-E19D09469A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5075" y="4400106"/>
            <a:ext cx="4860925" cy="351035"/>
          </a:xfrm>
          <a:solidFill>
            <a:schemeClr val="bg1"/>
          </a:solidFill>
        </p:spPr>
        <p:txBody>
          <a:bodyPr wrap="square"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100" cap="all" baseline="0">
                <a:solidFill>
                  <a:schemeClr val="accent5"/>
                </a:solidFill>
              </a:defRPr>
            </a:lvl1pPr>
            <a:lvl2pPr marL="5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GB" noProof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48B993E-BF37-4D48-AD6A-25908C6899FA}"/>
              </a:ext>
            </a:extLst>
          </p:cNvPr>
          <p:cNvGrpSpPr/>
          <p:nvPr userDrawn="1"/>
        </p:nvGrpSpPr>
        <p:grpSpPr>
          <a:xfrm>
            <a:off x="1533524" y="369094"/>
            <a:ext cx="2243139" cy="606869"/>
            <a:chOff x="1533524" y="369094"/>
            <a:chExt cx="2243139" cy="606869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41D9DD3B-C3F8-4D09-9824-43A4FB97D0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28A26939-CABE-4692-9903-32D6323ADF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3690386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052215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8676" y="1830707"/>
            <a:ext cx="10536555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 err="1"/>
              <a:t>Sixt</a:t>
            </a:r>
            <a:r>
              <a:rPr lang="en-GB" noProof="0"/>
              <a:t> level</a:t>
            </a:r>
          </a:p>
          <a:p>
            <a:pPr lvl="6"/>
            <a:r>
              <a:rPr lang="en-GB" noProof="0"/>
              <a:t>Seventh level</a:t>
            </a:r>
          </a:p>
          <a:p>
            <a:pPr lvl="7"/>
            <a:r>
              <a:rPr lang="en-GB" noProof="0"/>
              <a:t>Eight level</a:t>
            </a:r>
          </a:p>
          <a:p>
            <a:pPr lvl="8"/>
            <a:r>
              <a:rPr lang="en-GB" noProof="0" err="1"/>
              <a:t>Nineth</a:t>
            </a:r>
            <a:r>
              <a:rPr lang="en-GB" noProof="0"/>
              <a:t>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8702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356448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4866" y="1836492"/>
            <a:ext cx="10541633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6" y="2241549"/>
            <a:ext cx="10541633" cy="378015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 err="1"/>
              <a:t>Sixt</a:t>
            </a:r>
            <a:r>
              <a:rPr lang="en-GB" noProof="0"/>
              <a:t> level</a:t>
            </a:r>
          </a:p>
          <a:p>
            <a:pPr lvl="6"/>
            <a:r>
              <a:rPr lang="en-GB" noProof="0"/>
              <a:t>Seventh level</a:t>
            </a:r>
          </a:p>
          <a:p>
            <a:pPr lvl="7"/>
            <a:r>
              <a:rPr lang="en-GB" noProof="0"/>
              <a:t>Eight level</a:t>
            </a:r>
          </a:p>
          <a:p>
            <a:pPr lvl="8"/>
            <a:r>
              <a:rPr lang="en-GB" noProof="0" err="1"/>
              <a:t>Nineth</a:t>
            </a:r>
            <a:r>
              <a:rPr lang="en-GB" noProof="0"/>
              <a:t>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0327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2348020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6AFC8A-F573-4DCA-AAB1-789495D6F80D}"/>
              </a:ext>
            </a:extLst>
          </p:cNvPr>
          <p:cNvSpPr/>
          <p:nvPr userDrawn="1"/>
        </p:nvSpPr>
        <p:spPr>
          <a:xfrm>
            <a:off x="0" y="0"/>
            <a:ext cx="12192000" cy="61407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8676" y="1830707"/>
            <a:ext cx="10536555" cy="4191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 err="1"/>
              <a:t>Sixt</a:t>
            </a:r>
            <a:r>
              <a:rPr lang="en-GB" noProof="0"/>
              <a:t> level</a:t>
            </a:r>
          </a:p>
          <a:p>
            <a:pPr lvl="6"/>
            <a:r>
              <a:rPr lang="en-GB" noProof="0"/>
              <a:t>Seventh level</a:t>
            </a:r>
          </a:p>
          <a:p>
            <a:pPr lvl="7"/>
            <a:r>
              <a:rPr lang="en-GB" noProof="0"/>
              <a:t>Eight level</a:t>
            </a:r>
          </a:p>
          <a:p>
            <a:pPr lvl="8"/>
            <a:r>
              <a:rPr lang="en-GB" noProof="0" err="1"/>
              <a:t>Nineth</a:t>
            </a:r>
            <a:r>
              <a:rPr lang="en-GB" noProof="0"/>
              <a:t>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3268226-9F81-47A5-AC33-CAD42162848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FB7FD7-1337-425B-A227-B659A64CE19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696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 with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3010180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F6C0BA-F5D8-4B1E-938B-E4EFD61EBD27}"/>
              </a:ext>
            </a:extLst>
          </p:cNvPr>
          <p:cNvSpPr/>
          <p:nvPr userDrawn="1"/>
        </p:nvSpPr>
        <p:spPr>
          <a:xfrm>
            <a:off x="0" y="0"/>
            <a:ext cx="12192000" cy="61407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4866" y="1836492"/>
            <a:ext cx="10541633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6" y="2241549"/>
            <a:ext cx="10541633" cy="378015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 err="1"/>
              <a:t>Sixt</a:t>
            </a:r>
            <a:r>
              <a:rPr lang="en-GB" noProof="0"/>
              <a:t> level</a:t>
            </a:r>
          </a:p>
          <a:p>
            <a:pPr lvl="6"/>
            <a:r>
              <a:rPr lang="en-GB" noProof="0"/>
              <a:t>Seventh level</a:t>
            </a:r>
          </a:p>
          <a:p>
            <a:pPr lvl="7"/>
            <a:r>
              <a:rPr lang="en-GB" noProof="0"/>
              <a:t>Eight level</a:t>
            </a:r>
          </a:p>
          <a:p>
            <a:pPr lvl="8"/>
            <a:r>
              <a:rPr lang="en-GB" noProof="0" err="1"/>
              <a:t>Nineth</a:t>
            </a:r>
            <a:r>
              <a:rPr lang="en-GB" noProof="0"/>
              <a:t>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9176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5478263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1830707"/>
            <a:ext cx="4968240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 err="1"/>
              <a:t>Sixt</a:t>
            </a:r>
            <a:r>
              <a:rPr lang="en-GB" noProof="0"/>
              <a:t> level</a:t>
            </a:r>
          </a:p>
          <a:p>
            <a:pPr lvl="6"/>
            <a:r>
              <a:rPr lang="en-GB" noProof="0"/>
              <a:t>Seventh level</a:t>
            </a:r>
          </a:p>
          <a:p>
            <a:pPr lvl="7"/>
            <a:r>
              <a:rPr lang="en-GB" noProof="0"/>
              <a:t>Eight level</a:t>
            </a:r>
          </a:p>
          <a:p>
            <a:pPr lvl="8"/>
            <a:r>
              <a:rPr lang="en-GB" noProof="0" err="1"/>
              <a:t>Nineth</a:t>
            </a:r>
            <a:r>
              <a:rPr lang="en-GB" noProof="0"/>
              <a:t>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9E18CF8-020B-4471-89E6-85F54EEEFE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98898" y="1830707"/>
            <a:ext cx="4966335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 err="1"/>
              <a:t>Sixt</a:t>
            </a:r>
            <a:r>
              <a:rPr lang="en-GB" noProof="0"/>
              <a:t> level</a:t>
            </a:r>
          </a:p>
          <a:p>
            <a:pPr lvl="6"/>
            <a:r>
              <a:rPr lang="en-GB" noProof="0"/>
              <a:t>Seventh level</a:t>
            </a:r>
          </a:p>
          <a:p>
            <a:pPr lvl="7"/>
            <a:r>
              <a:rPr lang="en-GB" noProof="0"/>
              <a:t>Eight level</a:t>
            </a:r>
          </a:p>
          <a:p>
            <a:pPr lvl="8"/>
            <a:r>
              <a:rPr lang="en-GB" noProof="0" err="1"/>
              <a:t>Nineth</a:t>
            </a:r>
            <a:r>
              <a:rPr lang="en-GB" noProof="0"/>
              <a:t>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A561E1-8545-4FA9-9BDC-392506752BA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054F62-0B85-4EBD-84A4-5D56AA871C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3192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2108368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1830707"/>
            <a:ext cx="4968240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 err="1"/>
              <a:t>Sixt</a:t>
            </a:r>
            <a:r>
              <a:rPr lang="en-GB" noProof="0"/>
              <a:t> level</a:t>
            </a:r>
          </a:p>
          <a:p>
            <a:pPr lvl="6"/>
            <a:r>
              <a:rPr lang="en-GB" noProof="0"/>
              <a:t>Seventh level</a:t>
            </a:r>
          </a:p>
          <a:p>
            <a:pPr lvl="7"/>
            <a:r>
              <a:rPr lang="en-GB" noProof="0"/>
              <a:t>Eight level</a:t>
            </a:r>
          </a:p>
          <a:p>
            <a:pPr lvl="8"/>
            <a:r>
              <a:rPr lang="en-GB" noProof="0" err="1"/>
              <a:t>Nineth</a:t>
            </a:r>
            <a:r>
              <a:rPr lang="en-GB" noProof="0"/>
              <a:t>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A05AB-16D4-4417-A29E-1217E774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99213" y="3175"/>
            <a:ext cx="5792787" cy="6854825"/>
          </a:xfrm>
        </p:spPr>
        <p:txBody>
          <a:bodyPr/>
          <a:lstStyle/>
          <a:p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3B4242-62B9-435B-86D3-DEEA7ACF2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237" y="577216"/>
            <a:ext cx="4963552" cy="90709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ABC70E0-D795-488D-8AC2-298449E2BE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5E9F28C-9388-465B-9107-6F50B2EE6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7316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 hea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373902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4867" y="1836492"/>
            <a:ext cx="4968240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851DCF0-9768-4EEE-9C12-5CAFCAFF4C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98898" y="1836492"/>
            <a:ext cx="4966336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8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2241549"/>
            <a:ext cx="4968240" cy="378015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 err="1"/>
              <a:t>Sixt</a:t>
            </a:r>
            <a:r>
              <a:rPr lang="en-GB" noProof="0"/>
              <a:t> level</a:t>
            </a:r>
          </a:p>
          <a:p>
            <a:pPr lvl="6"/>
            <a:r>
              <a:rPr lang="en-GB" noProof="0"/>
              <a:t>Seventh level</a:t>
            </a:r>
          </a:p>
          <a:p>
            <a:pPr lvl="7"/>
            <a:r>
              <a:rPr lang="en-GB" noProof="0"/>
              <a:t>Eight level</a:t>
            </a:r>
          </a:p>
          <a:p>
            <a:pPr lvl="8"/>
            <a:r>
              <a:rPr lang="en-GB" noProof="0" err="1"/>
              <a:t>Nineth</a:t>
            </a:r>
            <a:r>
              <a:rPr lang="en-GB" noProof="0"/>
              <a:t> level</a:t>
            </a:r>
          </a:p>
        </p:txBody>
      </p:sp>
      <p:sp>
        <p:nvSpPr>
          <p:cNvPr id="15" name="Content Placeholder 12">
            <a:extLst>
              <a:ext uri="{FF2B5EF4-FFF2-40B4-BE49-F238E27FC236}">
                <a16:creationId xmlns:a16="http://schemas.microsoft.com/office/drawing/2014/main" id="{3279856D-28DF-4275-908D-D6BF96710C7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98898" y="2241549"/>
            <a:ext cx="4966335" cy="378015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 err="1"/>
              <a:t>Sixt</a:t>
            </a:r>
            <a:r>
              <a:rPr lang="en-GB" noProof="0"/>
              <a:t> level</a:t>
            </a:r>
          </a:p>
          <a:p>
            <a:pPr lvl="6"/>
            <a:r>
              <a:rPr lang="en-GB" noProof="0"/>
              <a:t>Seventh level</a:t>
            </a:r>
          </a:p>
          <a:p>
            <a:pPr lvl="7"/>
            <a:r>
              <a:rPr lang="en-GB" noProof="0"/>
              <a:t>Eight level</a:t>
            </a:r>
          </a:p>
          <a:p>
            <a:pPr lvl="8"/>
            <a:r>
              <a:rPr lang="en-GB" noProof="0" err="1"/>
              <a:t>Nineth</a:t>
            </a:r>
            <a:r>
              <a:rPr lang="en-GB" noProof="0"/>
              <a:t>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2491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 hea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0032039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4867" y="1836492"/>
            <a:ext cx="4968240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2241549"/>
            <a:ext cx="4968240" cy="378015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 err="1"/>
              <a:t>Sixt</a:t>
            </a:r>
            <a:r>
              <a:rPr lang="en-GB" noProof="0"/>
              <a:t> level</a:t>
            </a:r>
          </a:p>
          <a:p>
            <a:pPr lvl="6"/>
            <a:r>
              <a:rPr lang="en-GB" noProof="0"/>
              <a:t>Seventh level</a:t>
            </a:r>
          </a:p>
          <a:p>
            <a:pPr lvl="7"/>
            <a:r>
              <a:rPr lang="en-GB" noProof="0"/>
              <a:t>Eight level</a:t>
            </a:r>
          </a:p>
          <a:p>
            <a:pPr lvl="8"/>
            <a:r>
              <a:rPr lang="en-GB" noProof="0" err="1"/>
              <a:t>Nineth</a:t>
            </a:r>
            <a:r>
              <a:rPr lang="en-GB" noProof="0"/>
              <a:t> level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0C8456C9-98B9-4B92-A9A4-9A0FFCE17519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399213" y="1830388"/>
            <a:ext cx="4967287" cy="4191000"/>
          </a:xfrm>
        </p:spPr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665D8F-5853-4213-A499-47CFC77993B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368E036-9C4C-4396-9444-5A589716F3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217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with Sub hea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192578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237" y="577216"/>
            <a:ext cx="4963552" cy="90709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4867" y="1836492"/>
            <a:ext cx="4968240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2241549"/>
            <a:ext cx="4968240" cy="378015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 err="1"/>
              <a:t>Sixt</a:t>
            </a:r>
            <a:r>
              <a:rPr lang="en-GB" noProof="0"/>
              <a:t> level</a:t>
            </a:r>
          </a:p>
          <a:p>
            <a:pPr lvl="6"/>
            <a:r>
              <a:rPr lang="en-GB" noProof="0"/>
              <a:t>Seventh level</a:t>
            </a:r>
          </a:p>
          <a:p>
            <a:pPr lvl="7"/>
            <a:r>
              <a:rPr lang="en-GB" noProof="0"/>
              <a:t>Eight level</a:t>
            </a:r>
          </a:p>
          <a:p>
            <a:pPr lvl="8"/>
            <a:r>
              <a:rPr lang="en-GB" noProof="0" err="1"/>
              <a:t>Nineth</a:t>
            </a:r>
            <a:r>
              <a:rPr lang="en-GB" noProof="0"/>
              <a:t> level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7C1D5F55-2691-47AF-8B04-7C6A7A77DC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99213" y="3175"/>
            <a:ext cx="5792787" cy="6854825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0370756-D056-4567-AAA8-F01FC46FB9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636BE3-5129-43BD-8534-2B1949CCA0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8494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 with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9506838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F6C0BA-F5D8-4B1E-938B-E4EFD61EBD27}"/>
              </a:ext>
            </a:extLst>
          </p:cNvPr>
          <p:cNvSpPr/>
          <p:nvPr userDrawn="1"/>
        </p:nvSpPr>
        <p:spPr>
          <a:xfrm>
            <a:off x="0" y="0"/>
            <a:ext cx="12192000" cy="61407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4866" y="1836492"/>
            <a:ext cx="10541633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6" y="2241549"/>
            <a:ext cx="10541633" cy="378015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683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41198B-7822-4395-9D3F-40CE6DC01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3119100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41198B-7822-4395-9D3F-40CE6DC01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BB9E0B-F9DD-4869-B2C0-64A92559BA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E5C3AB9-69FD-4C4F-8D38-537257DD2F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D9BB4E4-A757-4FA8-BD51-8A76F8814B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1837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41198B-7822-4395-9D3F-40CE6DC01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0655599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41198B-7822-4395-9D3F-40CE6DC01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BB9E0B-F9DD-4869-B2C0-64A92559BA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5BA2E3-82B7-4C36-9767-793A81D6BD3A}"/>
              </a:ext>
            </a:extLst>
          </p:cNvPr>
          <p:cNvSpPr/>
          <p:nvPr userDrawn="1"/>
        </p:nvSpPr>
        <p:spPr>
          <a:xfrm>
            <a:off x="0" y="0"/>
            <a:ext cx="12192000" cy="61407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C2378D1-8F5C-4092-8710-DD705A3E84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5B8A1A-F1D3-443F-B5D4-76D5F0DBDD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3350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A702FF-1FBA-4017-9DB9-C02D09C91C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864018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A702FF-1FBA-4017-9DB9-C02D09C91C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3A72EFE-A939-4314-9B37-CFBB34A6B5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6CF783-739F-44F7-AB7E-B1400EF40E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2491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C70547-57E7-43AE-8B74-42412D44D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223609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C70547-57E7-43AE-8B74-42412D44D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21"/>
            <a:ext cx="12192000" cy="6179819"/>
          </a:xfrm>
        </p:spPr>
        <p:txBody>
          <a:bodyPr/>
          <a:lstStyle/>
          <a:p>
            <a:r>
              <a:rPr lang="en-GB" noProof="0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EBD1446-BADE-496E-A120-409A271657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841E6B-1A10-4CB5-A9B6-2036ABE3C1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229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C70547-57E7-43AE-8B74-42412D44D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145437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C70547-57E7-43AE-8B74-42412D44D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21"/>
            <a:ext cx="12192000" cy="6857979"/>
          </a:xfrm>
        </p:spPr>
        <p:txBody>
          <a:bodyPr/>
          <a:lstStyle/>
          <a:p>
            <a:r>
              <a:rPr lang="en-GB" noProof="0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EBD1446-BADE-496E-A120-409A271657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841E6B-1A10-4CB5-A9B6-2036ABE3C1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5820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021766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4867" y="1830707"/>
            <a:ext cx="4968240" cy="4191000"/>
          </a:xfrm>
        </p:spPr>
        <p:txBody>
          <a:bodyPr/>
          <a:lstStyle>
            <a:lvl1pPr marL="2057400" marR="0" indent="-2057400" algn="l" defTabSz="54861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None/>
              <a:tabLst/>
              <a:defRPr/>
            </a:lvl1pPr>
            <a:lvl2pPr marL="236212" indent="0">
              <a:buNone/>
              <a:defRPr/>
            </a:lvl2pPr>
            <a:lvl3pPr marL="496872" indent="0">
              <a:buNone/>
              <a:defRPr/>
            </a:lvl3pPr>
          </a:lstStyle>
          <a:p>
            <a:pPr lvl="0"/>
            <a:r>
              <a:rPr lang="en-GB"/>
              <a:t>00.00 – 00.00	Part o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A05AB-16D4-4417-A29E-1217E774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99213" y="3175"/>
            <a:ext cx="5792787" cy="6854825"/>
          </a:xfrm>
        </p:spPr>
        <p:txBody>
          <a:bodyPr/>
          <a:lstStyle/>
          <a:p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3B4242-62B9-435B-86D3-DEEA7ACF2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9237" y="577216"/>
            <a:ext cx="4963552" cy="90709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ABC70E0-D795-488D-8AC2-298449E2BE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5E9F28C-9388-465B-9107-6F50B2EE6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9214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403DDC-E99F-4F5C-9DB8-4CB79AB575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401822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403DDC-E99F-4F5C-9DB8-4CB79AB575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F600FB-64F8-427B-971C-CADB5FAA63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D5D76E-3B21-4346-8387-3ECEA55A7AF8}"/>
              </a:ext>
            </a:extLst>
          </p:cNvPr>
          <p:cNvSpPr/>
          <p:nvPr userDrawn="1"/>
        </p:nvSpPr>
        <p:spPr>
          <a:xfrm>
            <a:off x="0" y="0"/>
            <a:ext cx="12192000" cy="61407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25499" y="2753429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endParaRPr lang="en-GB" noProof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DFBA4834-1B47-48FA-B341-B048E3128F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5499" y="4822697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endParaRPr lang="en-GB" noProof="0"/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CD3F43B7-3974-4835-A8E9-FAB67672FBB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75298" y="2755017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endParaRPr lang="en-GB" noProof="0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0D2E8FF-F2DE-4D53-A047-6387A71314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5298" y="4824285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endParaRPr lang="en-GB" noProof="0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A89F8303-B8B6-4740-9407-07CFA2BE536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725097" y="2753429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endParaRPr lang="en-GB" noProof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65FBF798-2395-4DEA-893B-0A69A9C4E01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725097" y="4822697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endParaRPr lang="en-GB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3D80F3-4A3C-487A-BDD1-1179B87AD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AC487C7-5173-42A6-959E-EA91A12A5B8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7EDB19D-C3B2-48FD-864B-FA498F61F2C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42" name="Plassholder for tekst 13">
            <a:extLst>
              <a:ext uri="{FF2B5EF4-FFF2-40B4-BE49-F238E27FC236}">
                <a16:creationId xmlns:a16="http://schemas.microsoft.com/office/drawing/2014/main" id="{5B1FC8BA-51AF-415E-A4F8-0349DAF4E4A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75298" y="1830389"/>
            <a:ext cx="2640000" cy="719594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3" name="Plassholder for tekst 13">
            <a:extLst>
              <a:ext uri="{FF2B5EF4-FFF2-40B4-BE49-F238E27FC236}">
                <a16:creationId xmlns:a16="http://schemas.microsoft.com/office/drawing/2014/main" id="{C79AF395-5DA0-43BE-964A-9D760C68CFD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9236" y="1830389"/>
            <a:ext cx="2640000" cy="719594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4" name="Plassholder for tekst 13">
            <a:extLst>
              <a:ext uri="{FF2B5EF4-FFF2-40B4-BE49-F238E27FC236}">
                <a16:creationId xmlns:a16="http://schemas.microsoft.com/office/drawing/2014/main" id="{6F856F4B-C1E9-4A7E-ADC8-9BF349BDF8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6500" y="1830389"/>
            <a:ext cx="2640000" cy="719594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5" name="Plassholder for tekst 13">
            <a:extLst>
              <a:ext uri="{FF2B5EF4-FFF2-40B4-BE49-F238E27FC236}">
                <a16:creationId xmlns:a16="http://schemas.microsoft.com/office/drawing/2014/main" id="{1FAF68DD-F083-4112-AEE7-A6FF3667E23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76000" y="3898068"/>
            <a:ext cx="2640000" cy="719594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6" name="Plassholder for tekst 13">
            <a:extLst>
              <a:ext uri="{FF2B5EF4-FFF2-40B4-BE49-F238E27FC236}">
                <a16:creationId xmlns:a16="http://schemas.microsoft.com/office/drawing/2014/main" id="{A3BE0F03-ED02-4E92-AF74-B8C0C2010E1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9938" y="3898068"/>
            <a:ext cx="2640000" cy="719594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7" name="Plassholder for tekst 13">
            <a:extLst>
              <a:ext uri="{FF2B5EF4-FFF2-40B4-BE49-F238E27FC236}">
                <a16:creationId xmlns:a16="http://schemas.microsoft.com/office/drawing/2014/main" id="{56563C9C-49B1-46FC-BD14-AF22D17F3E9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727202" y="3898068"/>
            <a:ext cx="2640000" cy="719594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3040843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6400116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027498F8-B643-49CA-B711-9895BAAEF51D}"/>
              </a:ext>
            </a:extLst>
          </p:cNvPr>
          <p:cNvSpPr/>
          <p:nvPr userDrawn="1"/>
        </p:nvSpPr>
        <p:spPr>
          <a:xfrm>
            <a:off x="1235074" y="2"/>
            <a:ext cx="4860926" cy="479478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944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30393"/>
            <a:ext cx="4284663" cy="2271708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3600" cap="none" baseline="0">
                <a:solidFill>
                  <a:schemeClr val="tx2"/>
                </a:solidFill>
              </a:defRPr>
            </a:lvl1pPr>
          </a:lstStyle>
          <a:p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5944DA81-A1C5-4AC7-A37D-7026E9D402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5074" y="4368356"/>
            <a:ext cx="4860926" cy="427979"/>
          </a:xfrm>
          <a:solidFill>
            <a:schemeClr val="accent2">
              <a:lumMod val="60000"/>
              <a:lumOff val="40000"/>
            </a:schemeClr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600" cap="all" baseline="0">
                <a:solidFill>
                  <a:schemeClr val="tx2"/>
                </a:solidFill>
              </a:defRPr>
            </a:lvl1pPr>
            <a:lvl2pPr marL="5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48863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02">
    <p:bg>
      <p:bgPr>
        <a:solidFill>
          <a:schemeClr val="accent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5349985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/>
            </a:lvl1pPr>
          </a:lstStyle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30393"/>
            <a:ext cx="4284663" cy="2271708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3600" cap="none" baseline="0">
                <a:solidFill>
                  <a:schemeClr val="tx2"/>
                </a:solidFill>
              </a:defRPr>
            </a:lvl1pPr>
          </a:lstStyle>
          <a:p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99E99776-DDA5-4531-9FAA-7E1F063C97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5074" y="4368356"/>
            <a:ext cx="4860926" cy="427979"/>
          </a:xfrm>
          <a:solidFill>
            <a:schemeClr val="accent2">
              <a:lumMod val="60000"/>
              <a:lumOff val="40000"/>
            </a:schemeClr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600" cap="all" baseline="0">
                <a:solidFill>
                  <a:schemeClr val="tx2"/>
                </a:solidFill>
              </a:defRPr>
            </a:lvl1pPr>
            <a:lvl2pPr marL="5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90748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425057-A686-4E31-B8A1-F9DA3356AD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816256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425057-A686-4E31-B8A1-F9DA3356AD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60EACD11-8C82-4B33-9818-2E9B80C745F4}"/>
              </a:ext>
            </a:extLst>
          </p:cNvPr>
          <p:cNvSpPr/>
          <p:nvPr userDrawn="1"/>
        </p:nvSpPr>
        <p:spPr>
          <a:xfrm>
            <a:off x="0" y="0"/>
            <a:ext cx="6096000" cy="61407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A07FF22D-3C6C-48BB-8040-D34A9441D6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35076" y="1484313"/>
            <a:ext cx="3636962" cy="4127919"/>
          </a:xfrm>
          <a:blipFill dpi="0" rotWithShape="0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10000" b="98000"/>
            </a:stretch>
          </a:blipFill>
        </p:spPr>
        <p:txBody>
          <a:bodyPr lIns="0" tIns="288000" rIns="0" bIns="0">
            <a:noAutofit/>
          </a:bodyPr>
          <a:lstStyle>
            <a:lvl1pPr marL="0" indent="0" eaLnBrk="1">
              <a:lnSpc>
                <a:spcPct val="100000"/>
              </a:lnSpc>
              <a:buNone/>
              <a:defRPr sz="32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C69016-ED83-4DA8-8515-95C6620C560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41C938-DD81-4B48-A39A-291BD5BE17D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88CA222-7E26-47F7-846B-8C915D47E00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0"/>
            <a:ext cx="6096000" cy="6140450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11587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78">
          <p15:clr>
            <a:srgbClr val="FBAE40"/>
          </p15:clr>
        </p15:guide>
        <p15:guide id="2" pos="3840">
          <p15:clr>
            <a:srgbClr val="FBAE40"/>
          </p15:clr>
        </p15:guide>
        <p15:guide id="3" pos="306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6930177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1830707"/>
            <a:ext cx="4968240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9E18CF8-020B-4471-89E6-85F54EEEFE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98898" y="1830707"/>
            <a:ext cx="4966335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A561E1-8545-4FA9-9BDC-392506752BA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054F62-0B85-4EBD-84A4-5D56AA871C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7887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 userDrawn="1">
          <p15:clr>
            <a:srgbClr val="FBAE40"/>
          </p15:clr>
        </p15:guide>
        <p15:guide id="2" pos="4031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541059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raphic 5">
            <a:extLst>
              <a:ext uri="{FF2B5EF4-FFF2-40B4-BE49-F238E27FC236}">
                <a16:creationId xmlns:a16="http://schemas.microsoft.com/office/drawing/2014/main" id="{3A45DB2C-420A-4A46-9176-30488C4A057E}"/>
              </a:ext>
            </a:extLst>
          </p:cNvPr>
          <p:cNvSpPr/>
          <p:nvPr/>
        </p:nvSpPr>
        <p:spPr>
          <a:xfrm>
            <a:off x="4926457" y="0"/>
            <a:ext cx="7265543" cy="6845276"/>
          </a:xfrm>
          <a:custGeom>
            <a:avLst/>
            <a:gdLst>
              <a:gd name="connsiteX0" fmla="*/ 2134621 w 7265542"/>
              <a:gd name="connsiteY0" fmla="*/ 6837897 h 6845276"/>
              <a:gd name="connsiteX1" fmla="*/ 1877972 w 7265542"/>
              <a:gd name="connsiteY1" fmla="*/ 6655441 h 6845276"/>
              <a:gd name="connsiteX2" fmla="*/ 1560503 w 7265542"/>
              <a:gd name="connsiteY2" fmla="*/ 6389519 h 6845276"/>
              <a:gd name="connsiteX3" fmla="*/ 1495609 w 7265542"/>
              <a:gd name="connsiteY3" fmla="*/ 6305670 h 6845276"/>
              <a:gd name="connsiteX4" fmla="*/ 1541926 w 7265542"/>
              <a:gd name="connsiteY4" fmla="*/ 6292947 h 6845276"/>
              <a:gd name="connsiteX5" fmla="*/ 1909402 w 7265542"/>
              <a:gd name="connsiteY5" fmla="*/ 6333789 h 6845276"/>
              <a:gd name="connsiteX6" fmla="*/ 2362258 w 7265542"/>
              <a:gd name="connsiteY6" fmla="*/ 6339133 h 6845276"/>
              <a:gd name="connsiteX7" fmla="*/ 2887769 w 7265542"/>
              <a:gd name="connsiteY7" fmla="*/ 6288239 h 6845276"/>
              <a:gd name="connsiteX8" fmla="*/ 3362637 w 7265542"/>
              <a:gd name="connsiteY8" fmla="*/ 6207444 h 6845276"/>
              <a:gd name="connsiteX9" fmla="*/ 3823255 w 7265542"/>
              <a:gd name="connsiteY9" fmla="*/ 6126650 h 6845276"/>
              <a:gd name="connsiteX10" fmla="*/ 4278274 w 7265542"/>
              <a:gd name="connsiteY10" fmla="*/ 6088479 h 6845276"/>
              <a:gd name="connsiteX11" fmla="*/ 4877204 w 7265542"/>
              <a:gd name="connsiteY11" fmla="*/ 6126650 h 6845276"/>
              <a:gd name="connsiteX12" fmla="*/ 5343929 w 7265542"/>
              <a:gd name="connsiteY12" fmla="*/ 6239635 h 6845276"/>
              <a:gd name="connsiteX13" fmla="*/ 5368487 w 7265542"/>
              <a:gd name="connsiteY13" fmla="*/ 6267372 h 6845276"/>
              <a:gd name="connsiteX14" fmla="*/ 5347238 w 7265542"/>
              <a:gd name="connsiteY14" fmla="*/ 6276406 h 6845276"/>
              <a:gd name="connsiteX15" fmla="*/ 4678070 w 7265542"/>
              <a:gd name="connsiteY15" fmla="*/ 6324629 h 6845276"/>
              <a:gd name="connsiteX16" fmla="*/ 3901891 w 7265542"/>
              <a:gd name="connsiteY16" fmla="*/ 6573374 h 6845276"/>
              <a:gd name="connsiteX17" fmla="*/ 3526017 w 7265542"/>
              <a:gd name="connsiteY17" fmla="*/ 6721095 h 6845276"/>
              <a:gd name="connsiteX18" fmla="*/ 3009413 w 7265542"/>
              <a:gd name="connsiteY18" fmla="*/ 6854310 h 6845276"/>
              <a:gd name="connsiteX19" fmla="*/ 7275215 w 7265542"/>
              <a:gd name="connsiteY19" fmla="*/ 6854311 h 6845276"/>
              <a:gd name="connsiteX20" fmla="*/ 7275215 w 7265542"/>
              <a:gd name="connsiteY20" fmla="*/ 0 h 6845276"/>
              <a:gd name="connsiteX21" fmla="*/ 1146711 w 7265542"/>
              <a:gd name="connsiteY21" fmla="*/ 0 h 6845276"/>
              <a:gd name="connsiteX22" fmla="*/ 2 w 7265542"/>
              <a:gd name="connsiteY22" fmla="*/ 3050347 h 6845276"/>
              <a:gd name="connsiteX23" fmla="*/ 1986638 w 7265542"/>
              <a:gd name="connsiteY23" fmla="*/ 6854692 h 6845276"/>
              <a:gd name="connsiteX24" fmla="*/ 2162105 w 7265542"/>
              <a:gd name="connsiteY24" fmla="*/ 6854692 h 6845276"/>
              <a:gd name="connsiteX25" fmla="*/ 2134621 w 7265542"/>
              <a:gd name="connsiteY25" fmla="*/ 6837897 h 6845276"/>
              <a:gd name="connsiteX26" fmla="*/ 481360 w 7265542"/>
              <a:gd name="connsiteY26" fmla="*/ 1206321 h 6845276"/>
              <a:gd name="connsiteX27" fmla="*/ 755694 w 7265542"/>
              <a:gd name="connsiteY27" fmla="*/ 684655 h 6845276"/>
              <a:gd name="connsiteX28" fmla="*/ 796285 w 7265542"/>
              <a:gd name="connsiteY28" fmla="*/ 621037 h 6845276"/>
              <a:gd name="connsiteX29" fmla="*/ 858761 w 7265542"/>
              <a:gd name="connsiteY29" fmla="*/ 601061 h 6845276"/>
              <a:gd name="connsiteX30" fmla="*/ 893498 w 7265542"/>
              <a:gd name="connsiteY30" fmla="*/ 609204 h 6845276"/>
              <a:gd name="connsiteX31" fmla="*/ 1269626 w 7265542"/>
              <a:gd name="connsiteY31" fmla="*/ 624727 h 6845276"/>
              <a:gd name="connsiteX32" fmla="*/ 2060311 w 7265542"/>
              <a:gd name="connsiteY32" fmla="*/ 534390 h 6845276"/>
              <a:gd name="connsiteX33" fmla="*/ 2977475 w 7265542"/>
              <a:gd name="connsiteY33" fmla="*/ 385778 h 6845276"/>
              <a:gd name="connsiteX34" fmla="*/ 3465449 w 7265542"/>
              <a:gd name="connsiteY34" fmla="*/ 307529 h 6845276"/>
              <a:gd name="connsiteX35" fmla="*/ 4516472 w 7265542"/>
              <a:gd name="connsiteY35" fmla="*/ 287171 h 6845276"/>
              <a:gd name="connsiteX36" fmla="*/ 5616610 w 7265542"/>
              <a:gd name="connsiteY36" fmla="*/ 451559 h 6845276"/>
              <a:gd name="connsiteX37" fmla="*/ 6033074 w 7265542"/>
              <a:gd name="connsiteY37" fmla="*/ 554366 h 6845276"/>
              <a:gd name="connsiteX38" fmla="*/ 6356270 w 7265542"/>
              <a:gd name="connsiteY38" fmla="*/ 650556 h 6845276"/>
              <a:gd name="connsiteX39" fmla="*/ 6368104 w 7265542"/>
              <a:gd name="connsiteY39" fmla="*/ 662389 h 6845276"/>
              <a:gd name="connsiteX40" fmla="*/ 6354235 w 7265542"/>
              <a:gd name="connsiteY40" fmla="*/ 670150 h 6845276"/>
              <a:gd name="connsiteX41" fmla="*/ 6323951 w 7265542"/>
              <a:gd name="connsiteY41" fmla="*/ 668623 h 6845276"/>
              <a:gd name="connsiteX42" fmla="*/ 5538483 w 7265542"/>
              <a:gd name="connsiteY42" fmla="*/ 638087 h 6845276"/>
              <a:gd name="connsiteX43" fmla="*/ 4388084 w 7265542"/>
              <a:gd name="connsiteY43" fmla="*/ 695852 h 6845276"/>
              <a:gd name="connsiteX44" fmla="*/ 3048476 w 7265542"/>
              <a:gd name="connsiteY44" fmla="*/ 978569 h 6845276"/>
              <a:gd name="connsiteX45" fmla="*/ 2052295 w 7265542"/>
              <a:gd name="connsiteY45" fmla="*/ 1292460 h 6845276"/>
              <a:gd name="connsiteX46" fmla="*/ 1135258 w 7265542"/>
              <a:gd name="connsiteY46" fmla="*/ 1461301 h 6845276"/>
              <a:gd name="connsiteX47" fmla="*/ 715994 w 7265542"/>
              <a:gd name="connsiteY47" fmla="*/ 1438653 h 6845276"/>
              <a:gd name="connsiteX48" fmla="*/ 512407 w 7265542"/>
              <a:gd name="connsiteY48" fmla="*/ 1355950 h 6845276"/>
              <a:gd name="connsiteX49" fmla="*/ 481360 w 7265542"/>
              <a:gd name="connsiteY49" fmla="*/ 1206321 h 6845276"/>
              <a:gd name="connsiteX50" fmla="*/ 90853 w 7265542"/>
              <a:gd name="connsiteY50" fmla="*/ 3171730 h 6845276"/>
              <a:gd name="connsiteX51" fmla="*/ 124444 w 7265542"/>
              <a:gd name="connsiteY51" fmla="*/ 2481222 h 6845276"/>
              <a:gd name="connsiteX52" fmla="*/ 130807 w 7265542"/>
              <a:gd name="connsiteY52" fmla="*/ 2431727 h 6845276"/>
              <a:gd name="connsiteX53" fmla="*/ 158673 w 7265542"/>
              <a:gd name="connsiteY53" fmla="*/ 2387958 h 6845276"/>
              <a:gd name="connsiteX54" fmla="*/ 223057 w 7265542"/>
              <a:gd name="connsiteY54" fmla="*/ 2384777 h 6845276"/>
              <a:gd name="connsiteX55" fmla="*/ 259322 w 7265542"/>
              <a:gd name="connsiteY55" fmla="*/ 2391266 h 6845276"/>
              <a:gd name="connsiteX56" fmla="*/ 507444 w 7265542"/>
              <a:gd name="connsiteY56" fmla="*/ 2427656 h 6845276"/>
              <a:gd name="connsiteX57" fmla="*/ 1094159 w 7265542"/>
              <a:gd name="connsiteY57" fmla="*/ 2453103 h 6845276"/>
              <a:gd name="connsiteX58" fmla="*/ 1746532 w 7265542"/>
              <a:gd name="connsiteY58" fmla="*/ 2400936 h 6845276"/>
              <a:gd name="connsiteX59" fmla="*/ 2181191 w 7265542"/>
              <a:gd name="connsiteY59" fmla="*/ 2333247 h 6845276"/>
              <a:gd name="connsiteX60" fmla="*/ 2915889 w 7265542"/>
              <a:gd name="connsiteY60" fmla="*/ 2187562 h 6845276"/>
              <a:gd name="connsiteX61" fmla="*/ 3574496 w 7265542"/>
              <a:gd name="connsiteY61" fmla="*/ 2056255 h 6845276"/>
              <a:gd name="connsiteX62" fmla="*/ 4130291 w 7265542"/>
              <a:gd name="connsiteY62" fmla="*/ 1971898 h 6845276"/>
              <a:gd name="connsiteX63" fmla="*/ 4859390 w 7265542"/>
              <a:gd name="connsiteY63" fmla="*/ 1932327 h 6845276"/>
              <a:gd name="connsiteX64" fmla="*/ 5559223 w 7265542"/>
              <a:gd name="connsiteY64" fmla="*/ 1978769 h 6845276"/>
              <a:gd name="connsiteX65" fmla="*/ 6203070 w 7265542"/>
              <a:gd name="connsiteY65" fmla="*/ 2094298 h 6845276"/>
              <a:gd name="connsiteX66" fmla="*/ 6813071 w 7265542"/>
              <a:gd name="connsiteY66" fmla="*/ 2274591 h 6845276"/>
              <a:gd name="connsiteX67" fmla="*/ 7072900 w 7265542"/>
              <a:gd name="connsiteY67" fmla="*/ 2378543 h 6845276"/>
              <a:gd name="connsiteX68" fmla="*/ 7081807 w 7265542"/>
              <a:gd name="connsiteY68" fmla="*/ 2395338 h 6845276"/>
              <a:gd name="connsiteX69" fmla="*/ 7056358 w 7265542"/>
              <a:gd name="connsiteY69" fmla="*/ 2404372 h 6845276"/>
              <a:gd name="connsiteX70" fmla="*/ 6849080 w 7265542"/>
              <a:gd name="connsiteY70" fmla="*/ 2399537 h 6845276"/>
              <a:gd name="connsiteX71" fmla="*/ 5240990 w 7265542"/>
              <a:gd name="connsiteY71" fmla="*/ 2475878 h 6845276"/>
              <a:gd name="connsiteX72" fmla="*/ 3948462 w 7265542"/>
              <a:gd name="connsiteY72" fmla="*/ 2780480 h 6845276"/>
              <a:gd name="connsiteX73" fmla="*/ 2170630 w 7265542"/>
              <a:gd name="connsiteY73" fmla="*/ 3365764 h 6845276"/>
              <a:gd name="connsiteX74" fmla="*/ 585826 w 7265542"/>
              <a:gd name="connsiteY74" fmla="*/ 3561071 h 6845276"/>
              <a:gd name="connsiteX75" fmla="*/ 183231 w 7265542"/>
              <a:gd name="connsiteY75" fmla="*/ 3421875 h 6845276"/>
              <a:gd name="connsiteX76" fmla="*/ 90853 w 7265542"/>
              <a:gd name="connsiteY76" fmla="*/ 3171730 h 6845276"/>
              <a:gd name="connsiteX77" fmla="*/ 1182338 w 7265542"/>
              <a:gd name="connsiteY77" fmla="*/ 5427363 h 6845276"/>
              <a:gd name="connsiteX78" fmla="*/ 591552 w 7265542"/>
              <a:gd name="connsiteY78" fmla="*/ 5123270 h 6845276"/>
              <a:gd name="connsiteX79" fmla="*/ 349791 w 7265542"/>
              <a:gd name="connsiteY79" fmla="*/ 4568904 h 6845276"/>
              <a:gd name="connsiteX80" fmla="*/ 334013 w 7265542"/>
              <a:gd name="connsiteY80" fmla="*/ 4521572 h 6845276"/>
              <a:gd name="connsiteX81" fmla="*/ 338339 w 7265542"/>
              <a:gd name="connsiteY81" fmla="*/ 4457955 h 6845276"/>
              <a:gd name="connsiteX82" fmla="*/ 424991 w 7265542"/>
              <a:gd name="connsiteY82" fmla="*/ 4457955 h 6845276"/>
              <a:gd name="connsiteX83" fmla="*/ 1049497 w 7265542"/>
              <a:gd name="connsiteY83" fmla="*/ 4542312 h 6845276"/>
              <a:gd name="connsiteX84" fmla="*/ 1610127 w 7265542"/>
              <a:gd name="connsiteY84" fmla="*/ 4563433 h 6845276"/>
              <a:gd name="connsiteX85" fmla="*/ 2116552 w 7265542"/>
              <a:gd name="connsiteY85" fmla="*/ 4537986 h 6845276"/>
              <a:gd name="connsiteX86" fmla="*/ 2803661 w 7265542"/>
              <a:gd name="connsiteY86" fmla="*/ 4440142 h 6845276"/>
              <a:gd name="connsiteX87" fmla="*/ 3652623 w 7265542"/>
              <a:gd name="connsiteY87" fmla="*/ 4257813 h 6845276"/>
              <a:gd name="connsiteX88" fmla="*/ 4171772 w 7265542"/>
              <a:gd name="connsiteY88" fmla="*/ 4160605 h 6845276"/>
              <a:gd name="connsiteX89" fmla="*/ 4583401 w 7265542"/>
              <a:gd name="connsiteY89" fmla="*/ 4127905 h 6845276"/>
              <a:gd name="connsiteX90" fmla="*/ 5135888 w 7265542"/>
              <a:gd name="connsiteY90" fmla="*/ 4149154 h 6845276"/>
              <a:gd name="connsiteX91" fmla="*/ 5791059 w 7265542"/>
              <a:gd name="connsiteY91" fmla="*/ 4241400 h 6845276"/>
              <a:gd name="connsiteX92" fmla="*/ 6230555 w 7265542"/>
              <a:gd name="connsiteY92" fmla="*/ 4347514 h 6845276"/>
              <a:gd name="connsiteX93" fmla="*/ 6386427 w 7265542"/>
              <a:gd name="connsiteY93" fmla="*/ 4395609 h 6845276"/>
              <a:gd name="connsiteX94" fmla="*/ 6403605 w 7265542"/>
              <a:gd name="connsiteY94" fmla="*/ 4415967 h 6845276"/>
              <a:gd name="connsiteX95" fmla="*/ 6382737 w 7265542"/>
              <a:gd name="connsiteY95" fmla="*/ 4424492 h 6845276"/>
              <a:gd name="connsiteX96" fmla="*/ 6364541 w 7265542"/>
              <a:gd name="connsiteY96" fmla="*/ 4422711 h 6845276"/>
              <a:gd name="connsiteX97" fmla="*/ 5164390 w 7265542"/>
              <a:gd name="connsiteY97" fmla="*/ 4511775 h 6845276"/>
              <a:gd name="connsiteX98" fmla="*/ 4289599 w 7265542"/>
              <a:gd name="connsiteY98" fmla="*/ 4790167 h 6845276"/>
              <a:gd name="connsiteX99" fmla="*/ 3144417 w 7265542"/>
              <a:gd name="connsiteY99" fmla="*/ 5183070 h 6845276"/>
              <a:gd name="connsiteX100" fmla="*/ 1923780 w 7265542"/>
              <a:gd name="connsiteY100" fmla="*/ 5443013 h 6845276"/>
              <a:gd name="connsiteX101" fmla="*/ 1182338 w 7265542"/>
              <a:gd name="connsiteY101" fmla="*/ 5427363 h 684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7265542" h="6845276">
                <a:moveTo>
                  <a:pt x="2134621" y="6837897"/>
                </a:moveTo>
                <a:cubicBezTo>
                  <a:pt x="2134621" y="6837897"/>
                  <a:pt x="2045551" y="6778605"/>
                  <a:pt x="1877972" y="6655441"/>
                </a:cubicBezTo>
                <a:cubicBezTo>
                  <a:pt x="1773252" y="6578464"/>
                  <a:pt x="1643337" y="6464588"/>
                  <a:pt x="1560503" y="6389519"/>
                </a:cubicBezTo>
                <a:cubicBezTo>
                  <a:pt x="1536072" y="6366871"/>
                  <a:pt x="1493701" y="6324628"/>
                  <a:pt x="1495609" y="6305670"/>
                </a:cubicBezTo>
                <a:cubicBezTo>
                  <a:pt x="1495609" y="6305670"/>
                  <a:pt x="1496627" y="6287985"/>
                  <a:pt x="1541926" y="6292947"/>
                </a:cubicBezTo>
                <a:cubicBezTo>
                  <a:pt x="1587224" y="6297909"/>
                  <a:pt x="1720956" y="6319794"/>
                  <a:pt x="1909402" y="6333789"/>
                </a:cubicBezTo>
                <a:cubicBezTo>
                  <a:pt x="2060167" y="6343218"/>
                  <a:pt x="2211312" y="6345002"/>
                  <a:pt x="2362258" y="6339133"/>
                </a:cubicBezTo>
                <a:cubicBezTo>
                  <a:pt x="2539252" y="6333408"/>
                  <a:pt x="2727825" y="6310124"/>
                  <a:pt x="2887769" y="6288239"/>
                </a:cubicBezTo>
                <a:cubicBezTo>
                  <a:pt x="3047712" y="6266355"/>
                  <a:pt x="3362637" y="6207444"/>
                  <a:pt x="3362637" y="6207444"/>
                </a:cubicBezTo>
                <a:cubicBezTo>
                  <a:pt x="3362637" y="6207444"/>
                  <a:pt x="3615214" y="6158459"/>
                  <a:pt x="3823255" y="6126650"/>
                </a:cubicBezTo>
                <a:cubicBezTo>
                  <a:pt x="3973869" y="6103476"/>
                  <a:pt x="4125904" y="6090723"/>
                  <a:pt x="4278274" y="6088479"/>
                </a:cubicBezTo>
                <a:cubicBezTo>
                  <a:pt x="4478495" y="6089387"/>
                  <a:pt x="4678488" y="6102132"/>
                  <a:pt x="4877204" y="6126650"/>
                </a:cubicBezTo>
                <a:cubicBezTo>
                  <a:pt x="5169862" y="6164820"/>
                  <a:pt x="5330060" y="6233146"/>
                  <a:pt x="5343929" y="6239635"/>
                </a:cubicBezTo>
                <a:cubicBezTo>
                  <a:pt x="5357799" y="6246124"/>
                  <a:pt x="5371287" y="6256430"/>
                  <a:pt x="5368487" y="6267372"/>
                </a:cubicBezTo>
                <a:cubicBezTo>
                  <a:pt x="5365688" y="6278315"/>
                  <a:pt x="5347238" y="6276406"/>
                  <a:pt x="5347238" y="6276406"/>
                </a:cubicBezTo>
                <a:cubicBezTo>
                  <a:pt x="5123140" y="6270490"/>
                  <a:pt x="4899003" y="6286642"/>
                  <a:pt x="4678070" y="6324629"/>
                </a:cubicBezTo>
                <a:cubicBezTo>
                  <a:pt x="4339478" y="6386592"/>
                  <a:pt x="3901891" y="6573374"/>
                  <a:pt x="3901891" y="6573374"/>
                </a:cubicBezTo>
                <a:lnTo>
                  <a:pt x="3526017" y="6721095"/>
                </a:lnTo>
                <a:cubicBezTo>
                  <a:pt x="3358065" y="6780596"/>
                  <a:pt x="3185194" y="6825174"/>
                  <a:pt x="3009413" y="6854310"/>
                </a:cubicBezTo>
                <a:lnTo>
                  <a:pt x="7275215" y="6854311"/>
                </a:lnTo>
                <a:lnTo>
                  <a:pt x="7275215" y="0"/>
                </a:lnTo>
                <a:lnTo>
                  <a:pt x="1146711" y="0"/>
                </a:lnTo>
                <a:cubicBezTo>
                  <a:pt x="406626" y="843748"/>
                  <a:pt x="-988" y="1928039"/>
                  <a:pt x="2" y="3050347"/>
                </a:cubicBezTo>
                <a:cubicBezTo>
                  <a:pt x="1" y="4622852"/>
                  <a:pt x="786360" y="6014937"/>
                  <a:pt x="1986638" y="6854692"/>
                </a:cubicBezTo>
                <a:lnTo>
                  <a:pt x="2162105" y="6854692"/>
                </a:lnTo>
                <a:cubicBezTo>
                  <a:pt x="2152501" y="6849854"/>
                  <a:pt x="2143308" y="6844237"/>
                  <a:pt x="2134621" y="6837897"/>
                </a:cubicBezTo>
                <a:close/>
                <a:moveTo>
                  <a:pt x="481360" y="1206321"/>
                </a:moveTo>
                <a:cubicBezTo>
                  <a:pt x="568648" y="1000072"/>
                  <a:pt x="755694" y="684655"/>
                  <a:pt x="755694" y="684655"/>
                </a:cubicBezTo>
                <a:cubicBezTo>
                  <a:pt x="755694" y="684655"/>
                  <a:pt x="773890" y="653609"/>
                  <a:pt x="796285" y="621037"/>
                </a:cubicBezTo>
                <a:cubicBezTo>
                  <a:pt x="818680" y="588465"/>
                  <a:pt x="858761" y="601061"/>
                  <a:pt x="858761" y="601061"/>
                </a:cubicBezTo>
                <a:lnTo>
                  <a:pt x="893498" y="609204"/>
                </a:lnTo>
                <a:cubicBezTo>
                  <a:pt x="1024049" y="637832"/>
                  <a:pt x="1269626" y="624727"/>
                  <a:pt x="1269626" y="624727"/>
                </a:cubicBezTo>
                <a:cubicBezTo>
                  <a:pt x="1534800" y="610731"/>
                  <a:pt x="1942103" y="551694"/>
                  <a:pt x="2060311" y="534390"/>
                </a:cubicBezTo>
                <a:cubicBezTo>
                  <a:pt x="2178519" y="517086"/>
                  <a:pt x="2977475" y="385778"/>
                  <a:pt x="2977475" y="385778"/>
                </a:cubicBezTo>
                <a:cubicBezTo>
                  <a:pt x="3170883" y="350661"/>
                  <a:pt x="3465449" y="307529"/>
                  <a:pt x="3465449" y="307529"/>
                </a:cubicBezTo>
                <a:cubicBezTo>
                  <a:pt x="3938791" y="242257"/>
                  <a:pt x="4516472" y="287171"/>
                  <a:pt x="4516472" y="287171"/>
                </a:cubicBezTo>
                <a:cubicBezTo>
                  <a:pt x="4999993" y="314908"/>
                  <a:pt x="5616610" y="451559"/>
                  <a:pt x="5616610" y="451559"/>
                </a:cubicBezTo>
                <a:cubicBezTo>
                  <a:pt x="5789914" y="487821"/>
                  <a:pt x="6033074" y="554366"/>
                  <a:pt x="6033074" y="554366"/>
                </a:cubicBezTo>
                <a:cubicBezTo>
                  <a:pt x="6136268" y="581594"/>
                  <a:pt x="6356270" y="650556"/>
                  <a:pt x="6356270" y="650556"/>
                </a:cubicBezTo>
                <a:cubicBezTo>
                  <a:pt x="6356270" y="650556"/>
                  <a:pt x="6370140" y="654246"/>
                  <a:pt x="6368104" y="662389"/>
                </a:cubicBezTo>
                <a:cubicBezTo>
                  <a:pt x="6366068" y="670532"/>
                  <a:pt x="6354235" y="670150"/>
                  <a:pt x="6354235" y="670150"/>
                </a:cubicBezTo>
                <a:lnTo>
                  <a:pt x="6323951" y="668623"/>
                </a:lnTo>
                <a:cubicBezTo>
                  <a:pt x="6258166" y="664170"/>
                  <a:pt x="5799203" y="640250"/>
                  <a:pt x="5538483" y="638087"/>
                </a:cubicBezTo>
                <a:cubicBezTo>
                  <a:pt x="5277763" y="635924"/>
                  <a:pt x="4979762" y="634651"/>
                  <a:pt x="4388084" y="695852"/>
                </a:cubicBezTo>
                <a:cubicBezTo>
                  <a:pt x="3796407" y="757052"/>
                  <a:pt x="3182207" y="940017"/>
                  <a:pt x="3048476" y="978569"/>
                </a:cubicBezTo>
                <a:cubicBezTo>
                  <a:pt x="2914744" y="1017122"/>
                  <a:pt x="2052295" y="1292460"/>
                  <a:pt x="2052295" y="1292460"/>
                </a:cubicBezTo>
                <a:cubicBezTo>
                  <a:pt x="1560248" y="1436490"/>
                  <a:pt x="1356279" y="1447687"/>
                  <a:pt x="1135258" y="1461301"/>
                </a:cubicBezTo>
                <a:cubicBezTo>
                  <a:pt x="995096" y="1468825"/>
                  <a:pt x="854531" y="1461232"/>
                  <a:pt x="715994" y="1438653"/>
                </a:cubicBezTo>
                <a:cubicBezTo>
                  <a:pt x="567503" y="1413206"/>
                  <a:pt x="512407" y="1355950"/>
                  <a:pt x="512407" y="1355950"/>
                </a:cubicBezTo>
                <a:cubicBezTo>
                  <a:pt x="439370" y="1285080"/>
                  <a:pt x="481360" y="1206321"/>
                  <a:pt x="481360" y="1206321"/>
                </a:cubicBezTo>
                <a:close/>
                <a:moveTo>
                  <a:pt x="90853" y="3171730"/>
                </a:moveTo>
                <a:cubicBezTo>
                  <a:pt x="75965" y="2855804"/>
                  <a:pt x="124444" y="2481222"/>
                  <a:pt x="124444" y="2481222"/>
                </a:cubicBezTo>
                <a:cubicBezTo>
                  <a:pt x="124444" y="2481222"/>
                  <a:pt x="126353" y="2463027"/>
                  <a:pt x="130807" y="2431727"/>
                </a:cubicBezTo>
                <a:cubicBezTo>
                  <a:pt x="132916" y="2413645"/>
                  <a:pt x="143181" y="2397521"/>
                  <a:pt x="158673" y="2387958"/>
                </a:cubicBezTo>
                <a:cubicBezTo>
                  <a:pt x="179320" y="2380418"/>
                  <a:pt x="201767" y="2379309"/>
                  <a:pt x="223057" y="2384777"/>
                </a:cubicBezTo>
                <a:lnTo>
                  <a:pt x="259322" y="2391266"/>
                </a:lnTo>
                <a:cubicBezTo>
                  <a:pt x="370023" y="2412515"/>
                  <a:pt x="507444" y="2427656"/>
                  <a:pt x="507444" y="2427656"/>
                </a:cubicBezTo>
                <a:cubicBezTo>
                  <a:pt x="702225" y="2449267"/>
                  <a:pt x="898238" y="2457768"/>
                  <a:pt x="1094159" y="2453103"/>
                </a:cubicBezTo>
                <a:cubicBezTo>
                  <a:pt x="1391143" y="2449540"/>
                  <a:pt x="1746532" y="2400936"/>
                  <a:pt x="1746532" y="2400936"/>
                </a:cubicBezTo>
                <a:cubicBezTo>
                  <a:pt x="1889806" y="2383760"/>
                  <a:pt x="2181191" y="2333247"/>
                  <a:pt x="2181191" y="2333247"/>
                </a:cubicBezTo>
                <a:cubicBezTo>
                  <a:pt x="2304744" y="2311999"/>
                  <a:pt x="2776686" y="2216572"/>
                  <a:pt x="2915889" y="2187562"/>
                </a:cubicBezTo>
                <a:cubicBezTo>
                  <a:pt x="3055092" y="2158552"/>
                  <a:pt x="3574496" y="2056255"/>
                  <a:pt x="3574496" y="2056255"/>
                </a:cubicBezTo>
                <a:cubicBezTo>
                  <a:pt x="3807986" y="2011086"/>
                  <a:pt x="4130291" y="1971898"/>
                  <a:pt x="4130291" y="1971898"/>
                </a:cubicBezTo>
                <a:cubicBezTo>
                  <a:pt x="4372258" y="1943481"/>
                  <a:pt x="4615769" y="1930265"/>
                  <a:pt x="4859390" y="1932327"/>
                </a:cubicBezTo>
                <a:cubicBezTo>
                  <a:pt x="5005465" y="1932327"/>
                  <a:pt x="5246971" y="1942506"/>
                  <a:pt x="5559223" y="1978769"/>
                </a:cubicBezTo>
                <a:cubicBezTo>
                  <a:pt x="5775652" y="2006382"/>
                  <a:pt x="5990543" y="2044942"/>
                  <a:pt x="6203070" y="2094298"/>
                </a:cubicBezTo>
                <a:cubicBezTo>
                  <a:pt x="6430707" y="2145193"/>
                  <a:pt x="6688119" y="2230059"/>
                  <a:pt x="6813071" y="2274591"/>
                </a:cubicBezTo>
                <a:cubicBezTo>
                  <a:pt x="6938023" y="2319124"/>
                  <a:pt x="7067556" y="2376380"/>
                  <a:pt x="7072900" y="2378543"/>
                </a:cubicBezTo>
                <a:cubicBezTo>
                  <a:pt x="7078244" y="2380706"/>
                  <a:pt x="7084733" y="2384396"/>
                  <a:pt x="7081807" y="2395338"/>
                </a:cubicBezTo>
                <a:cubicBezTo>
                  <a:pt x="7078880" y="2406280"/>
                  <a:pt x="7056358" y="2404372"/>
                  <a:pt x="7056358" y="2404372"/>
                </a:cubicBezTo>
                <a:lnTo>
                  <a:pt x="6849080" y="2399537"/>
                </a:lnTo>
                <a:cubicBezTo>
                  <a:pt x="6392153" y="2388722"/>
                  <a:pt x="5724130" y="2406026"/>
                  <a:pt x="5240990" y="2475878"/>
                </a:cubicBezTo>
                <a:cubicBezTo>
                  <a:pt x="4757851" y="2545730"/>
                  <a:pt x="4231322" y="2695614"/>
                  <a:pt x="3948462" y="2780480"/>
                </a:cubicBezTo>
                <a:cubicBezTo>
                  <a:pt x="3665601" y="2865346"/>
                  <a:pt x="3110697" y="3050347"/>
                  <a:pt x="2170630" y="3365764"/>
                </a:cubicBezTo>
                <a:cubicBezTo>
                  <a:pt x="1230563" y="3681181"/>
                  <a:pt x="585826" y="3561071"/>
                  <a:pt x="585826" y="3561071"/>
                </a:cubicBezTo>
                <a:cubicBezTo>
                  <a:pt x="359589" y="3533715"/>
                  <a:pt x="282607" y="3501397"/>
                  <a:pt x="183231" y="3421875"/>
                </a:cubicBezTo>
                <a:cubicBezTo>
                  <a:pt x="83855" y="3342353"/>
                  <a:pt x="90853" y="3171730"/>
                  <a:pt x="90853" y="3171730"/>
                </a:cubicBezTo>
                <a:close/>
                <a:moveTo>
                  <a:pt x="1182338" y="5427363"/>
                </a:moveTo>
                <a:cubicBezTo>
                  <a:pt x="1011579" y="5404588"/>
                  <a:pt x="718794" y="5359928"/>
                  <a:pt x="591552" y="5123270"/>
                </a:cubicBezTo>
                <a:cubicBezTo>
                  <a:pt x="464309" y="4886611"/>
                  <a:pt x="349791" y="4568904"/>
                  <a:pt x="349791" y="4568904"/>
                </a:cubicBezTo>
                <a:cubicBezTo>
                  <a:pt x="349791" y="4568904"/>
                  <a:pt x="342157" y="4543457"/>
                  <a:pt x="334013" y="4521572"/>
                </a:cubicBezTo>
                <a:cubicBezTo>
                  <a:pt x="325869" y="4499688"/>
                  <a:pt x="316581" y="4473223"/>
                  <a:pt x="338339" y="4457955"/>
                </a:cubicBezTo>
                <a:cubicBezTo>
                  <a:pt x="360098" y="4442687"/>
                  <a:pt x="424991" y="4457955"/>
                  <a:pt x="424991" y="4457955"/>
                </a:cubicBezTo>
                <a:cubicBezTo>
                  <a:pt x="662680" y="4506940"/>
                  <a:pt x="1049497" y="4542312"/>
                  <a:pt x="1049497" y="4542312"/>
                </a:cubicBezTo>
                <a:cubicBezTo>
                  <a:pt x="1276371" y="4564578"/>
                  <a:pt x="1610127" y="4563433"/>
                  <a:pt x="1610127" y="4563433"/>
                </a:cubicBezTo>
                <a:cubicBezTo>
                  <a:pt x="1814987" y="4564578"/>
                  <a:pt x="2116552" y="4537986"/>
                  <a:pt x="2116552" y="4537986"/>
                </a:cubicBezTo>
                <a:cubicBezTo>
                  <a:pt x="2399666" y="4515974"/>
                  <a:pt x="2803661" y="4440142"/>
                  <a:pt x="2803661" y="4440142"/>
                </a:cubicBezTo>
                <a:cubicBezTo>
                  <a:pt x="2977856" y="4408715"/>
                  <a:pt x="3401701" y="4313670"/>
                  <a:pt x="3652623" y="4257813"/>
                </a:cubicBezTo>
                <a:cubicBezTo>
                  <a:pt x="3903545" y="4201957"/>
                  <a:pt x="4171772" y="4160605"/>
                  <a:pt x="4171772" y="4160605"/>
                </a:cubicBezTo>
                <a:cubicBezTo>
                  <a:pt x="4308176" y="4141227"/>
                  <a:pt x="4445649" y="4130307"/>
                  <a:pt x="4583401" y="4127905"/>
                </a:cubicBezTo>
                <a:cubicBezTo>
                  <a:pt x="4583401" y="4127905"/>
                  <a:pt x="4854809" y="4123070"/>
                  <a:pt x="5135888" y="4149154"/>
                </a:cubicBezTo>
                <a:cubicBezTo>
                  <a:pt x="5355815" y="4167781"/>
                  <a:pt x="5574540" y="4198577"/>
                  <a:pt x="5791059" y="4241400"/>
                </a:cubicBezTo>
                <a:cubicBezTo>
                  <a:pt x="5997574" y="4281352"/>
                  <a:pt x="6195818" y="4337590"/>
                  <a:pt x="6230555" y="4347514"/>
                </a:cubicBezTo>
                <a:cubicBezTo>
                  <a:pt x="6265291" y="4357439"/>
                  <a:pt x="6378156" y="4392683"/>
                  <a:pt x="6386427" y="4395609"/>
                </a:cubicBezTo>
                <a:cubicBezTo>
                  <a:pt x="6394698" y="4398536"/>
                  <a:pt x="6407167" y="4405788"/>
                  <a:pt x="6403605" y="4415967"/>
                </a:cubicBezTo>
                <a:cubicBezTo>
                  <a:pt x="6400042" y="4426146"/>
                  <a:pt x="6382737" y="4424492"/>
                  <a:pt x="6382737" y="4424492"/>
                </a:cubicBezTo>
                <a:lnTo>
                  <a:pt x="6364541" y="4422711"/>
                </a:lnTo>
                <a:cubicBezTo>
                  <a:pt x="5798694" y="4367236"/>
                  <a:pt x="5164390" y="4511775"/>
                  <a:pt x="5164390" y="4511775"/>
                </a:cubicBezTo>
                <a:cubicBezTo>
                  <a:pt x="4939299" y="4557453"/>
                  <a:pt x="4609613" y="4672856"/>
                  <a:pt x="4289599" y="4790167"/>
                </a:cubicBezTo>
                <a:cubicBezTo>
                  <a:pt x="3969584" y="4907478"/>
                  <a:pt x="3551593" y="5057362"/>
                  <a:pt x="3144417" y="5183070"/>
                </a:cubicBezTo>
                <a:cubicBezTo>
                  <a:pt x="2737241" y="5308779"/>
                  <a:pt x="2259955" y="5408278"/>
                  <a:pt x="1923780" y="5443013"/>
                </a:cubicBezTo>
                <a:cubicBezTo>
                  <a:pt x="1587606" y="5477748"/>
                  <a:pt x="1182338" y="5427363"/>
                  <a:pt x="1182338" y="5427363"/>
                </a:cubicBezTo>
                <a:close/>
              </a:path>
            </a:pathLst>
          </a:custGeom>
          <a:solidFill>
            <a:schemeClr val="accent2"/>
          </a:solidFill>
          <a:ln w="12722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D68D7B-DF38-479E-8181-B200AE68BD7D}"/>
              </a:ext>
            </a:extLst>
          </p:cNvPr>
          <p:cNvSpPr/>
          <p:nvPr userDrawn="1"/>
        </p:nvSpPr>
        <p:spPr>
          <a:xfrm>
            <a:off x="1235074" y="2"/>
            <a:ext cx="4860926" cy="47947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944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6C8F9C-65F5-4250-AD42-B973C904C2CF}"/>
              </a:ext>
            </a:extLst>
          </p:cNvPr>
          <p:cNvGrpSpPr/>
          <p:nvPr userDrawn="1"/>
        </p:nvGrpSpPr>
        <p:grpSpPr>
          <a:xfrm>
            <a:off x="1533524" y="3103453"/>
            <a:ext cx="2243139" cy="606869"/>
            <a:chOff x="1533524" y="369094"/>
            <a:chExt cx="2243139" cy="606869"/>
          </a:xfrm>
        </p:grpSpPr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1F687E69-D217-4D8B-98A4-3BB1B88451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7F76E90C-FE8B-4B20-BF55-89FC5902AC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DE44801D-755E-474E-8741-3DDC88B64F98}"/>
              </a:ext>
            </a:extLst>
          </p:cNvPr>
          <p:cNvSpPr txBox="1"/>
          <p:nvPr userDrawn="1"/>
        </p:nvSpPr>
        <p:spPr>
          <a:xfrm>
            <a:off x="1524001" y="4342961"/>
            <a:ext cx="4284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  <a:buSzPct val="120000"/>
            </a:pPr>
            <a:r>
              <a:rPr lang="en-GB" sz="16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atkraft.com</a:t>
            </a:r>
          </a:p>
        </p:txBody>
      </p:sp>
    </p:spTree>
    <p:extLst>
      <p:ext uri="{BB962C8B-B14F-4D97-AF65-F5344CB8AC3E}">
        <p14:creationId xmlns:p14="http://schemas.microsoft.com/office/powerpoint/2010/main" val="2732685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8979424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t">
            <a:no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/>
            </a:lvl1pPr>
          </a:lstStyle>
          <a:p>
            <a:endParaRPr lang="en-GB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7CE9B5C-501B-458A-9AAE-82BC7915415C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D9D3D84-F3BF-4AAA-85BD-3D14ACE849EC}"/>
              </a:ext>
            </a:extLst>
          </p:cNvPr>
          <p:cNvGrpSpPr/>
          <p:nvPr userDrawn="1"/>
        </p:nvGrpSpPr>
        <p:grpSpPr>
          <a:xfrm>
            <a:off x="1533524" y="3103453"/>
            <a:ext cx="2243139" cy="606869"/>
            <a:chOff x="1533524" y="369094"/>
            <a:chExt cx="2243139" cy="606869"/>
          </a:xfrm>
        </p:grpSpPr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C99FE193-D0A4-440E-B317-9F342F4AFE4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03542199-FD88-48AE-AE87-02D8A29F14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A3C9C38-006A-4064-941D-3CF68D8A7EE0}"/>
              </a:ext>
            </a:extLst>
          </p:cNvPr>
          <p:cNvSpPr txBox="1"/>
          <p:nvPr userDrawn="1"/>
        </p:nvSpPr>
        <p:spPr>
          <a:xfrm>
            <a:off x="1524001" y="4342961"/>
            <a:ext cx="4284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  <a:buSzPct val="120000"/>
            </a:pPr>
            <a:r>
              <a:rPr lang="en-GB" sz="16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atkraft.com</a:t>
            </a:r>
          </a:p>
        </p:txBody>
      </p:sp>
    </p:spTree>
    <p:extLst>
      <p:ext uri="{BB962C8B-B14F-4D97-AF65-F5344CB8AC3E}">
        <p14:creationId xmlns:p14="http://schemas.microsoft.com/office/powerpoint/2010/main" val="1393403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5082041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8676" y="1830707"/>
            <a:ext cx="10536555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7937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1600" y="1390267"/>
            <a:ext cx="11174667" cy="461524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3220570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1600" y="1390267"/>
            <a:ext cx="11174667" cy="461524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8050915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1600" y="1390267"/>
            <a:ext cx="11174667" cy="461524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22589340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1600" y="1390267"/>
            <a:ext cx="11174667" cy="461524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042045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1600" y="1390267"/>
            <a:ext cx="11174667" cy="461524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76816619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1600" y="1390267"/>
            <a:ext cx="11174667" cy="461524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585965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1600" y="1390267"/>
            <a:ext cx="11174667" cy="461524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3350658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678971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1830707"/>
            <a:ext cx="4968240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A05AB-16D4-4417-A29E-1217E774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99213" y="3175"/>
            <a:ext cx="5792787" cy="68548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3B4242-62B9-435B-86D3-DEEA7ACF2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237" y="577216"/>
            <a:ext cx="4963552" cy="90709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ABC70E0-D795-488D-8AC2-298449E2BE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5E9F28C-9388-465B-9107-6F50B2EE6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9636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1600" y="1390267"/>
            <a:ext cx="11174667" cy="461524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7348799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1600" y="1390267"/>
            <a:ext cx="11174667" cy="461524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7009283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1600" y="1390267"/>
            <a:ext cx="11174667" cy="461524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03108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1600" y="1390267"/>
            <a:ext cx="11174667" cy="461524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34462481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1600" y="1390267"/>
            <a:ext cx="11174667" cy="461524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62065548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1600" y="1390267"/>
            <a:ext cx="11174667" cy="461524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8164345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1600" y="1390267"/>
            <a:ext cx="11174667" cy="461524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422274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 hea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896433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4867" y="1836492"/>
            <a:ext cx="4968240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851DCF0-9768-4EEE-9C12-5CAFCAFF4C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98898" y="1836492"/>
            <a:ext cx="4966336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8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2241549"/>
            <a:ext cx="4968240" cy="378015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15" name="Content Placeholder 12">
            <a:extLst>
              <a:ext uri="{FF2B5EF4-FFF2-40B4-BE49-F238E27FC236}">
                <a16:creationId xmlns:a16="http://schemas.microsoft.com/office/drawing/2014/main" id="{3279856D-28DF-4275-908D-D6BF96710C7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98898" y="2241549"/>
            <a:ext cx="4966335" cy="378015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6095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ags" Target="../tags/tag45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tags" Target="../tags/tag44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oleObject" Target="../embeddings/oleObject27.bin"/><Relationship Id="rId30" Type="http://schemas.openxmlformats.org/officeDocument/2006/relationships/image" Target="../media/image3.sv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theme" Target="../theme/theme3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oleObject" Target="../embeddings/oleObject51.bin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tags" Target="../tags/tag82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46" Type="http://schemas.openxmlformats.org/officeDocument/2006/relationships/image" Target="../media/image4.png"/><Relationship Id="rId20" Type="http://schemas.openxmlformats.org/officeDocument/2006/relationships/slideLayout" Target="../slideLayouts/slideLayout68.xml"/><Relationship Id="rId41" Type="http://schemas.openxmlformats.org/officeDocument/2006/relationships/tags" Target="../tags/tag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77721A6-BD6A-4708-8340-32907EB1DD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282516892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77721A6-BD6A-4708-8340-32907EB1D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E6A9C7A-2E23-48C6-AD30-0D78302C1A59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9236" y="577216"/>
            <a:ext cx="10535861" cy="9070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9239" y="1830707"/>
            <a:ext cx="10537900" cy="419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48031" y="6319500"/>
            <a:ext cx="4446000" cy="3651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 eaLnBrk="1">
              <a:defRPr sz="1000" b="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9236" y="6319500"/>
            <a:ext cx="452320" cy="3651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B727649-DA60-4222-B58B-0786112CEE78}"/>
              </a:ext>
            </a:extLst>
          </p:cNvPr>
          <p:cNvGrpSpPr/>
          <p:nvPr userDrawn="1"/>
        </p:nvGrpSpPr>
        <p:grpSpPr>
          <a:xfrm>
            <a:off x="10323364" y="6340537"/>
            <a:ext cx="1047345" cy="283354"/>
            <a:chOff x="1533524" y="369094"/>
            <a:chExt cx="2243139" cy="606869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EB54AED3-C389-47FA-B373-818250A154E3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A82BC5DF-C636-48C9-A020-1643C098A7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750577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650" r:id="rId3"/>
    <p:sldLayoutId id="2147483711" r:id="rId4"/>
    <p:sldLayoutId id="2147483707" r:id="rId5"/>
    <p:sldLayoutId id="2147483712" r:id="rId6"/>
    <p:sldLayoutId id="2147483652" r:id="rId7"/>
    <p:sldLayoutId id="2147483706" r:id="rId8"/>
    <p:sldLayoutId id="2147483708" r:id="rId9"/>
    <p:sldLayoutId id="2147483709" r:id="rId10"/>
    <p:sldLayoutId id="2147483710" r:id="rId11"/>
    <p:sldLayoutId id="2147483654" r:id="rId12"/>
    <p:sldLayoutId id="2147483702" r:id="rId13"/>
    <p:sldLayoutId id="2147483655" r:id="rId14"/>
    <p:sldLayoutId id="2147483678" r:id="rId15"/>
    <p:sldLayoutId id="2147483714" r:id="rId16"/>
    <p:sldLayoutId id="2147483713" r:id="rId17"/>
    <p:sldLayoutId id="2147483670" r:id="rId18"/>
    <p:sldLayoutId id="2147483699" r:id="rId19"/>
    <p:sldLayoutId id="2147483701" r:id="rId20"/>
    <p:sldLayoutId id="2147483705" r:id="rId21"/>
    <p:sldLayoutId id="2147483703" r:id="rId22"/>
    <p:sldLayoutId id="2147483704" r:id="rId23"/>
    <p:sldLayoutId id="2147483715" r:id="rId24"/>
    <p:sldLayoutId id="2147483716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54861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accent5"/>
          </a:solidFill>
          <a:latin typeface="Arial"/>
          <a:ea typeface="+mj-ea"/>
          <a:cs typeface="Arial"/>
        </a:defRPr>
      </a:lvl1pPr>
    </p:titleStyle>
    <p:bodyStyle>
      <a:lvl1pPr marL="215993" indent="-215993" algn="l" defTabSz="548610" rtl="0" eaLnBrk="1" latinLnBrk="0" hangingPunct="1">
        <a:lnSpc>
          <a:spcPct val="100000"/>
        </a:lnSpc>
        <a:spcBef>
          <a:spcPts val="12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2000" kern="1200">
          <a:solidFill>
            <a:schemeClr val="accent5"/>
          </a:solidFill>
          <a:latin typeface="Arial"/>
          <a:ea typeface="+mn-ea"/>
          <a:cs typeface="Arial"/>
        </a:defRPr>
      </a:lvl1pPr>
      <a:lvl2pPr marL="473075" indent="-236538" algn="l" defTabSz="54861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110000"/>
        <a:buFont typeface="Arial" panose="020B0604020202020204" pitchFamily="34" charset="0"/>
        <a:buChar char="-"/>
        <a:defRPr sz="1800" kern="1200">
          <a:solidFill>
            <a:schemeClr val="accent5"/>
          </a:solidFill>
          <a:latin typeface="Arial"/>
          <a:ea typeface="+mn-ea"/>
          <a:cs typeface="Arial"/>
        </a:defRPr>
      </a:lvl2pPr>
      <a:lvl3pPr marL="691176" indent="-194304" algn="l" defTabSz="54861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Arial"/>
          <a:ea typeface="+mn-ea"/>
          <a:cs typeface="Arial"/>
        </a:defRPr>
      </a:lvl3pPr>
      <a:lvl4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Arial"/>
          <a:ea typeface="+mn-ea"/>
          <a:cs typeface="Arial"/>
        </a:defRPr>
      </a:lvl4pPr>
      <a:lvl5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Arial"/>
          <a:ea typeface="+mn-ea"/>
          <a:cs typeface="Arial"/>
        </a:defRPr>
      </a:lvl5pPr>
      <a:lvl6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6pPr>
      <a:lvl7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7pPr>
      <a:lvl8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8pPr>
      <a:lvl9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10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21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831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440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051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660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269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8877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4" userDrawn="1">
          <p15:clr>
            <a:srgbClr val="F26B43"/>
          </p15:clr>
        </p15:guide>
        <p15:guide id="2" pos="520" userDrawn="1">
          <p15:clr>
            <a:srgbClr val="F26B43"/>
          </p15:clr>
        </p15:guide>
        <p15:guide id="3" pos="7160" userDrawn="1">
          <p15:clr>
            <a:srgbClr val="F26B43"/>
          </p15:clr>
        </p15:guide>
        <p15:guide id="4" orient="horz" pos="1153" userDrawn="1">
          <p15:clr>
            <a:srgbClr val="F26B43"/>
          </p15:clr>
        </p15:guide>
        <p15:guide id="5" orient="horz" pos="3793" userDrawn="1">
          <p15:clr>
            <a:srgbClr val="F26B43"/>
          </p15:clr>
        </p15:guide>
        <p15:guide id="6" orient="horz" pos="93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77721A6-BD6A-4708-8340-32907EB1DD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300585979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77721A6-BD6A-4708-8340-32907EB1D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E6A9C7A-2E23-48C6-AD30-0D78302C1A59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9236" y="577216"/>
            <a:ext cx="10535861" cy="9070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9239" y="1830707"/>
            <a:ext cx="10537900" cy="419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0604" y="6319500"/>
            <a:ext cx="4446000" cy="3651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 eaLnBrk="1">
              <a:defRPr sz="1000" b="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9236" y="6319500"/>
            <a:ext cx="452320" cy="3651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B727649-DA60-4222-B58B-0786112CEE78}"/>
              </a:ext>
            </a:extLst>
          </p:cNvPr>
          <p:cNvGrpSpPr/>
          <p:nvPr userDrawn="1"/>
        </p:nvGrpSpPr>
        <p:grpSpPr>
          <a:xfrm>
            <a:off x="10323364" y="6340537"/>
            <a:ext cx="1047345" cy="283354"/>
            <a:chOff x="1533524" y="369094"/>
            <a:chExt cx="2243139" cy="606869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EB54AED3-C389-47FA-B373-818250A154E3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A82BC5DF-C636-48C9-A020-1643C098A7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183213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54861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accent5"/>
          </a:solidFill>
          <a:latin typeface="Arial"/>
          <a:ea typeface="+mj-ea"/>
          <a:cs typeface="Arial"/>
        </a:defRPr>
      </a:lvl1pPr>
    </p:titleStyle>
    <p:bodyStyle>
      <a:lvl1pPr marL="215993" indent="-215993" algn="l" defTabSz="548610" rtl="0" eaLnBrk="1" latinLnBrk="0" hangingPunct="1">
        <a:lnSpc>
          <a:spcPct val="100000"/>
        </a:lnSpc>
        <a:spcBef>
          <a:spcPts val="12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2000" kern="1200">
          <a:solidFill>
            <a:schemeClr val="accent5"/>
          </a:solidFill>
          <a:latin typeface="Arial"/>
          <a:ea typeface="+mn-ea"/>
          <a:cs typeface="Arial"/>
        </a:defRPr>
      </a:lvl1pPr>
      <a:lvl2pPr marL="473075" indent="-236538" algn="l" defTabSz="54861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110000"/>
        <a:buFont typeface="Arial" panose="020B0604020202020204" pitchFamily="34" charset="0"/>
        <a:buChar char="-"/>
        <a:defRPr sz="1800" kern="1200">
          <a:solidFill>
            <a:schemeClr val="accent5"/>
          </a:solidFill>
          <a:latin typeface="Arial"/>
          <a:ea typeface="+mn-ea"/>
          <a:cs typeface="Arial"/>
        </a:defRPr>
      </a:lvl2pPr>
      <a:lvl3pPr marL="691176" indent="-194304" algn="l" defTabSz="54861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Arial"/>
          <a:ea typeface="+mn-ea"/>
          <a:cs typeface="Arial"/>
        </a:defRPr>
      </a:lvl3pPr>
      <a:lvl4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Arial"/>
          <a:ea typeface="+mn-ea"/>
          <a:cs typeface="Arial"/>
        </a:defRPr>
      </a:lvl4pPr>
      <a:lvl5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Arial"/>
          <a:ea typeface="+mn-ea"/>
          <a:cs typeface="Arial"/>
        </a:defRPr>
      </a:lvl5pPr>
      <a:lvl6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6pPr>
      <a:lvl7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7pPr>
      <a:lvl8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8pPr>
      <a:lvl9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10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21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831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440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051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660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269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8877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4">
          <p15:clr>
            <a:srgbClr val="F26B43"/>
          </p15:clr>
        </p15:guide>
        <p15:guide id="2" pos="520">
          <p15:clr>
            <a:srgbClr val="F26B43"/>
          </p15:clr>
        </p15:guide>
        <p15:guide id="3" pos="7160">
          <p15:clr>
            <a:srgbClr val="F26B43"/>
          </p15:clr>
        </p15:guide>
        <p15:guide id="4" orient="horz" pos="1153">
          <p15:clr>
            <a:srgbClr val="F26B43"/>
          </p15:clr>
        </p15:guide>
        <p15:guide id="5" orient="horz" pos="3793">
          <p15:clr>
            <a:srgbClr val="F26B43"/>
          </p15:clr>
        </p15:guide>
        <p15:guide id="6" orient="horz" pos="93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77721A6-BD6A-4708-8340-32907EB1DD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1054531751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77721A6-BD6A-4708-8340-32907EB1D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E6A9C7A-2E23-48C6-AD30-0D78302C1A59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9236" y="577216"/>
            <a:ext cx="10535861" cy="9070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9239" y="1830707"/>
            <a:ext cx="10537900" cy="419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 err="1"/>
              <a:t>Sixt</a:t>
            </a:r>
            <a:r>
              <a:rPr lang="en-GB" noProof="0"/>
              <a:t> level</a:t>
            </a:r>
          </a:p>
          <a:p>
            <a:pPr lvl="6"/>
            <a:r>
              <a:rPr lang="en-GB" noProof="0"/>
              <a:t>Seventh level</a:t>
            </a:r>
          </a:p>
          <a:p>
            <a:pPr lvl="7"/>
            <a:r>
              <a:rPr lang="en-GB" noProof="0"/>
              <a:t>Eight level</a:t>
            </a:r>
          </a:p>
          <a:p>
            <a:pPr lvl="8"/>
            <a:r>
              <a:rPr lang="en-GB" noProof="0" err="1"/>
              <a:t>Nineth</a:t>
            </a:r>
            <a:r>
              <a:rPr lang="en-GB" noProof="0"/>
              <a:t>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48031" y="6319500"/>
            <a:ext cx="4446000" cy="3651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 eaLnBrk="1">
              <a:defRPr sz="1000" b="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markus.schoppmann@statkraft.com / ECG / 29.09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9236" y="6319500"/>
            <a:ext cx="452320" cy="3651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B727649-DA60-4222-B58B-0786112CEE78}"/>
              </a:ext>
            </a:extLst>
          </p:cNvPr>
          <p:cNvGrpSpPr/>
          <p:nvPr userDrawn="1"/>
        </p:nvGrpSpPr>
        <p:grpSpPr>
          <a:xfrm>
            <a:off x="10323364" y="6340537"/>
            <a:ext cx="1047345" cy="283354"/>
            <a:chOff x="1533524" y="369094"/>
            <a:chExt cx="2243139" cy="606869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EB54AED3-C389-47FA-B373-818250A154E3}"/>
                </a:ext>
              </a:extLst>
            </p:cNvPr>
            <p:cNvPicPr>
              <a:picLocks noChangeAspect="1"/>
            </p:cNvPicPr>
            <p:nvPr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5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A82BC5DF-C636-48C9-A020-1643C098A7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353426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  <p:sldLayoutId id="2147483760" r:id="rId18"/>
    <p:sldLayoutId id="2147483761" r:id="rId19"/>
    <p:sldLayoutId id="2147483762" r:id="rId20"/>
    <p:sldLayoutId id="2147483763" r:id="rId21"/>
    <p:sldLayoutId id="2147483764" r:id="rId22"/>
    <p:sldLayoutId id="2147483765" r:id="rId23"/>
    <p:sldLayoutId id="2147483766" r:id="rId24"/>
    <p:sldLayoutId id="2147483767" r:id="rId25"/>
    <p:sldLayoutId id="2147483768" r:id="rId26"/>
    <p:sldLayoutId id="2147483769" r:id="rId27"/>
    <p:sldLayoutId id="2147483770" r:id="rId28"/>
    <p:sldLayoutId id="2147483771" r:id="rId29"/>
    <p:sldLayoutId id="2147483772" r:id="rId30"/>
    <p:sldLayoutId id="2147483773" r:id="rId31"/>
    <p:sldLayoutId id="2147483774" r:id="rId32"/>
    <p:sldLayoutId id="2147483775" r:id="rId33"/>
    <p:sldLayoutId id="2147483776" r:id="rId34"/>
    <p:sldLayoutId id="2147483777" r:id="rId35"/>
    <p:sldLayoutId id="2147483778" r:id="rId36"/>
    <p:sldLayoutId id="2147483779" r:id="rId37"/>
    <p:sldLayoutId id="2147483780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54861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accent5"/>
          </a:solidFill>
          <a:latin typeface="Arial"/>
          <a:ea typeface="+mj-ea"/>
          <a:cs typeface="Arial"/>
        </a:defRPr>
      </a:lvl1pPr>
    </p:titleStyle>
    <p:bodyStyle>
      <a:lvl1pPr marL="215993" indent="-215993" algn="l" defTabSz="548610" rtl="0" eaLnBrk="1" latinLnBrk="0" hangingPunct="1">
        <a:lnSpc>
          <a:spcPct val="100000"/>
        </a:lnSpc>
        <a:spcBef>
          <a:spcPts val="12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2000" kern="1200">
          <a:solidFill>
            <a:schemeClr val="accent5"/>
          </a:solidFill>
          <a:latin typeface="Arial"/>
          <a:ea typeface="+mn-ea"/>
          <a:cs typeface="Arial"/>
        </a:defRPr>
      </a:lvl1pPr>
      <a:lvl2pPr marL="473075" indent="-236538" algn="l" defTabSz="54861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110000"/>
        <a:buFont typeface="Arial" panose="020B0604020202020204" pitchFamily="34" charset="0"/>
        <a:buChar char="-"/>
        <a:defRPr sz="1800" kern="1200">
          <a:solidFill>
            <a:schemeClr val="accent5"/>
          </a:solidFill>
          <a:latin typeface="Arial"/>
          <a:ea typeface="+mn-ea"/>
          <a:cs typeface="Arial"/>
        </a:defRPr>
      </a:lvl2pPr>
      <a:lvl3pPr marL="691176" indent="-194304" algn="l" defTabSz="54861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Arial"/>
          <a:ea typeface="+mn-ea"/>
          <a:cs typeface="Arial"/>
        </a:defRPr>
      </a:lvl3pPr>
      <a:lvl4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Arial"/>
          <a:ea typeface="+mn-ea"/>
          <a:cs typeface="Arial"/>
        </a:defRPr>
      </a:lvl4pPr>
      <a:lvl5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Arial"/>
          <a:ea typeface="+mn-ea"/>
          <a:cs typeface="Arial"/>
        </a:defRPr>
      </a:lvl5pPr>
      <a:lvl6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6pPr>
      <a:lvl7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7pPr>
      <a:lvl8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8pPr>
      <a:lvl9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10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21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831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440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051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660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269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8877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4">
          <p15:clr>
            <a:srgbClr val="F26B43"/>
          </p15:clr>
        </p15:guide>
        <p15:guide id="2" pos="520">
          <p15:clr>
            <a:srgbClr val="F26B43"/>
          </p15:clr>
        </p15:guide>
        <p15:guide id="3" pos="7160">
          <p15:clr>
            <a:srgbClr val="F26B43"/>
          </p15:clr>
        </p15:guide>
        <p15:guide id="4" orient="horz" pos="1153">
          <p15:clr>
            <a:srgbClr val="F26B43"/>
          </p15:clr>
        </p15:guide>
        <p15:guide id="5" orient="horz" pos="3793">
          <p15:clr>
            <a:srgbClr val="F26B43"/>
          </p15:clr>
        </p15:guide>
        <p15:guide id="6" orient="horz" pos="93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jpg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18.png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4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5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44.png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6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45.png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6.bin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notesSlide" Target="../notesSlides/notesSlide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28.xml"/><Relationship Id="rId7" Type="http://schemas.openxmlformats.org/officeDocument/2006/relationships/diagramData" Target="../diagrams/data1.xml"/><Relationship Id="rId12" Type="http://schemas.openxmlformats.org/officeDocument/2006/relationships/image" Target="../media/image48.png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88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15.xml"/><Relationship Id="rId9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0.jpeg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10" Type="http://schemas.openxmlformats.org/officeDocument/2006/relationships/image" Target="../media/image13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4.jpeg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3" Type="http://schemas.openxmlformats.org/officeDocument/2006/relationships/slideLayout" Target="../slideLayouts/slideLayout12.xml"/><Relationship Id="rId21" Type="http://schemas.openxmlformats.org/officeDocument/2006/relationships/image" Target="../media/image32.svg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17" Type="http://schemas.openxmlformats.org/officeDocument/2006/relationships/image" Target="../media/image28.svg"/><Relationship Id="rId25" Type="http://schemas.openxmlformats.org/officeDocument/2006/relationships/image" Target="../media/image1.emf"/><Relationship Id="rId2" Type="http://schemas.openxmlformats.org/officeDocument/2006/relationships/tags" Target="../tags/tag129.xml"/><Relationship Id="rId16" Type="http://schemas.openxmlformats.org/officeDocument/2006/relationships/image" Target="../media/image27.svg"/><Relationship Id="rId20" Type="http://schemas.openxmlformats.org/officeDocument/2006/relationships/image" Target="../media/image31.png"/><Relationship Id="rId1" Type="http://schemas.openxmlformats.org/officeDocument/2006/relationships/tags" Target="../tags/tag128.xml"/><Relationship Id="rId6" Type="http://schemas.openxmlformats.org/officeDocument/2006/relationships/image" Target="../media/image17.svg"/><Relationship Id="rId11" Type="http://schemas.openxmlformats.org/officeDocument/2006/relationships/image" Target="../media/image22.png"/><Relationship Id="rId24" Type="http://schemas.openxmlformats.org/officeDocument/2006/relationships/oleObject" Target="../embeddings/oleObject79.bin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23" Type="http://schemas.openxmlformats.org/officeDocument/2006/relationships/image" Target="../media/image34.svg"/><Relationship Id="rId10" Type="http://schemas.openxmlformats.org/officeDocument/2006/relationships/image" Target="../media/image21.svg"/><Relationship Id="rId19" Type="http://schemas.openxmlformats.org/officeDocument/2006/relationships/image" Target="../media/image30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0.png"/><Relationship Id="rId14" Type="http://schemas.openxmlformats.org/officeDocument/2006/relationships/image" Target="../media/image25.svg"/><Relationship Id="rId22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30.xml"/><Relationship Id="rId6" Type="http://schemas.openxmlformats.org/officeDocument/2006/relationships/image" Target="../media/image36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80.bin"/><Relationship Id="rId9" Type="http://schemas.openxmlformats.org/officeDocument/2006/relationships/image" Target="../media/image3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40.png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41.jpeg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135.xml"/><Relationship Id="rId6" Type="http://schemas.openxmlformats.org/officeDocument/2006/relationships/image" Target="../media/image4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5C7472-0122-498F-A4B5-9F1E63460D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5C7472-0122-498F-A4B5-9F1E63460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DD394A-FC17-4EB0-88B8-28BEA14BD35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GB" sz="3600" b="1" dirty="0">
              <a:solidFill>
                <a:schemeClr val="accent5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43F5658-C739-4D25-925A-FB50074B64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006542"/>
            <a:ext cx="4411980" cy="3268575"/>
          </a:xfrm>
        </p:spPr>
        <p:txBody>
          <a:bodyPr/>
          <a:lstStyle/>
          <a:p>
            <a:r>
              <a:rPr lang="en-GB" sz="3200" dirty="0" err="1">
                <a:solidFill>
                  <a:schemeClr val="bg2"/>
                </a:solidFill>
              </a:rPr>
              <a:t>Windpark</a:t>
            </a:r>
            <a:r>
              <a:rPr lang="en-GB" sz="3200">
                <a:solidFill>
                  <a:schemeClr val="bg2"/>
                </a:solidFill>
              </a:rPr>
              <a:t> Wulfsen</a:t>
            </a:r>
            <a:br>
              <a:rPr lang="en-GB" sz="3200" dirty="0"/>
            </a:br>
            <a:r>
              <a:rPr lang="en-GB" sz="3000" b="0" dirty="0" err="1">
                <a:solidFill>
                  <a:schemeClr val="accent1"/>
                </a:solidFill>
              </a:rPr>
              <a:t>Bürger</a:t>
            </a:r>
            <a:r>
              <a:rPr lang="en-GB" sz="3000" b="0" dirty="0">
                <a:solidFill>
                  <a:schemeClr val="accent1"/>
                </a:solidFill>
              </a:rPr>
              <a:t>-Dialog</a:t>
            </a:r>
            <a:br>
              <a:rPr lang="en-GB" sz="2000" b="0" dirty="0">
                <a:solidFill>
                  <a:schemeClr val="accent1"/>
                </a:solidFill>
              </a:rPr>
            </a:br>
            <a:br>
              <a:rPr lang="en-GB" sz="2000" b="0" dirty="0">
                <a:solidFill>
                  <a:schemeClr val="accent1"/>
                </a:solidFill>
              </a:rPr>
            </a:br>
            <a:br>
              <a:rPr lang="en-GB" sz="2000" b="0">
                <a:solidFill>
                  <a:schemeClr val="accent1"/>
                </a:solidFill>
              </a:rPr>
            </a:br>
            <a:r>
              <a:rPr lang="en-GB" sz="5400" b="0"/>
              <a:t>Herzlich </a:t>
            </a:r>
            <a:br>
              <a:rPr lang="en-GB" sz="5400" b="0" dirty="0"/>
            </a:br>
            <a:r>
              <a:rPr lang="en-GB" sz="5400" b="0" dirty="0" err="1"/>
              <a:t>willkommen</a:t>
            </a:r>
            <a:r>
              <a:rPr lang="en-GB" sz="5400" b="0" dirty="0"/>
              <a:t>! </a:t>
            </a:r>
            <a:endParaRPr lang="en-GB" sz="3200" b="0" dirty="0">
              <a:solidFill>
                <a:schemeClr val="accent1"/>
              </a:solidFill>
            </a:endParaRPr>
          </a:p>
        </p:txBody>
      </p:sp>
      <p:pic>
        <p:nvPicPr>
          <p:cNvPr id="9" name="Picture Placeholder 8" descr="A windmill in a field&#10;&#10;Description automatically generated with low confidence">
            <a:extLst>
              <a:ext uri="{FF2B5EF4-FFF2-40B4-BE49-F238E27FC236}">
                <a16:creationId xmlns:a16="http://schemas.microsoft.com/office/drawing/2014/main" id="{E3B73DBB-4450-4729-8F8C-2B8C5872B9D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45" b="784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6000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DE4068-BF96-48C4-8CEE-EEBF335A77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DE4068-BF96-48C4-8CEE-EEBF335A7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01D3056-9A18-49FC-A29A-7C2AC2FEAAC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4862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endParaRPr kumimoji="0" lang="en-GB" sz="3200" b="1" i="0" u="none" strike="noStrike" kern="1200" cap="none" spc="0" normalizeH="0" baseline="0" noProof="0">
              <a:ln>
                <a:noFill/>
              </a:ln>
              <a:solidFill>
                <a:srgbClr val="7A6F6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C6387B4-4DB2-4B3E-A35A-5CBE1FDB0B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nser </a:t>
            </a:r>
            <a:r>
              <a:rPr lang="en-GB" err="1"/>
              <a:t>Vorgehen</a:t>
            </a:r>
            <a:r>
              <a:rPr lang="en-GB"/>
              <a:t> in der </a:t>
            </a:r>
            <a:r>
              <a:rPr lang="en-GB" err="1"/>
              <a:t>Projektentwicklung</a:t>
            </a:r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7776AAA-3E7B-48DC-8E56-FCF503D9C1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2000" dirty="0" err="1"/>
              <a:t>Folgende</a:t>
            </a:r>
            <a:r>
              <a:rPr lang="en-GB" sz="2000" dirty="0"/>
              <a:t> </a:t>
            </a:r>
            <a:r>
              <a:rPr lang="en-GB" sz="2000" dirty="0" err="1"/>
              <a:t>Aspekte</a:t>
            </a:r>
            <a:r>
              <a:rPr lang="en-GB" sz="2000" dirty="0"/>
              <a:t> </a:t>
            </a:r>
            <a:r>
              <a:rPr lang="en-GB" sz="2000" dirty="0" err="1"/>
              <a:t>sind</a:t>
            </a:r>
            <a:r>
              <a:rPr lang="en-GB" sz="2000" dirty="0"/>
              <a:t> </a:t>
            </a:r>
            <a:r>
              <a:rPr lang="en-GB" sz="2000" dirty="0" err="1"/>
              <a:t>uns</a:t>
            </a:r>
            <a:r>
              <a:rPr lang="en-GB" sz="2000" dirty="0"/>
              <a:t> </a:t>
            </a:r>
            <a:r>
              <a:rPr lang="en-GB" sz="2000" dirty="0" err="1"/>
              <a:t>wichtig</a:t>
            </a:r>
            <a:endParaRPr lang="en-GB" sz="2000" dirty="0"/>
          </a:p>
          <a:p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D86F184-A0B2-4466-9DE7-948346C0C8B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GB" dirty="0"/>
          </a:p>
          <a:p>
            <a:r>
              <a:rPr lang="de-DE" dirty="0"/>
              <a:t>Frühzeitige Einbindung und Beteiligung der Gemeinde sowie aller lokalen Akteure</a:t>
            </a:r>
          </a:p>
          <a:p>
            <a:r>
              <a:rPr lang="de-DE" dirty="0"/>
              <a:t>Ein transparenter und abgestimmter Planungsprozess</a:t>
            </a:r>
          </a:p>
          <a:p>
            <a:r>
              <a:rPr lang="de-DE" dirty="0"/>
              <a:t>Eine faire Teilhabe der Bürgerinnen und Bürger</a:t>
            </a:r>
          </a:p>
          <a:p>
            <a:r>
              <a:rPr lang="de-DE" dirty="0"/>
              <a:t>Eine Steigerung der Stromerzeugung aus Erneuerbaren Energien im Sinne des Klimaschutz (20.000 Haushalte werden durch das Projekt mit Grünstrom versorgt)</a:t>
            </a:r>
          </a:p>
          <a:p>
            <a:r>
              <a:rPr lang="de-DE" dirty="0"/>
              <a:t>Eine naturschutzfachlich gut umgesetzte Projektentwicklung</a:t>
            </a:r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6F78D3-B1AA-4279-B91D-2094BF9904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2ACB19-C0E1-7345-B8BA-15A723BE30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BBB3B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54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BBB3B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8811EF99-584D-4AEA-8377-D65BCA2CAFD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t="15095" r="21919"/>
          <a:stretch/>
        </p:blipFill>
        <p:spPr>
          <a:xfrm>
            <a:off x="9886231" y="-1"/>
            <a:ext cx="2305769" cy="2507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959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FA10BBB-DBDE-3017-CCA7-63E848575D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11</a:t>
            </a:fld>
            <a:endParaRPr lang="en-GB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68C4F52-3699-CF55-0E56-CF5AFF3839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8191" y="870857"/>
            <a:ext cx="9018210" cy="5072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870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DE4068-BF96-48C4-8CEE-EEBF335A77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DE4068-BF96-48C4-8CEE-EEBF335A7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01D3056-9A18-49FC-A29A-7C2AC2FEAAC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4862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endParaRPr kumimoji="0" lang="en-GB" sz="3200" b="1" i="0" u="none" strike="noStrike" kern="1200" cap="none" spc="0" normalizeH="0" baseline="0" noProof="0">
              <a:ln>
                <a:noFill/>
              </a:ln>
              <a:solidFill>
                <a:srgbClr val="7A6F6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C6387B4-4DB2-4B3E-A35A-5CBE1FDB0B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Energiepolitische</a:t>
            </a:r>
            <a:r>
              <a:rPr lang="en-GB" dirty="0"/>
              <a:t> Situation - </a:t>
            </a:r>
            <a:r>
              <a:rPr lang="de-DE" dirty="0"/>
              <a:t>Das überragende öffentliche Interesse: § 2 EEG 2023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D86F184-A0B2-4466-9DE7-948346C0C8B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endParaRPr lang="en-GB" dirty="0"/>
          </a:p>
          <a:p>
            <a:pPr marL="215900" indent="-215900"/>
            <a:r>
              <a:rPr lang="de-DE" dirty="0"/>
              <a:t>Erneuerbare Energien sind im überragenden öffentlichen Interesse</a:t>
            </a:r>
          </a:p>
          <a:p>
            <a:pPr marL="215900" indent="-215900"/>
            <a:r>
              <a:rPr lang="de-DE" dirty="0"/>
              <a:t>Neben den Aspekten des Klima- und Umweltschutzes werden auch sicherheitspolitische Aspekte der Versorgungssicherheit gewichtet. Erneuerbare dienen somit der öffentlichen Sicherheit. </a:t>
            </a:r>
          </a:p>
          <a:p>
            <a:pPr marL="215900" indent="-215900"/>
            <a:r>
              <a:rPr lang="de-DE" dirty="0"/>
              <a:t>Im Ergebnis erfolgt daraus ein regelmäßiges Übergewicht der Erneuerbaren Energien in Abwägungsprozessen, das nur in atypischen Ausnahmefällen überwunden werden kann.</a:t>
            </a:r>
          </a:p>
          <a:p>
            <a:pPr marL="215900" indent="-215900"/>
            <a:r>
              <a:rPr lang="de-DE" dirty="0"/>
              <a:t>Lt. Rechtsprechung kommt es hierbei auf jeden WEA-Standort an </a:t>
            </a:r>
          </a:p>
          <a:p>
            <a:pPr marL="0" indent="0">
              <a:buNone/>
            </a:pPr>
            <a:endParaRPr lang="de-DE" dirty="0"/>
          </a:p>
          <a:p>
            <a:pPr marL="215900" indent="-215900"/>
            <a:endParaRPr lang="en-GB" dirty="0"/>
          </a:p>
          <a:p>
            <a:pPr marL="215900" indent="-215900"/>
            <a:endParaRPr lang="en-GB" dirty="0"/>
          </a:p>
          <a:p>
            <a:pPr marL="215900" indent="-215900"/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6F78D3-B1AA-4279-B91D-2094BF9904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2ACB19-C0E1-7345-B8BA-15A723BE30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BBB3B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54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BBB3B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60262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DE4068-BF96-48C4-8CEE-EEBF335A77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DE4068-BF96-48C4-8CEE-EEBF335A7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01D3056-9A18-49FC-A29A-7C2AC2FEAAC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4862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endParaRPr kumimoji="0" lang="en-GB" sz="3200" b="1" i="0" u="none" strike="noStrike" kern="1200" cap="none" spc="0" normalizeH="0" baseline="0" noProof="0">
              <a:ln>
                <a:noFill/>
              </a:ln>
              <a:solidFill>
                <a:srgbClr val="7A6F6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C6387B4-4DB2-4B3E-A35A-5CBE1FDB0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237" y="577216"/>
            <a:ext cx="9791138" cy="907097"/>
          </a:xfrm>
        </p:spPr>
        <p:txBody>
          <a:bodyPr/>
          <a:lstStyle/>
          <a:p>
            <a:r>
              <a:rPr lang="en-GB" sz="2800" dirty="0" err="1"/>
              <a:t>Übersicht</a:t>
            </a:r>
            <a:r>
              <a:rPr lang="en-GB" sz="2800" dirty="0"/>
              <a:t> </a:t>
            </a:r>
            <a:r>
              <a:rPr lang="en-GB" sz="2800" dirty="0" err="1"/>
              <a:t>Windpark</a:t>
            </a:r>
            <a:r>
              <a:rPr lang="en-GB" sz="2800" dirty="0"/>
              <a:t> Wulfsen (</a:t>
            </a:r>
            <a:r>
              <a:rPr lang="en-GB" sz="2800" dirty="0" err="1"/>
              <a:t>Ausschnitt</a:t>
            </a:r>
            <a:r>
              <a:rPr lang="en-GB" sz="2800" dirty="0"/>
              <a:t> </a:t>
            </a:r>
            <a:r>
              <a:rPr lang="en-GB" sz="2800" dirty="0" err="1"/>
              <a:t>Regionalplan</a:t>
            </a:r>
            <a:r>
              <a:rPr lang="en-GB" sz="2800" dirty="0"/>
              <a:t>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6F78D3-B1AA-4279-B91D-2094BF9904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2ACB19-C0E1-7345-B8BA-15A723BE30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BBB3B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54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BBB3B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1384122-B1E4-4522-BFC0-BF3A93B9325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71879" y="1442671"/>
            <a:ext cx="8505854" cy="491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624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DE4068-BF96-48C4-8CEE-EEBF335A77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DE4068-BF96-48C4-8CEE-EEBF335A7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01D3056-9A18-49FC-A29A-7C2AC2FEAAC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4862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endParaRPr kumimoji="0" lang="en-GB" sz="3200" b="1" i="0" u="none" strike="noStrike" kern="1200" cap="none" spc="0" normalizeH="0" baseline="0" noProof="0">
              <a:ln>
                <a:noFill/>
              </a:ln>
              <a:solidFill>
                <a:srgbClr val="7A6F6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C6387B4-4DB2-4B3E-A35A-5CBE1FDB0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237" y="577216"/>
            <a:ext cx="9791138" cy="907097"/>
          </a:xfrm>
        </p:spPr>
        <p:txBody>
          <a:bodyPr/>
          <a:lstStyle/>
          <a:p>
            <a:r>
              <a:rPr lang="en-GB" dirty="0" err="1"/>
              <a:t>Übersicht</a:t>
            </a:r>
            <a:r>
              <a:rPr lang="en-GB" dirty="0"/>
              <a:t> </a:t>
            </a:r>
            <a:r>
              <a:rPr lang="en-GB" dirty="0" err="1"/>
              <a:t>Windpark</a:t>
            </a:r>
            <a:r>
              <a:rPr lang="en-GB" dirty="0"/>
              <a:t> </a:t>
            </a:r>
            <a:r>
              <a:rPr lang="en-GB" dirty="0" err="1"/>
              <a:t>Wulsen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6F78D3-B1AA-4279-B91D-2094BF9904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2ACB19-C0E1-7345-B8BA-15A723BE30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BBB3B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54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BBB3B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D86F184-A0B2-4466-9DE7-948346C0C8B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19711" y="1899821"/>
            <a:ext cx="5266764" cy="4234556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endParaRPr lang="en-GB" dirty="0"/>
          </a:p>
          <a:p>
            <a:pPr marL="215900" indent="-215900"/>
            <a:r>
              <a:rPr lang="en-GB" dirty="0" err="1"/>
              <a:t>Erwerb</a:t>
            </a:r>
            <a:r>
              <a:rPr lang="en-GB" dirty="0"/>
              <a:t> von </a:t>
            </a:r>
            <a:r>
              <a:rPr lang="en-GB" dirty="0" err="1"/>
              <a:t>drei</a:t>
            </a:r>
            <a:r>
              <a:rPr lang="en-GB" dirty="0"/>
              <a:t> WEA (</a:t>
            </a:r>
            <a:r>
              <a:rPr lang="de-DE" dirty="0"/>
              <a:t>Siemens SWT 93VS mit je 2.300 kW Nennleistung</a:t>
            </a:r>
            <a:r>
              <a:rPr lang="en-GB" dirty="0"/>
              <a:t>) </a:t>
            </a:r>
            <a:r>
              <a:rPr lang="en-GB" dirty="0" err="1"/>
              <a:t>im</a:t>
            </a:r>
            <a:r>
              <a:rPr lang="en-GB" dirty="0"/>
              <a:t> </a:t>
            </a:r>
            <a:r>
              <a:rPr lang="en-GB" dirty="0" err="1"/>
              <a:t>Windpark</a:t>
            </a:r>
            <a:r>
              <a:rPr lang="en-GB" dirty="0"/>
              <a:t> Wulfsen </a:t>
            </a:r>
            <a:r>
              <a:rPr lang="en-GB" dirty="0" err="1"/>
              <a:t>durch</a:t>
            </a:r>
            <a:r>
              <a:rPr lang="en-GB" dirty="0"/>
              <a:t> Statkraft </a:t>
            </a:r>
            <a:r>
              <a:rPr lang="en-GB" dirty="0" err="1"/>
              <a:t>im</a:t>
            </a:r>
            <a:r>
              <a:rPr lang="en-GB" dirty="0"/>
              <a:t> </a:t>
            </a:r>
            <a:r>
              <a:rPr lang="en-GB" dirty="0" err="1"/>
              <a:t>Oktober</a:t>
            </a:r>
            <a:r>
              <a:rPr lang="en-GB" dirty="0"/>
              <a:t> 2021</a:t>
            </a:r>
          </a:p>
          <a:p>
            <a:pPr marL="215900" indent="-215900"/>
            <a:r>
              <a:rPr lang="en-GB" dirty="0" err="1"/>
              <a:t>Vorschlag</a:t>
            </a:r>
            <a:r>
              <a:rPr lang="en-GB" dirty="0"/>
              <a:t> </a:t>
            </a:r>
            <a:r>
              <a:rPr lang="en-GB" dirty="0" err="1"/>
              <a:t>Repoweringkonzept</a:t>
            </a:r>
            <a:r>
              <a:rPr lang="en-GB" dirty="0"/>
              <a:t>:</a:t>
            </a:r>
          </a:p>
          <a:p>
            <a:pPr marL="472982" lvl="1" indent="-215900"/>
            <a:r>
              <a:rPr lang="en-GB" sz="2000" dirty="0"/>
              <a:t>Repowering der WEA am </a:t>
            </a:r>
            <a:r>
              <a:rPr lang="en-GB" sz="2000" dirty="0" err="1"/>
              <a:t>etablierten</a:t>
            </a:r>
            <a:r>
              <a:rPr lang="en-GB" sz="2000" dirty="0"/>
              <a:t> </a:t>
            </a:r>
            <a:r>
              <a:rPr lang="en-GB" sz="2000" dirty="0" err="1"/>
              <a:t>Standort</a:t>
            </a:r>
            <a:endParaRPr lang="en-GB" sz="2000" dirty="0"/>
          </a:p>
          <a:p>
            <a:pPr marL="472982" lvl="1" indent="-215900"/>
            <a:r>
              <a:rPr lang="en-GB" sz="2000" u="sng" dirty="0"/>
              <a:t>Bis </a:t>
            </a:r>
            <a:r>
              <a:rPr lang="en-GB" sz="2000" u="sng" dirty="0" err="1"/>
              <a:t>zu</a:t>
            </a:r>
            <a:r>
              <a:rPr lang="en-GB" sz="2000" u="sng" dirty="0"/>
              <a:t> 4</a:t>
            </a:r>
            <a:r>
              <a:rPr lang="en-GB" sz="2000" dirty="0"/>
              <a:t> </a:t>
            </a:r>
            <a:r>
              <a:rPr lang="en-GB" sz="2000" dirty="0" err="1"/>
              <a:t>neue</a:t>
            </a:r>
            <a:r>
              <a:rPr lang="en-GB" sz="2000" dirty="0"/>
              <a:t> WEA, </a:t>
            </a:r>
            <a:r>
              <a:rPr lang="en-GB" sz="2000" dirty="0" err="1"/>
              <a:t>bspw</a:t>
            </a:r>
            <a:r>
              <a:rPr lang="en-GB" sz="2000" dirty="0"/>
              <a:t>. Vestas V162</a:t>
            </a:r>
          </a:p>
          <a:p>
            <a:pPr marL="472982" lvl="1" indent="-215900"/>
            <a:r>
              <a:rPr lang="en-GB" sz="2000" dirty="0" err="1"/>
              <a:t>Weiterbetrieb</a:t>
            </a:r>
            <a:r>
              <a:rPr lang="en-GB" sz="2000" dirty="0"/>
              <a:t> der </a:t>
            </a:r>
            <a:r>
              <a:rPr lang="en-GB" sz="2000" dirty="0" err="1"/>
              <a:t>Bestandsanlagen</a:t>
            </a:r>
            <a:r>
              <a:rPr lang="en-GB" sz="2000" dirty="0"/>
              <a:t> bis </a:t>
            </a:r>
            <a:r>
              <a:rPr lang="en-GB" sz="2000" dirty="0" err="1"/>
              <a:t>zum</a:t>
            </a:r>
            <a:r>
              <a:rPr lang="en-GB" sz="2000" dirty="0"/>
              <a:t> Repowering </a:t>
            </a:r>
            <a:r>
              <a:rPr lang="en-GB" sz="2000" dirty="0" err="1"/>
              <a:t>vorgesehen</a:t>
            </a:r>
            <a:endParaRPr lang="en-GB" sz="2000" dirty="0"/>
          </a:p>
          <a:p>
            <a:pPr marL="0" indent="0">
              <a:buNone/>
            </a:pPr>
            <a:endParaRPr lang="en-GB" dirty="0"/>
          </a:p>
          <a:p>
            <a:pPr marL="215900" indent="-215900"/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3ACF7EF-95BF-40C7-AC9D-CDC6F152F5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63563" y="2396970"/>
            <a:ext cx="5529555" cy="3018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461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4EE276-5327-5EB9-7F54-50CC1E82205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15</a:t>
            </a:fld>
            <a:endParaRPr lang="en-GB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B26E1CB-8D3E-E3EC-5F6D-EEB8FD10E4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3339" y="1207758"/>
            <a:ext cx="7428855" cy="4584057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8CFD7661-EF6C-54A1-9590-A27245BF9B71}"/>
              </a:ext>
            </a:extLst>
          </p:cNvPr>
          <p:cNvSpPr txBox="1"/>
          <p:nvPr/>
        </p:nvSpPr>
        <p:spPr>
          <a:xfrm>
            <a:off x="2103570" y="409903"/>
            <a:ext cx="452695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  <a:buSzPct val="120000"/>
            </a:pPr>
            <a:r>
              <a:rPr lang="de-DE" sz="3200" dirty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Mögliches Parklayout</a:t>
            </a:r>
          </a:p>
        </p:txBody>
      </p:sp>
    </p:spTree>
    <p:extLst>
      <p:ext uri="{BB962C8B-B14F-4D97-AF65-F5344CB8AC3E}">
        <p14:creationId xmlns:p14="http://schemas.microsoft.com/office/powerpoint/2010/main" val="1845788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32010B-095B-EBA1-DB57-EE5FFAEF11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missionsschutzrechtliche Grenzwerte Schall &amp; Schatten, bedrängende Wirk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360244E-31C5-3BF2-961D-678522BF893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in Kerngebieten, Dorfgebieten und Mischgebieten (Außenbereich) tags 60 dB(A) nachts 45 dB(A) e) </a:t>
            </a:r>
          </a:p>
          <a:p>
            <a:r>
              <a:rPr lang="de-DE" dirty="0"/>
              <a:t>in allgemeinen Wohngebieten und Kleinsiedlungsgebieten tags 55 dB(A) nachts 40 dB(A)</a:t>
            </a:r>
          </a:p>
          <a:p>
            <a:r>
              <a:rPr lang="de-DE" dirty="0"/>
              <a:t>in reinen Wohngebieten tags 50 dB(A) nachts 35 dB(A)</a:t>
            </a:r>
          </a:p>
          <a:p>
            <a:r>
              <a:rPr lang="de-DE" dirty="0"/>
              <a:t>maximale Schattenwurfdauer pro Jahr und Tag. In Deutschland sind folgende Grenzwerte festgelegt: nicht länger als 30 Stunden im Jahr, nicht länger als 30 Minuten pro Tag.</a:t>
            </a:r>
          </a:p>
          <a:p>
            <a:r>
              <a:rPr lang="de-DE" dirty="0"/>
              <a:t>Bedrängende Wirkung 2x Gesamthöhe der WE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7CFA435-6850-4213-8CA4-287F49DA970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3984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DE4068-BF96-48C4-8CEE-EEBF335A77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DE4068-BF96-48C4-8CEE-EEBF335A7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01D3056-9A18-49FC-A29A-7C2AC2FEAAC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4862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endParaRPr kumimoji="0" lang="en-GB" sz="3200" b="1" i="0" u="none" strike="noStrike" kern="1200" cap="none" spc="0" normalizeH="0" baseline="0" noProof="0">
              <a:ln>
                <a:noFill/>
              </a:ln>
              <a:solidFill>
                <a:srgbClr val="7A6F6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C6387B4-4DB2-4B3E-A35A-5CBE1FDB0B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ser </a:t>
            </a:r>
            <a:r>
              <a:rPr lang="en-GB" dirty="0" err="1"/>
              <a:t>Angebot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B4C8121-477C-4046-9896-33F141DE67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000" dirty="0" err="1"/>
              <a:t>Repowering</a:t>
            </a:r>
            <a:endParaRPr lang="en-GB" sz="200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D86F184-A0B2-4466-9DE7-948346C0C8B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endParaRPr lang="en-GB" dirty="0"/>
          </a:p>
          <a:p>
            <a:pPr marL="215900" indent="-215900"/>
            <a:r>
              <a:rPr lang="de-DE" dirty="0"/>
              <a:t>Grundlage: Vestas V162 mit 6 MW auf 119 m Nabenhöhe mit 250 m GH, </a:t>
            </a:r>
          </a:p>
          <a:p>
            <a:pPr marL="215900" indent="-215900"/>
            <a:r>
              <a:rPr lang="de-DE" dirty="0"/>
              <a:t>Vergütung der Gemeinden, Zahlung von 0,2 €-Ct/kWh nach § 6 EEG an die beteiligte(n) Standortgemeinde(n) ergibt ca. 120.000 € / Jahr lt. Ertragsprognose Prognose (ca. 60.000 MWh/pro Jahr Ertrag)</a:t>
            </a:r>
          </a:p>
          <a:p>
            <a:pPr marL="215900" indent="-215900"/>
            <a:r>
              <a:rPr lang="de-DE" dirty="0"/>
              <a:t>Beteiligung der Bürgerinnen und Bürger an einem WEA-Standort (Bürgermühle)</a:t>
            </a:r>
          </a:p>
          <a:p>
            <a:pPr marL="215900" indent="-215900"/>
            <a:r>
              <a:rPr lang="de-DE" dirty="0"/>
              <a:t>Kauf einer WEA/durch eine Energiegenossenschaft/Kommanditgesellschaft nach „open </a:t>
            </a:r>
            <a:r>
              <a:rPr lang="de-DE" dirty="0" err="1"/>
              <a:t>book</a:t>
            </a:r>
            <a:r>
              <a:rPr lang="de-DE" dirty="0"/>
              <a:t>“, Renditeerwartung ca. 10%, Anteile im Rundenverfahren z.B. a 500 EUR, Beteiligung der Bürgerinnen/Bürger mit räumlichem Bezug zum Projekt (</a:t>
            </a:r>
            <a:r>
              <a:rPr lang="de-DE" dirty="0" err="1"/>
              <a:t>z.B</a:t>
            </a:r>
            <a:r>
              <a:rPr lang="de-DE" dirty="0"/>
              <a:t> 2,5km Radius um WEA)  </a:t>
            </a:r>
          </a:p>
          <a:p>
            <a:pPr marL="215900" indent="-215900"/>
            <a:r>
              <a:rPr lang="de-DE" dirty="0"/>
              <a:t>Unterstützung durch Statkraft bei der Gründung einer Bürgerenergiegesellschaft (SPV)</a:t>
            </a:r>
          </a:p>
          <a:p>
            <a:pPr marL="215900" indent="-215900"/>
            <a:endParaRPr lang="de-DE" dirty="0"/>
          </a:p>
          <a:p>
            <a:pPr marL="215900" indent="-215900"/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215900" indent="-215900"/>
            <a:endParaRPr lang="en-GB" dirty="0"/>
          </a:p>
          <a:p>
            <a:pPr marL="215900" indent="-215900"/>
            <a:endParaRPr lang="en-GB" dirty="0"/>
          </a:p>
          <a:p>
            <a:pPr marL="215900" indent="-215900"/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6F78D3-B1AA-4279-B91D-2094BF9904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2ACB19-C0E1-7345-B8BA-15A723BE30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BBB3B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54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BBB3B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25269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C6B5647-4B98-DC35-D492-8BC089D7FF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18</a:t>
            </a:fld>
            <a:endParaRPr lang="en-GB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1B64B3E-3970-CC11-2274-CA7D6DDA81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7766" y="136607"/>
            <a:ext cx="8914555" cy="6260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663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DE4068-BF96-48C4-8CEE-EEBF335A77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DE4068-BF96-48C4-8CEE-EEBF335A7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01D3056-9A18-49FC-A29A-7C2AC2FEAAC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4862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endParaRPr kumimoji="0" lang="en-GB" sz="3200" b="1" i="0" u="none" strike="noStrike" kern="1200" cap="none" spc="0" normalizeH="0" baseline="0" noProof="0">
              <a:ln>
                <a:noFill/>
              </a:ln>
              <a:solidFill>
                <a:srgbClr val="7A6F6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C6387B4-4DB2-4B3E-A35A-5CBE1FDB0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237" y="577216"/>
            <a:ext cx="7431559" cy="607740"/>
          </a:xfrm>
        </p:spPr>
        <p:txBody>
          <a:bodyPr/>
          <a:lstStyle/>
          <a:p>
            <a:r>
              <a:rPr lang="en-GB" dirty="0"/>
              <a:t>Unser </a:t>
            </a:r>
            <a:r>
              <a:rPr lang="en-GB" dirty="0" err="1"/>
              <a:t>Vorschlag</a:t>
            </a:r>
            <a:r>
              <a:rPr lang="en-GB" dirty="0"/>
              <a:t> für </a:t>
            </a:r>
            <a:r>
              <a:rPr lang="en-GB" dirty="0" err="1"/>
              <a:t>ein</a:t>
            </a:r>
            <a:r>
              <a:rPr lang="en-GB" dirty="0"/>
              <a:t> Repower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6F78D3-B1AA-4279-B91D-2094BF9904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2ACB19-C0E1-7345-B8BA-15A723BE30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BBB3B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54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BBB3B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aphicFrame>
        <p:nvGraphicFramePr>
          <p:cNvPr id="954" name="Diagram 954">
            <a:extLst>
              <a:ext uri="{FF2B5EF4-FFF2-40B4-BE49-F238E27FC236}">
                <a16:creationId xmlns:a16="http://schemas.microsoft.com/office/drawing/2014/main" id="{A34E0E55-01FF-4DB9-99A3-3F9D02A7CC1E}"/>
              </a:ext>
            </a:extLst>
          </p:cNvPr>
          <p:cNvGraphicFramePr/>
          <p:nvPr/>
        </p:nvGraphicFramePr>
        <p:xfrm>
          <a:off x="7698242" y="1137553"/>
          <a:ext cx="4369027" cy="47745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2AF5D53A-5710-49F9-A889-A6DC0DCFE401}"/>
              </a:ext>
            </a:extLst>
          </p:cNvPr>
          <p:cNvGrpSpPr/>
          <p:nvPr/>
        </p:nvGrpSpPr>
        <p:grpSpPr>
          <a:xfrm rot="1516678">
            <a:off x="10804979" y="840173"/>
            <a:ext cx="1115568" cy="461292"/>
            <a:chOff x="9235440" y="484632"/>
            <a:chExt cx="1115568" cy="461292"/>
          </a:xfrm>
        </p:grpSpPr>
        <p:sp>
          <p:nvSpPr>
            <p:cNvPr id="8" name="Rechteck: abgerundete Ecken 7">
              <a:extLst>
                <a:ext uri="{FF2B5EF4-FFF2-40B4-BE49-F238E27FC236}">
                  <a16:creationId xmlns:a16="http://schemas.microsoft.com/office/drawing/2014/main" id="{D69722D9-3DDC-409C-B696-B70F432670F5}"/>
                </a:ext>
              </a:extLst>
            </p:cNvPr>
            <p:cNvSpPr/>
            <p:nvPr/>
          </p:nvSpPr>
          <p:spPr>
            <a:xfrm>
              <a:off x="9235440" y="484632"/>
              <a:ext cx="1115568" cy="461292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B0DC"/>
                </a:buClr>
                <a:buSzPct val="120000"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7A6F6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EE0DC586-40AE-48CD-AB0E-0C2AC4F143E4}"/>
                </a:ext>
              </a:extLst>
            </p:cNvPr>
            <p:cNvSpPr txBox="1"/>
            <p:nvPr/>
          </p:nvSpPr>
          <p:spPr>
            <a:xfrm>
              <a:off x="9409176" y="484632"/>
              <a:ext cx="813816" cy="430887"/>
            </a:xfrm>
            <a:prstGeom prst="rect">
              <a:avLst/>
            </a:prstGeom>
            <a:noFill/>
            <a:ln w="25400" cap="rnd">
              <a:noFill/>
              <a:extLst>
                <a:ext uri="{C807C97D-BFC1-408E-A445-0C87EB9F89A2}">
                  <ask:lineSketchStyleProps xmlns:ask="http://schemas.microsoft.com/office/drawing/2018/sketchyshapes" sd="1219033472">
                    <a:custGeom>
                      <a:avLst/>
                      <a:gdLst>
                        <a:gd name="connsiteX0" fmla="*/ 0 w 813816"/>
                        <a:gd name="connsiteY0" fmla="*/ 0 h 430887"/>
                        <a:gd name="connsiteX1" fmla="*/ 398770 w 813816"/>
                        <a:gd name="connsiteY1" fmla="*/ 0 h 430887"/>
                        <a:gd name="connsiteX2" fmla="*/ 813816 w 813816"/>
                        <a:gd name="connsiteY2" fmla="*/ 0 h 430887"/>
                        <a:gd name="connsiteX3" fmla="*/ 813816 w 813816"/>
                        <a:gd name="connsiteY3" fmla="*/ 430887 h 430887"/>
                        <a:gd name="connsiteX4" fmla="*/ 406908 w 813816"/>
                        <a:gd name="connsiteY4" fmla="*/ 430887 h 430887"/>
                        <a:gd name="connsiteX5" fmla="*/ 0 w 813816"/>
                        <a:gd name="connsiteY5" fmla="*/ 430887 h 430887"/>
                        <a:gd name="connsiteX6" fmla="*/ 0 w 813816"/>
                        <a:gd name="connsiteY6" fmla="*/ 0 h 43088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813816" h="430887" extrusionOk="0">
                          <a:moveTo>
                            <a:pt x="0" y="0"/>
                          </a:moveTo>
                          <a:cubicBezTo>
                            <a:pt x="186271" y="-9235"/>
                            <a:pt x="283333" y="11403"/>
                            <a:pt x="398770" y="0"/>
                          </a:cubicBezTo>
                          <a:cubicBezTo>
                            <a:pt x="514207" y="-11403"/>
                            <a:pt x="692387" y="12568"/>
                            <a:pt x="813816" y="0"/>
                          </a:cubicBezTo>
                          <a:cubicBezTo>
                            <a:pt x="846539" y="149846"/>
                            <a:pt x="811828" y="341051"/>
                            <a:pt x="813816" y="430887"/>
                          </a:cubicBezTo>
                          <a:cubicBezTo>
                            <a:pt x="630888" y="457552"/>
                            <a:pt x="606883" y="411204"/>
                            <a:pt x="406908" y="430887"/>
                          </a:cubicBezTo>
                          <a:cubicBezTo>
                            <a:pt x="206933" y="450570"/>
                            <a:pt x="90468" y="409342"/>
                            <a:pt x="0" y="430887"/>
                          </a:cubicBezTo>
                          <a:cubicBezTo>
                            <a:pt x="-11119" y="337737"/>
                            <a:pt x="49594" y="150309"/>
                            <a:pt x="0" y="0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B0DC"/>
                </a:buClr>
                <a:buSzPct val="120000"/>
                <a:buFontTx/>
                <a:buNone/>
                <a:tabLst/>
                <a:defRPr/>
              </a:pPr>
              <a:r>
                <a:rPr kumimoji="0" lang="de-DE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DC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2024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971D28E6-F577-4EA0-AF58-6DE39F6C3638}"/>
              </a:ext>
            </a:extLst>
          </p:cNvPr>
          <p:cNvGrpSpPr/>
          <p:nvPr/>
        </p:nvGrpSpPr>
        <p:grpSpPr>
          <a:xfrm rot="1516678">
            <a:off x="10804979" y="2172942"/>
            <a:ext cx="1115568" cy="461292"/>
            <a:chOff x="9235440" y="484632"/>
            <a:chExt cx="1115568" cy="461292"/>
          </a:xfrm>
        </p:grpSpPr>
        <p:sp>
          <p:nvSpPr>
            <p:cNvPr id="13" name="Rechteck: abgerundete Ecken 12">
              <a:extLst>
                <a:ext uri="{FF2B5EF4-FFF2-40B4-BE49-F238E27FC236}">
                  <a16:creationId xmlns:a16="http://schemas.microsoft.com/office/drawing/2014/main" id="{6FCA214F-B95D-4460-BEB2-A8729329A1C9}"/>
                </a:ext>
              </a:extLst>
            </p:cNvPr>
            <p:cNvSpPr/>
            <p:nvPr/>
          </p:nvSpPr>
          <p:spPr>
            <a:xfrm>
              <a:off x="9235440" y="484632"/>
              <a:ext cx="1115568" cy="461292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B0DC"/>
                </a:buClr>
                <a:buSzPct val="120000"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7A6F6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671E4948-FAAE-4705-A3CC-E3BE164642AB}"/>
                </a:ext>
              </a:extLst>
            </p:cNvPr>
            <p:cNvSpPr txBox="1"/>
            <p:nvPr/>
          </p:nvSpPr>
          <p:spPr>
            <a:xfrm>
              <a:off x="9409176" y="484632"/>
              <a:ext cx="813816" cy="430887"/>
            </a:xfrm>
            <a:prstGeom prst="rect">
              <a:avLst/>
            </a:prstGeom>
            <a:noFill/>
            <a:ln w="25400" cap="rnd">
              <a:noFill/>
              <a:extLst>
                <a:ext uri="{C807C97D-BFC1-408E-A445-0C87EB9F89A2}">
                  <ask:lineSketchStyleProps xmlns:ask="http://schemas.microsoft.com/office/drawing/2018/sketchyshapes" sd="1219033472">
                    <a:custGeom>
                      <a:avLst/>
                      <a:gdLst>
                        <a:gd name="connsiteX0" fmla="*/ 0 w 813816"/>
                        <a:gd name="connsiteY0" fmla="*/ 0 h 430887"/>
                        <a:gd name="connsiteX1" fmla="*/ 398770 w 813816"/>
                        <a:gd name="connsiteY1" fmla="*/ 0 h 430887"/>
                        <a:gd name="connsiteX2" fmla="*/ 813816 w 813816"/>
                        <a:gd name="connsiteY2" fmla="*/ 0 h 430887"/>
                        <a:gd name="connsiteX3" fmla="*/ 813816 w 813816"/>
                        <a:gd name="connsiteY3" fmla="*/ 430887 h 430887"/>
                        <a:gd name="connsiteX4" fmla="*/ 406908 w 813816"/>
                        <a:gd name="connsiteY4" fmla="*/ 430887 h 430887"/>
                        <a:gd name="connsiteX5" fmla="*/ 0 w 813816"/>
                        <a:gd name="connsiteY5" fmla="*/ 430887 h 430887"/>
                        <a:gd name="connsiteX6" fmla="*/ 0 w 813816"/>
                        <a:gd name="connsiteY6" fmla="*/ 0 h 43088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813816" h="430887" extrusionOk="0">
                          <a:moveTo>
                            <a:pt x="0" y="0"/>
                          </a:moveTo>
                          <a:cubicBezTo>
                            <a:pt x="186271" y="-9235"/>
                            <a:pt x="283333" y="11403"/>
                            <a:pt x="398770" y="0"/>
                          </a:cubicBezTo>
                          <a:cubicBezTo>
                            <a:pt x="514207" y="-11403"/>
                            <a:pt x="692387" y="12568"/>
                            <a:pt x="813816" y="0"/>
                          </a:cubicBezTo>
                          <a:cubicBezTo>
                            <a:pt x="846539" y="149846"/>
                            <a:pt x="811828" y="341051"/>
                            <a:pt x="813816" y="430887"/>
                          </a:cubicBezTo>
                          <a:cubicBezTo>
                            <a:pt x="630888" y="457552"/>
                            <a:pt x="606883" y="411204"/>
                            <a:pt x="406908" y="430887"/>
                          </a:cubicBezTo>
                          <a:cubicBezTo>
                            <a:pt x="206933" y="450570"/>
                            <a:pt x="90468" y="409342"/>
                            <a:pt x="0" y="430887"/>
                          </a:cubicBezTo>
                          <a:cubicBezTo>
                            <a:pt x="-11119" y="337737"/>
                            <a:pt x="49594" y="150309"/>
                            <a:pt x="0" y="0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B0DC"/>
                </a:buClr>
                <a:buSzPct val="120000"/>
                <a:buFontTx/>
                <a:buNone/>
                <a:tabLst/>
                <a:defRPr/>
              </a:pPr>
              <a:r>
                <a:rPr kumimoji="0" lang="de-DE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DC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2025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5E82F25-754A-4118-92B9-A3B276974A1A}"/>
              </a:ext>
            </a:extLst>
          </p:cNvPr>
          <p:cNvGrpSpPr/>
          <p:nvPr/>
        </p:nvGrpSpPr>
        <p:grpSpPr>
          <a:xfrm rot="1516678">
            <a:off x="10804979" y="3518073"/>
            <a:ext cx="1115568" cy="461292"/>
            <a:chOff x="9235440" y="484632"/>
            <a:chExt cx="1115568" cy="461292"/>
          </a:xfrm>
        </p:grpSpPr>
        <p:sp>
          <p:nvSpPr>
            <p:cNvPr id="16" name="Rechteck: abgerundete Ecken 15">
              <a:extLst>
                <a:ext uri="{FF2B5EF4-FFF2-40B4-BE49-F238E27FC236}">
                  <a16:creationId xmlns:a16="http://schemas.microsoft.com/office/drawing/2014/main" id="{B2130CB6-007E-4B06-BA7D-D1D69021999E}"/>
                </a:ext>
              </a:extLst>
            </p:cNvPr>
            <p:cNvSpPr/>
            <p:nvPr/>
          </p:nvSpPr>
          <p:spPr>
            <a:xfrm>
              <a:off x="9235440" y="484632"/>
              <a:ext cx="1115568" cy="461292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B0DC"/>
                </a:buClr>
                <a:buSzPct val="120000"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7A6F6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08D2319D-A899-4B51-BB08-9C3BD7C149B9}"/>
                </a:ext>
              </a:extLst>
            </p:cNvPr>
            <p:cNvSpPr txBox="1"/>
            <p:nvPr/>
          </p:nvSpPr>
          <p:spPr>
            <a:xfrm>
              <a:off x="9409176" y="484632"/>
              <a:ext cx="813816" cy="430887"/>
            </a:xfrm>
            <a:prstGeom prst="rect">
              <a:avLst/>
            </a:prstGeom>
            <a:noFill/>
            <a:ln w="25400" cap="rnd">
              <a:noFill/>
              <a:extLst>
                <a:ext uri="{C807C97D-BFC1-408E-A445-0C87EB9F89A2}">
                  <ask:lineSketchStyleProps xmlns:ask="http://schemas.microsoft.com/office/drawing/2018/sketchyshapes" sd="1219033472">
                    <a:custGeom>
                      <a:avLst/>
                      <a:gdLst>
                        <a:gd name="connsiteX0" fmla="*/ 0 w 813816"/>
                        <a:gd name="connsiteY0" fmla="*/ 0 h 430887"/>
                        <a:gd name="connsiteX1" fmla="*/ 398770 w 813816"/>
                        <a:gd name="connsiteY1" fmla="*/ 0 h 430887"/>
                        <a:gd name="connsiteX2" fmla="*/ 813816 w 813816"/>
                        <a:gd name="connsiteY2" fmla="*/ 0 h 430887"/>
                        <a:gd name="connsiteX3" fmla="*/ 813816 w 813816"/>
                        <a:gd name="connsiteY3" fmla="*/ 430887 h 430887"/>
                        <a:gd name="connsiteX4" fmla="*/ 406908 w 813816"/>
                        <a:gd name="connsiteY4" fmla="*/ 430887 h 430887"/>
                        <a:gd name="connsiteX5" fmla="*/ 0 w 813816"/>
                        <a:gd name="connsiteY5" fmla="*/ 430887 h 430887"/>
                        <a:gd name="connsiteX6" fmla="*/ 0 w 813816"/>
                        <a:gd name="connsiteY6" fmla="*/ 0 h 43088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813816" h="430887" extrusionOk="0">
                          <a:moveTo>
                            <a:pt x="0" y="0"/>
                          </a:moveTo>
                          <a:cubicBezTo>
                            <a:pt x="186271" y="-9235"/>
                            <a:pt x="283333" y="11403"/>
                            <a:pt x="398770" y="0"/>
                          </a:cubicBezTo>
                          <a:cubicBezTo>
                            <a:pt x="514207" y="-11403"/>
                            <a:pt x="692387" y="12568"/>
                            <a:pt x="813816" y="0"/>
                          </a:cubicBezTo>
                          <a:cubicBezTo>
                            <a:pt x="846539" y="149846"/>
                            <a:pt x="811828" y="341051"/>
                            <a:pt x="813816" y="430887"/>
                          </a:cubicBezTo>
                          <a:cubicBezTo>
                            <a:pt x="630888" y="457552"/>
                            <a:pt x="606883" y="411204"/>
                            <a:pt x="406908" y="430887"/>
                          </a:cubicBezTo>
                          <a:cubicBezTo>
                            <a:pt x="206933" y="450570"/>
                            <a:pt x="90468" y="409342"/>
                            <a:pt x="0" y="430887"/>
                          </a:cubicBezTo>
                          <a:cubicBezTo>
                            <a:pt x="-11119" y="337737"/>
                            <a:pt x="49594" y="150309"/>
                            <a:pt x="0" y="0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B0DC"/>
                </a:buClr>
                <a:buSzPct val="120000"/>
                <a:buFontTx/>
                <a:buNone/>
                <a:tabLst/>
                <a:defRPr/>
              </a:pPr>
              <a:r>
                <a:rPr kumimoji="0" lang="de-DE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DC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2026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F841D59-D072-4E1B-886C-DBAF96742768}"/>
              </a:ext>
            </a:extLst>
          </p:cNvPr>
          <p:cNvGrpSpPr/>
          <p:nvPr/>
        </p:nvGrpSpPr>
        <p:grpSpPr>
          <a:xfrm rot="1516678">
            <a:off x="10804979" y="4889734"/>
            <a:ext cx="1115568" cy="461292"/>
            <a:chOff x="9235440" y="484632"/>
            <a:chExt cx="1115568" cy="461292"/>
          </a:xfrm>
        </p:grpSpPr>
        <p:sp>
          <p:nvSpPr>
            <p:cNvPr id="19" name="Rechteck: abgerundete Ecken 18">
              <a:extLst>
                <a:ext uri="{FF2B5EF4-FFF2-40B4-BE49-F238E27FC236}">
                  <a16:creationId xmlns:a16="http://schemas.microsoft.com/office/drawing/2014/main" id="{9B0C065A-BD15-4E1A-8BA3-B26966761002}"/>
                </a:ext>
              </a:extLst>
            </p:cNvPr>
            <p:cNvSpPr/>
            <p:nvPr/>
          </p:nvSpPr>
          <p:spPr>
            <a:xfrm>
              <a:off x="9235440" y="484632"/>
              <a:ext cx="1115568" cy="461292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B0DC"/>
                </a:buClr>
                <a:buSzPct val="120000"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7A6F6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85E7B9D3-BFE7-4D69-A7BA-C77BA8182DB1}"/>
                </a:ext>
              </a:extLst>
            </p:cNvPr>
            <p:cNvSpPr txBox="1"/>
            <p:nvPr/>
          </p:nvSpPr>
          <p:spPr>
            <a:xfrm>
              <a:off x="9409176" y="484632"/>
              <a:ext cx="813816" cy="430887"/>
            </a:xfrm>
            <a:prstGeom prst="rect">
              <a:avLst/>
            </a:prstGeom>
            <a:noFill/>
            <a:ln w="25400" cap="rnd">
              <a:noFill/>
              <a:extLst>
                <a:ext uri="{C807C97D-BFC1-408E-A445-0C87EB9F89A2}">
                  <ask:lineSketchStyleProps xmlns:ask="http://schemas.microsoft.com/office/drawing/2018/sketchyshapes" sd="1219033472">
                    <a:custGeom>
                      <a:avLst/>
                      <a:gdLst>
                        <a:gd name="connsiteX0" fmla="*/ 0 w 813816"/>
                        <a:gd name="connsiteY0" fmla="*/ 0 h 430887"/>
                        <a:gd name="connsiteX1" fmla="*/ 398770 w 813816"/>
                        <a:gd name="connsiteY1" fmla="*/ 0 h 430887"/>
                        <a:gd name="connsiteX2" fmla="*/ 813816 w 813816"/>
                        <a:gd name="connsiteY2" fmla="*/ 0 h 430887"/>
                        <a:gd name="connsiteX3" fmla="*/ 813816 w 813816"/>
                        <a:gd name="connsiteY3" fmla="*/ 430887 h 430887"/>
                        <a:gd name="connsiteX4" fmla="*/ 406908 w 813816"/>
                        <a:gd name="connsiteY4" fmla="*/ 430887 h 430887"/>
                        <a:gd name="connsiteX5" fmla="*/ 0 w 813816"/>
                        <a:gd name="connsiteY5" fmla="*/ 430887 h 430887"/>
                        <a:gd name="connsiteX6" fmla="*/ 0 w 813816"/>
                        <a:gd name="connsiteY6" fmla="*/ 0 h 43088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813816" h="430887" extrusionOk="0">
                          <a:moveTo>
                            <a:pt x="0" y="0"/>
                          </a:moveTo>
                          <a:cubicBezTo>
                            <a:pt x="186271" y="-9235"/>
                            <a:pt x="283333" y="11403"/>
                            <a:pt x="398770" y="0"/>
                          </a:cubicBezTo>
                          <a:cubicBezTo>
                            <a:pt x="514207" y="-11403"/>
                            <a:pt x="692387" y="12568"/>
                            <a:pt x="813816" y="0"/>
                          </a:cubicBezTo>
                          <a:cubicBezTo>
                            <a:pt x="846539" y="149846"/>
                            <a:pt x="811828" y="341051"/>
                            <a:pt x="813816" y="430887"/>
                          </a:cubicBezTo>
                          <a:cubicBezTo>
                            <a:pt x="630888" y="457552"/>
                            <a:pt x="606883" y="411204"/>
                            <a:pt x="406908" y="430887"/>
                          </a:cubicBezTo>
                          <a:cubicBezTo>
                            <a:pt x="206933" y="450570"/>
                            <a:pt x="90468" y="409342"/>
                            <a:pt x="0" y="430887"/>
                          </a:cubicBezTo>
                          <a:cubicBezTo>
                            <a:pt x="-11119" y="337737"/>
                            <a:pt x="49594" y="150309"/>
                            <a:pt x="0" y="0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B0DC"/>
                </a:buClr>
                <a:buSzPct val="120000"/>
                <a:buFontTx/>
                <a:buNone/>
                <a:tabLst/>
                <a:defRPr/>
              </a:pPr>
              <a:r>
                <a:rPr kumimoji="0" lang="de-DE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DC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2027</a:t>
              </a:r>
            </a:p>
          </p:txBody>
        </p:sp>
      </p:grpSp>
      <p:pic>
        <p:nvPicPr>
          <p:cNvPr id="22" name="Grafik 21">
            <a:extLst>
              <a:ext uri="{FF2B5EF4-FFF2-40B4-BE49-F238E27FC236}">
                <a16:creationId xmlns:a16="http://schemas.microsoft.com/office/drawing/2014/main" id="{03008A64-DE16-B1EA-E798-5F2BE0EBF0F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35117" y="2060359"/>
            <a:ext cx="7439304" cy="3294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01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Text, Kleidung, Himmel, draußen enthält.&#10;&#10;Automatisch generierte Beschreibung">
            <a:extLst>
              <a:ext uri="{FF2B5EF4-FFF2-40B4-BE49-F238E27FC236}">
                <a16:creationId xmlns:a16="http://schemas.microsoft.com/office/drawing/2014/main" id="{2C22C883-4F11-FAAD-03D9-24E6070A854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42" b="4942"/>
          <a:stretch>
            <a:fillRect/>
          </a:stretch>
        </p:blipFill>
        <p:spPr/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C8C3F29-E474-A399-B7C2-72343724587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709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 descr="A picture containing outdoor, grass, person, man&#10;&#10;Description automatically generated">
            <a:extLst>
              <a:ext uri="{FF2B5EF4-FFF2-40B4-BE49-F238E27FC236}">
                <a16:creationId xmlns:a16="http://schemas.microsoft.com/office/drawing/2014/main" id="{FCC6C389-FD31-4F88-8A6D-84039BC8A83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A84546B-A848-43F8-B42F-93708FFCBB1D}"/>
              </a:ext>
            </a:extLst>
          </p:cNvPr>
          <p:cNvSpPr txBox="1"/>
          <p:nvPr/>
        </p:nvSpPr>
        <p:spPr>
          <a:xfrm>
            <a:off x="1380596" y="183736"/>
            <a:ext cx="4645661" cy="41242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7A6F6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Herzlichen Dank für Ihre Aufmerksamkeit!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7A6F6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endParaRPr lang="de-DE" sz="1200" b="1" dirty="0">
              <a:solidFill>
                <a:srgbClr val="7A6F69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7A6F6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oman Goodarzi</a:t>
            </a: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7A6F6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essesprecher Wind &amp; Solar</a:t>
            </a: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7A6F6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LEFONNUMMER</a:t>
            </a: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7A6F6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49 171 9182010</a:t>
            </a: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7A6F6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-MAIL</a:t>
            </a: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7A6F6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oman.goodarzi@statkraft.com</a:t>
            </a: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endParaRPr lang="de-DE" sz="1200" b="1" dirty="0">
              <a:solidFill>
                <a:srgbClr val="7A6F69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7A6F6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Jonathan Eberlein</a:t>
            </a: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7A6F6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oject Manager Wind &amp; Solar</a:t>
            </a: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7A6F6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LEFONNUMMER</a:t>
            </a: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7A6F6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49 171 9153162</a:t>
            </a: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7A6F6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-MAIL</a:t>
            </a: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7A6F6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Jonathan.Eberlein@statkraft.com</a:t>
            </a: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endParaRPr lang="de-DE" sz="1200" b="1" dirty="0">
              <a:solidFill>
                <a:srgbClr val="7A6F69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endParaRPr kumimoji="0" lang="de-DE" sz="1200" b="1" i="1" u="none" strike="noStrike" kern="1200" cap="none" spc="0" normalizeH="0" baseline="0" noProof="0" dirty="0">
              <a:ln>
                <a:noFill/>
              </a:ln>
              <a:solidFill>
                <a:srgbClr val="7A6F6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endParaRPr lang="de-DE" sz="1200" b="1" dirty="0">
              <a:solidFill>
                <a:srgbClr val="7A6F69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7A6F6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endParaRPr lang="de-DE" sz="1200" b="1" dirty="0">
              <a:solidFill>
                <a:srgbClr val="7A6F69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7A6F6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54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7A6F6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2167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A3FF2E-635E-409E-87A8-B2A4B71A0A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DA3FF2E-635E-409E-87A8-B2A4B71A0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A35B5D0-A0F4-4FED-A5EE-73DA737F15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GB" sz="3200" b="1">
              <a:solidFill>
                <a:schemeClr val="accent5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06E5D2-F023-4545-BE1C-CADF2FBB02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3D23B366-78B8-4145-BE55-753BE2671E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236" y="577216"/>
            <a:ext cx="10535861" cy="907097"/>
          </a:xfrm>
        </p:spPr>
        <p:txBody>
          <a:bodyPr/>
          <a:lstStyle/>
          <a:p>
            <a:r>
              <a:rPr lang="de-DE" err="1"/>
              <a:t>Statkraft</a:t>
            </a:r>
            <a:r>
              <a:rPr lang="de-DE"/>
              <a:t> – über 125 Jahre Erneuerbare Energie</a:t>
            </a:r>
          </a:p>
        </p:txBody>
      </p:sp>
      <p:pic>
        <p:nvPicPr>
          <p:cNvPr id="2" name="Picture 19" descr="A picture containing outdoor, mountain, steam, nature&#10;&#10;Description automatically generated">
            <a:extLst>
              <a:ext uri="{FF2B5EF4-FFF2-40B4-BE49-F238E27FC236}">
                <a16:creationId xmlns:a16="http://schemas.microsoft.com/office/drawing/2014/main" id="{57BC3F15-0C57-37B8-C09F-B5AFBCDBC37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443"/>
          <a:stretch/>
        </p:blipFill>
        <p:spPr>
          <a:xfrm>
            <a:off x="5301040" y="1496749"/>
            <a:ext cx="4878256" cy="2106000"/>
          </a:xfrm>
          <a:prstGeom prst="rect">
            <a:avLst/>
          </a:prstGeom>
        </p:spPr>
      </p:pic>
      <p:pic>
        <p:nvPicPr>
          <p:cNvPr id="6" name="Picture 7" descr="A picture containing text, outdoor, person, old&#10;&#10;Description automatically generated">
            <a:extLst>
              <a:ext uri="{FF2B5EF4-FFF2-40B4-BE49-F238E27FC236}">
                <a16:creationId xmlns:a16="http://schemas.microsoft.com/office/drawing/2014/main" id="{4AFECC34-43B1-1552-5D98-380277767C37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2136"/>
          <a:stretch/>
        </p:blipFill>
        <p:spPr>
          <a:xfrm>
            <a:off x="5312404" y="3576592"/>
            <a:ext cx="4869573" cy="2106000"/>
          </a:xfrm>
          <a:prstGeom prst="rect">
            <a:avLst/>
          </a:prstGeom>
        </p:spPr>
      </p:pic>
      <p:pic>
        <p:nvPicPr>
          <p:cNvPr id="7" name="Picture 17">
            <a:extLst>
              <a:ext uri="{FF2B5EF4-FFF2-40B4-BE49-F238E27FC236}">
                <a16:creationId xmlns:a16="http://schemas.microsoft.com/office/drawing/2014/main" id="{6D645EE8-D6BE-2655-B788-2FA22C5658B0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63"/>
          <a:stretch/>
        </p:blipFill>
        <p:spPr>
          <a:xfrm>
            <a:off x="9744000" y="1485770"/>
            <a:ext cx="2448000" cy="4198200"/>
          </a:xfrm>
          <a:prstGeom prst="rect">
            <a:avLst/>
          </a:prstGeom>
        </p:spPr>
      </p:pic>
      <p:pic>
        <p:nvPicPr>
          <p:cNvPr id="9" name="Picture Placeholder 7">
            <a:extLst>
              <a:ext uri="{FF2B5EF4-FFF2-40B4-BE49-F238E27FC236}">
                <a16:creationId xmlns:a16="http://schemas.microsoft.com/office/drawing/2014/main" id="{930CE0DD-576D-35D7-8AE3-2198D4D29281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551" b="12199"/>
          <a:stretch/>
        </p:blipFill>
        <p:spPr>
          <a:xfrm>
            <a:off x="6616" y="1489914"/>
            <a:ext cx="5638800" cy="41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059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A3FF2E-635E-409E-87A8-B2A4B71A0A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DA3FF2E-635E-409E-87A8-B2A4B71A0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A35B5D0-A0F4-4FED-A5EE-73DA737F15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GB" sz="3200" b="1">
              <a:solidFill>
                <a:schemeClr val="accent5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5FB3E9-87FA-485F-BF0B-9340FE18C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kraft </a:t>
            </a:r>
            <a:r>
              <a:rPr lang="en-GB"/>
              <a:t>– weltweit 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06E5D2-F023-4545-BE1C-CADF2FBB02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58C30D6-5723-43BF-BF35-445B7959D433}"/>
              </a:ext>
            </a:extLst>
          </p:cNvPr>
          <p:cNvSpPr/>
          <p:nvPr/>
        </p:nvSpPr>
        <p:spPr>
          <a:xfrm>
            <a:off x="3048000" y="1830023"/>
            <a:ext cx="3048000" cy="209586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200"/>
              </a:spcBef>
              <a:buClr>
                <a:srgbClr val="00B0DC"/>
              </a:buClr>
              <a:buSzPct val="120000"/>
            </a:pPr>
            <a:r>
              <a:rPr lang="en-GB" sz="1800" kern="0" dirty="0" err="1">
                <a:solidFill>
                  <a:schemeClr val="bg1"/>
                </a:solidFill>
                <a:cs typeface="Arial"/>
              </a:rPr>
              <a:t>Klimafreundliche</a:t>
            </a:r>
            <a:r>
              <a:rPr lang="en-GB" sz="1800" kern="0" dirty="0">
                <a:solidFill>
                  <a:schemeClr val="bg1"/>
                </a:solidFill>
                <a:cs typeface="Arial"/>
              </a:rPr>
              <a:t> </a:t>
            </a:r>
            <a:r>
              <a:rPr lang="en-GB" sz="1800" kern="0" dirty="0" err="1">
                <a:solidFill>
                  <a:schemeClr val="bg1"/>
                </a:solidFill>
                <a:cs typeface="Arial"/>
              </a:rPr>
              <a:t>Stromerzeugung</a:t>
            </a:r>
            <a:endParaRPr lang="en-GB" sz="1800" kern="0" dirty="0">
              <a:solidFill>
                <a:schemeClr val="bg1"/>
              </a:solidFill>
              <a:cs typeface="Arial"/>
            </a:endParaRPr>
          </a:p>
          <a:p>
            <a:pPr lvl="0" algn="ctr">
              <a:spcBef>
                <a:spcPts val="200"/>
              </a:spcBef>
              <a:buClr>
                <a:srgbClr val="00B0DC"/>
              </a:buClr>
              <a:buSzPct val="120000"/>
            </a:pPr>
            <a:r>
              <a:rPr lang="en-GB" sz="4000" b="1" dirty="0">
                <a:solidFill>
                  <a:srgbClr val="FFFFFF"/>
                </a:solidFill>
              </a:rPr>
              <a:t>60 </a:t>
            </a:r>
            <a:r>
              <a:rPr lang="en-GB" sz="4000" b="1" dirty="0" err="1">
                <a:solidFill>
                  <a:srgbClr val="FFFFFF"/>
                </a:solidFill>
              </a:rPr>
              <a:t>TWh</a:t>
            </a:r>
            <a:endParaRPr lang="en-GB" sz="4000" b="1" dirty="0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8556D4A-7412-438C-973E-D0D3E24BBECB}"/>
              </a:ext>
            </a:extLst>
          </p:cNvPr>
          <p:cNvSpPr/>
          <p:nvPr/>
        </p:nvSpPr>
        <p:spPr>
          <a:xfrm>
            <a:off x="6096000" y="1830023"/>
            <a:ext cx="3048000" cy="209586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  <a:buClr>
                <a:srgbClr val="00B0DC"/>
              </a:buClr>
              <a:buSzPct val="120000"/>
            </a:pPr>
            <a:r>
              <a:rPr lang="en-GB" sz="4000" b="1" dirty="0">
                <a:solidFill>
                  <a:srgbClr val="FFFFFF"/>
                </a:solidFill>
              </a:rPr>
              <a:t>97%</a:t>
            </a:r>
          </a:p>
          <a:p>
            <a:pPr lvl="0" algn="ctr" defTabSz="914400">
              <a:spcBef>
                <a:spcPts val="200"/>
              </a:spcBef>
              <a:defRPr/>
            </a:pPr>
            <a:r>
              <a:rPr lang="en-GB" sz="1800" kern="0" dirty="0" err="1">
                <a:solidFill>
                  <a:schemeClr val="bg1"/>
                </a:solidFill>
                <a:cs typeface="Arial"/>
              </a:rPr>
              <a:t>Erneuerbare</a:t>
            </a:r>
            <a:r>
              <a:rPr lang="en-GB" sz="1800" kern="0" dirty="0">
                <a:solidFill>
                  <a:schemeClr val="bg1"/>
                </a:solidFill>
                <a:cs typeface="Arial"/>
              </a:rPr>
              <a:t> Energi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93506D6-099C-4658-A6F9-988C7528E92F}"/>
              </a:ext>
            </a:extLst>
          </p:cNvPr>
          <p:cNvSpPr/>
          <p:nvPr/>
        </p:nvSpPr>
        <p:spPr>
          <a:xfrm>
            <a:off x="0" y="3925524"/>
            <a:ext cx="3048000" cy="2095499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200"/>
              </a:spcBef>
              <a:buClr>
                <a:srgbClr val="00B0DC"/>
              </a:buClr>
              <a:buSzPct val="120000"/>
            </a:pPr>
            <a:r>
              <a:rPr lang="en-GB" sz="4000" b="1" dirty="0">
                <a:solidFill>
                  <a:srgbClr val="FFFFFF"/>
                </a:solidFill>
              </a:rPr>
              <a:t>5.700</a:t>
            </a:r>
          </a:p>
          <a:p>
            <a:pPr lvl="0" algn="ctr" defTabSz="914400">
              <a:spcBef>
                <a:spcPts val="200"/>
              </a:spcBef>
              <a:defRPr/>
            </a:pPr>
            <a:r>
              <a:rPr lang="en-GB" sz="1800" kern="0" dirty="0" err="1">
                <a:solidFill>
                  <a:srgbClr val="FFFFFF"/>
                </a:solidFill>
                <a:cs typeface="Arial"/>
              </a:rPr>
              <a:t>Mitarbeiter:innen</a:t>
            </a:r>
            <a:br>
              <a:rPr lang="en-GB" sz="1800" kern="0" dirty="0">
                <a:solidFill>
                  <a:srgbClr val="FFFFFF"/>
                </a:solidFill>
                <a:cs typeface="Arial"/>
              </a:rPr>
            </a:br>
            <a:r>
              <a:rPr lang="en-GB" sz="1800" kern="0" dirty="0">
                <a:solidFill>
                  <a:srgbClr val="FFFFFF"/>
                </a:solidFill>
                <a:cs typeface="Arial"/>
              </a:rPr>
              <a:t> in 21 </a:t>
            </a:r>
            <a:r>
              <a:rPr lang="en-GB" sz="1800" kern="0" dirty="0" err="1">
                <a:solidFill>
                  <a:srgbClr val="FFFFFF"/>
                </a:solidFill>
                <a:cs typeface="Arial"/>
              </a:rPr>
              <a:t>Ländern</a:t>
            </a:r>
            <a:endParaRPr lang="en-GB" sz="1800" kern="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A921827-3CC2-4B86-9C6A-FB8A00874BA3}"/>
              </a:ext>
            </a:extLst>
          </p:cNvPr>
          <p:cNvSpPr/>
          <p:nvPr/>
        </p:nvSpPr>
        <p:spPr>
          <a:xfrm>
            <a:off x="3047998" y="3925524"/>
            <a:ext cx="3048002" cy="20958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  <a:buClr>
                <a:srgbClr val="00B0DC"/>
              </a:buClr>
              <a:buSzPct val="120000"/>
            </a:pPr>
            <a:endParaRPr lang="en-GB" sz="1800" kern="0" dirty="0">
              <a:solidFill>
                <a:srgbClr val="FFFFFF"/>
              </a:solidFill>
              <a:cs typeface="Arial"/>
            </a:endParaRPr>
          </a:p>
          <a:p>
            <a:pPr lvl="0" algn="ctr">
              <a:spcBef>
                <a:spcPts val="200"/>
              </a:spcBef>
              <a:buClr>
                <a:srgbClr val="00B0DC"/>
              </a:buClr>
              <a:buSzPct val="120000"/>
            </a:pPr>
            <a:r>
              <a:rPr lang="en-GB" sz="4000" b="1" dirty="0">
                <a:solidFill>
                  <a:srgbClr val="FFFFFF"/>
                </a:solidFill>
              </a:rPr>
              <a:t>478</a:t>
            </a:r>
            <a:endParaRPr lang="en-GB" sz="4000" b="1" dirty="0">
              <a:solidFill>
                <a:srgbClr val="FFFFFF"/>
              </a:solidFill>
              <a:cs typeface="Arial"/>
            </a:endParaRPr>
          </a:p>
          <a:p>
            <a:pPr lvl="0" algn="ctr" defTabSz="914400">
              <a:defRPr/>
            </a:pPr>
            <a:r>
              <a:rPr lang="en-GB" sz="1800" kern="0" dirty="0" err="1">
                <a:cs typeface="Arial"/>
              </a:rPr>
              <a:t>Kraftwerke</a:t>
            </a:r>
            <a:r>
              <a:rPr lang="en-GB" sz="1800" kern="0" dirty="0">
                <a:cs typeface="Arial"/>
              </a:rPr>
              <a:t> </a:t>
            </a:r>
            <a:r>
              <a:rPr lang="en-GB" sz="1800" kern="0" dirty="0" err="1">
                <a:cs typeface="Arial"/>
              </a:rPr>
              <a:t>weltweit</a:t>
            </a:r>
            <a:endParaRPr lang="en-GB" sz="1800" kern="0" dirty="0">
              <a:cs typeface="Arial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18F1CA3-9B9F-47B6-B9B6-12A18CC523A4}"/>
              </a:ext>
            </a:extLst>
          </p:cNvPr>
          <p:cNvSpPr/>
          <p:nvPr/>
        </p:nvSpPr>
        <p:spPr>
          <a:xfrm>
            <a:off x="9144001" y="3925159"/>
            <a:ext cx="3047996" cy="20962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  <a:buClr>
                <a:srgbClr val="00B0DC"/>
              </a:buClr>
              <a:buSzPct val="120000"/>
            </a:pPr>
            <a:r>
              <a:rPr lang="en-GB" sz="4000" b="1" dirty="0">
                <a:solidFill>
                  <a:srgbClr val="FFFFFF"/>
                </a:solidFill>
              </a:rPr>
              <a:t>100%</a:t>
            </a:r>
          </a:p>
          <a:p>
            <a:pPr lvl="0" algn="ctr" defTabSz="914400">
              <a:spcBef>
                <a:spcPts val="200"/>
              </a:spcBef>
              <a:defRPr/>
            </a:pPr>
            <a:r>
              <a:rPr lang="en-GB" sz="1800" kern="0" dirty="0" err="1">
                <a:solidFill>
                  <a:srgbClr val="FFFFFF"/>
                </a:solidFill>
                <a:cs typeface="Arial"/>
              </a:rPr>
              <a:t>Norwegisches</a:t>
            </a:r>
            <a:r>
              <a:rPr lang="en-GB" sz="1800" kern="0" dirty="0">
                <a:solidFill>
                  <a:srgbClr val="FFFFFF"/>
                </a:solidFill>
                <a:cs typeface="Arial"/>
              </a:rPr>
              <a:t> </a:t>
            </a:r>
            <a:r>
              <a:rPr lang="en-GB" sz="1800" kern="0" dirty="0" err="1">
                <a:solidFill>
                  <a:srgbClr val="FFFFFF"/>
                </a:solidFill>
                <a:cs typeface="Arial"/>
              </a:rPr>
              <a:t>Staatsunternehmen</a:t>
            </a:r>
            <a:endParaRPr lang="en-GB" sz="1800" kern="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FD071D5-67A2-4B59-B6AE-9521B9ECB136}"/>
              </a:ext>
            </a:extLst>
          </p:cNvPr>
          <p:cNvSpPr/>
          <p:nvPr/>
        </p:nvSpPr>
        <p:spPr>
          <a:xfrm>
            <a:off x="9144000" y="1830023"/>
            <a:ext cx="3048000" cy="209586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200"/>
              </a:spcBef>
              <a:buClr>
                <a:srgbClr val="00B0DC"/>
              </a:buClr>
              <a:buSzPct val="120000"/>
            </a:pPr>
            <a:r>
              <a:rPr lang="en-GB" sz="1800" kern="0" dirty="0">
                <a:solidFill>
                  <a:srgbClr val="FFFFFF"/>
                </a:solidFill>
                <a:cs typeface="Arial"/>
              </a:rPr>
              <a:t>Mehr </a:t>
            </a:r>
            <a:r>
              <a:rPr lang="en-GB" sz="1800" kern="0" dirty="0" err="1">
                <a:solidFill>
                  <a:srgbClr val="FFFFFF"/>
                </a:solidFill>
                <a:cs typeface="Arial"/>
              </a:rPr>
              <a:t>als</a:t>
            </a:r>
            <a:endParaRPr lang="en-GB" sz="1800" kern="0" dirty="0">
              <a:solidFill>
                <a:srgbClr val="FFFFFF"/>
              </a:solidFill>
              <a:cs typeface="Arial"/>
            </a:endParaRPr>
          </a:p>
          <a:p>
            <a:pPr lvl="0" algn="ctr">
              <a:spcBef>
                <a:spcPts val="200"/>
              </a:spcBef>
              <a:buClr>
                <a:srgbClr val="00B0DC"/>
              </a:buClr>
              <a:buSzPct val="120000"/>
            </a:pPr>
            <a:r>
              <a:rPr lang="en-GB" sz="4000" b="1" dirty="0">
                <a:solidFill>
                  <a:srgbClr val="FFFFFF"/>
                </a:solidFill>
              </a:rPr>
              <a:t>3 Mio.</a:t>
            </a:r>
          </a:p>
          <a:p>
            <a:pPr algn="ctr">
              <a:spcBef>
                <a:spcPts val="200"/>
              </a:spcBef>
              <a:buClr>
                <a:srgbClr val="00B0DC"/>
              </a:buClr>
              <a:buSzPct val="120000"/>
            </a:pPr>
            <a:r>
              <a:rPr lang="en-GB" sz="1800" kern="0" spc="-30" dirty="0" err="1">
                <a:solidFill>
                  <a:srgbClr val="FFFFFF"/>
                </a:solidFill>
                <a:cs typeface="Arial"/>
              </a:rPr>
              <a:t>energierelevante</a:t>
            </a:r>
            <a:r>
              <a:rPr lang="en-GB" sz="1800" kern="0" spc="-30" dirty="0">
                <a:solidFill>
                  <a:srgbClr val="FFFFFF"/>
                </a:solidFill>
                <a:cs typeface="Arial"/>
              </a:rPr>
              <a:t> </a:t>
            </a:r>
            <a:r>
              <a:rPr lang="en-GB" sz="1800" kern="0" spc="-30" dirty="0" err="1">
                <a:solidFill>
                  <a:srgbClr val="FFFFFF"/>
                </a:solidFill>
                <a:cs typeface="Arial"/>
              </a:rPr>
              <a:t>Handelsverträge</a:t>
            </a:r>
            <a:r>
              <a:rPr lang="en-GB" sz="1800" kern="0" spc="-30" dirty="0">
                <a:solidFill>
                  <a:srgbClr val="FFFFFF"/>
                </a:solidFill>
                <a:cs typeface="Arial"/>
              </a:rPr>
              <a:t> </a:t>
            </a:r>
            <a:r>
              <a:rPr lang="en-GB" sz="1800" kern="0" spc="-30" dirty="0" err="1">
                <a:solidFill>
                  <a:srgbClr val="FFFFFF"/>
                </a:solidFill>
                <a:cs typeface="Arial"/>
              </a:rPr>
              <a:t>jährlich</a:t>
            </a:r>
            <a:endParaRPr lang="en-GB" sz="1800" kern="0" dirty="0">
              <a:solidFill>
                <a:srgbClr val="FFFFFF"/>
              </a:solidFill>
              <a:cs typeface="Arial"/>
            </a:endParaRPr>
          </a:p>
        </p:txBody>
      </p:sp>
      <p:pic>
        <p:nvPicPr>
          <p:cNvPr id="29" name="Picture Placeholder 14">
            <a:extLst>
              <a:ext uri="{FF2B5EF4-FFF2-40B4-BE49-F238E27FC236}">
                <a16:creationId xmlns:a16="http://schemas.microsoft.com/office/drawing/2014/main" id="{10B78354-38ED-4564-8939-9D96446D32A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30023"/>
            <a:ext cx="3048000" cy="2096231"/>
          </a:xfrm>
          <a:prstGeom prst="rect">
            <a:avLst/>
          </a:prstGeom>
        </p:spPr>
      </p:pic>
      <p:pic>
        <p:nvPicPr>
          <p:cNvPr id="34" name="Picture 33" descr="A group of clouds in the sky over a body of water&#10;&#10;Description automatically generated">
            <a:extLst>
              <a:ext uri="{FF2B5EF4-FFF2-40B4-BE49-F238E27FC236}">
                <a16:creationId xmlns:a16="http://schemas.microsoft.com/office/drawing/2014/main" id="{B7D7D40B-BB1B-4757-99D6-BB86F39A10A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3925159"/>
            <a:ext cx="3048000" cy="2095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760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6D5775B-C91F-187F-B88D-0FFB81761FCF}"/>
              </a:ext>
            </a:extLst>
          </p:cNvPr>
          <p:cNvGrpSpPr/>
          <p:nvPr/>
        </p:nvGrpSpPr>
        <p:grpSpPr>
          <a:xfrm>
            <a:off x="1081022" y="954539"/>
            <a:ext cx="10137289" cy="5631461"/>
            <a:chOff x="868129" y="812737"/>
            <a:chExt cx="10329893" cy="5738456"/>
          </a:xfrm>
          <a:solidFill>
            <a:schemeClr val="accent2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17F1F06-E523-171F-E327-7EC53206FB22}"/>
                </a:ext>
              </a:extLst>
            </p:cNvPr>
            <p:cNvSpPr/>
            <p:nvPr/>
          </p:nvSpPr>
          <p:spPr>
            <a:xfrm>
              <a:off x="9440662" y="4635175"/>
              <a:ext cx="190208" cy="235951"/>
            </a:xfrm>
            <a:custGeom>
              <a:avLst/>
              <a:gdLst>
                <a:gd name="connsiteX0" fmla="*/ 0 w 190208"/>
                <a:gd name="connsiteY0" fmla="*/ 169037 h 235951"/>
                <a:gd name="connsiteX1" fmla="*/ 14103 w 190208"/>
                <a:gd name="connsiteY1" fmla="*/ 169037 h 235951"/>
                <a:gd name="connsiteX2" fmla="*/ 14103 w 190208"/>
                <a:gd name="connsiteY2" fmla="*/ 235952 h 235951"/>
                <a:gd name="connsiteX3" fmla="*/ 40546 w 190208"/>
                <a:gd name="connsiteY3" fmla="*/ 235952 h 235951"/>
                <a:gd name="connsiteX4" fmla="*/ 40546 w 190208"/>
                <a:gd name="connsiteY4" fmla="*/ 160248 h 235951"/>
                <a:gd name="connsiteX5" fmla="*/ 49739 w 190208"/>
                <a:gd name="connsiteY5" fmla="*/ 150996 h 235951"/>
                <a:gd name="connsiteX6" fmla="*/ 93333 w 190208"/>
                <a:gd name="connsiteY6" fmla="*/ 194599 h 235951"/>
                <a:gd name="connsiteX7" fmla="*/ 118887 w 190208"/>
                <a:gd name="connsiteY7" fmla="*/ 194599 h 235951"/>
                <a:gd name="connsiteX8" fmla="*/ 97749 w 190208"/>
                <a:gd name="connsiteY8" fmla="*/ 173436 h 235951"/>
                <a:gd name="connsiteX9" fmla="*/ 113829 w 190208"/>
                <a:gd name="connsiteY9" fmla="*/ 157390 h 235951"/>
                <a:gd name="connsiteX10" fmla="*/ 91999 w 190208"/>
                <a:gd name="connsiteY10" fmla="*/ 135592 h 235951"/>
                <a:gd name="connsiteX11" fmla="*/ 91999 w 190208"/>
                <a:gd name="connsiteY11" fmla="*/ 127223 h 235951"/>
                <a:gd name="connsiteX12" fmla="*/ 130304 w 190208"/>
                <a:gd name="connsiteY12" fmla="*/ 88934 h 235951"/>
                <a:gd name="connsiteX13" fmla="*/ 83662 w 190208"/>
                <a:gd name="connsiteY13" fmla="*/ 88934 h 235951"/>
                <a:gd name="connsiteX14" fmla="*/ 58999 w 190208"/>
                <a:gd name="connsiteY14" fmla="*/ 113564 h 235951"/>
                <a:gd name="connsiteX15" fmla="*/ 38734 w 190208"/>
                <a:gd name="connsiteY15" fmla="*/ 93341 h 235951"/>
                <a:gd name="connsiteX16" fmla="*/ 38734 w 190208"/>
                <a:gd name="connsiteY16" fmla="*/ 46649 h 235951"/>
                <a:gd name="connsiteX17" fmla="*/ 58109 w 190208"/>
                <a:gd name="connsiteY17" fmla="*/ 46649 h 235951"/>
                <a:gd name="connsiteX18" fmla="*/ 88111 w 190208"/>
                <a:gd name="connsiteY18" fmla="*/ 46649 h 235951"/>
                <a:gd name="connsiteX19" fmla="*/ 126811 w 190208"/>
                <a:gd name="connsiteY19" fmla="*/ 46649 h 235951"/>
                <a:gd name="connsiteX20" fmla="*/ 162893 w 190208"/>
                <a:gd name="connsiteY20" fmla="*/ 46649 h 235951"/>
                <a:gd name="connsiteX21" fmla="*/ 190209 w 190208"/>
                <a:gd name="connsiteY21" fmla="*/ 19350 h 235951"/>
                <a:gd name="connsiteX22" fmla="*/ 170834 w 190208"/>
                <a:gd name="connsiteY22" fmla="*/ 0 h 235951"/>
                <a:gd name="connsiteX23" fmla="*/ 146137 w 190208"/>
                <a:gd name="connsiteY23" fmla="*/ 24630 h 235951"/>
                <a:gd name="connsiteX24" fmla="*/ 28173 w 190208"/>
                <a:gd name="connsiteY24" fmla="*/ 24630 h 235951"/>
                <a:gd name="connsiteX25" fmla="*/ 28173 w 190208"/>
                <a:gd name="connsiteY25" fmla="*/ 105665 h 235951"/>
                <a:gd name="connsiteX26" fmla="*/ 0 w 190208"/>
                <a:gd name="connsiteY26" fmla="*/ 133821 h 235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90208" h="235951">
                  <a:moveTo>
                    <a:pt x="0" y="169037"/>
                  </a:moveTo>
                  <a:lnTo>
                    <a:pt x="14103" y="169037"/>
                  </a:lnTo>
                  <a:lnTo>
                    <a:pt x="14103" y="235952"/>
                  </a:lnTo>
                  <a:lnTo>
                    <a:pt x="40546" y="235952"/>
                  </a:lnTo>
                  <a:lnTo>
                    <a:pt x="40546" y="160248"/>
                  </a:lnTo>
                  <a:lnTo>
                    <a:pt x="49739" y="150996"/>
                  </a:lnTo>
                  <a:lnTo>
                    <a:pt x="93333" y="194599"/>
                  </a:lnTo>
                  <a:lnTo>
                    <a:pt x="118887" y="194599"/>
                  </a:lnTo>
                  <a:lnTo>
                    <a:pt x="97749" y="173436"/>
                  </a:lnTo>
                  <a:lnTo>
                    <a:pt x="113829" y="157390"/>
                  </a:lnTo>
                  <a:lnTo>
                    <a:pt x="91999" y="135592"/>
                  </a:lnTo>
                  <a:lnTo>
                    <a:pt x="91999" y="127223"/>
                  </a:lnTo>
                  <a:lnTo>
                    <a:pt x="130304" y="88934"/>
                  </a:lnTo>
                  <a:lnTo>
                    <a:pt x="83662" y="88934"/>
                  </a:lnTo>
                  <a:lnTo>
                    <a:pt x="58999" y="113564"/>
                  </a:lnTo>
                  <a:lnTo>
                    <a:pt x="38734" y="93341"/>
                  </a:lnTo>
                  <a:lnTo>
                    <a:pt x="38734" y="46649"/>
                  </a:lnTo>
                  <a:lnTo>
                    <a:pt x="58109" y="46649"/>
                  </a:lnTo>
                  <a:lnTo>
                    <a:pt x="88111" y="46649"/>
                  </a:lnTo>
                  <a:lnTo>
                    <a:pt x="126811" y="46649"/>
                  </a:lnTo>
                  <a:lnTo>
                    <a:pt x="162893" y="46649"/>
                  </a:lnTo>
                  <a:lnTo>
                    <a:pt x="190209" y="19350"/>
                  </a:lnTo>
                  <a:lnTo>
                    <a:pt x="170834" y="0"/>
                  </a:lnTo>
                  <a:lnTo>
                    <a:pt x="146137" y="24630"/>
                  </a:lnTo>
                  <a:lnTo>
                    <a:pt x="28173" y="24630"/>
                  </a:lnTo>
                  <a:lnTo>
                    <a:pt x="28173" y="105665"/>
                  </a:lnTo>
                  <a:lnTo>
                    <a:pt x="0" y="133821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DCE9952-A84D-D805-E05E-891324FED609}"/>
                </a:ext>
              </a:extLst>
            </p:cNvPr>
            <p:cNvSpPr/>
            <p:nvPr/>
          </p:nvSpPr>
          <p:spPr>
            <a:xfrm>
              <a:off x="9459625" y="3897297"/>
              <a:ext cx="70877" cy="109199"/>
            </a:xfrm>
            <a:custGeom>
              <a:avLst/>
              <a:gdLst>
                <a:gd name="connsiteX0" fmla="*/ 0 w 70877"/>
                <a:gd name="connsiteY0" fmla="*/ 63851 h 109199"/>
                <a:gd name="connsiteX1" fmla="*/ 45340 w 70877"/>
                <a:gd name="connsiteY1" fmla="*/ 109199 h 109199"/>
                <a:gd name="connsiteX2" fmla="*/ 45340 w 70877"/>
                <a:gd name="connsiteY2" fmla="*/ 80145 h 109199"/>
                <a:gd name="connsiteX3" fmla="*/ 70877 w 70877"/>
                <a:gd name="connsiteY3" fmla="*/ 54608 h 109199"/>
                <a:gd name="connsiteX4" fmla="*/ 70877 w 70877"/>
                <a:gd name="connsiteY4" fmla="*/ 12340 h 109199"/>
                <a:gd name="connsiteX5" fmla="*/ 58537 w 70877"/>
                <a:gd name="connsiteY5" fmla="*/ 0 h 109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877" h="109199">
                  <a:moveTo>
                    <a:pt x="0" y="63851"/>
                  </a:moveTo>
                  <a:lnTo>
                    <a:pt x="45340" y="109199"/>
                  </a:lnTo>
                  <a:lnTo>
                    <a:pt x="45340" y="80145"/>
                  </a:lnTo>
                  <a:lnTo>
                    <a:pt x="70877" y="54608"/>
                  </a:lnTo>
                  <a:lnTo>
                    <a:pt x="70877" y="12340"/>
                  </a:lnTo>
                  <a:lnTo>
                    <a:pt x="58537" y="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5AB628E-C461-E717-AE71-E15B499BA953}"/>
                </a:ext>
              </a:extLst>
            </p:cNvPr>
            <p:cNvSpPr/>
            <p:nvPr/>
          </p:nvSpPr>
          <p:spPr>
            <a:xfrm>
              <a:off x="10143734" y="2712096"/>
              <a:ext cx="94651" cy="392733"/>
            </a:xfrm>
            <a:custGeom>
              <a:avLst/>
              <a:gdLst>
                <a:gd name="connsiteX0" fmla="*/ 27761 w 94651"/>
                <a:gd name="connsiteY0" fmla="*/ 0 h 392733"/>
                <a:gd name="connsiteX1" fmla="*/ 27761 w 94651"/>
                <a:gd name="connsiteY1" fmla="*/ 38758 h 392733"/>
                <a:gd name="connsiteX2" fmla="*/ 8320 w 94651"/>
                <a:gd name="connsiteY2" fmla="*/ 38758 h 392733"/>
                <a:gd name="connsiteX3" fmla="*/ 0 w 94651"/>
                <a:gd name="connsiteY3" fmla="*/ 36988 h 392733"/>
                <a:gd name="connsiteX4" fmla="*/ 0 w 94651"/>
                <a:gd name="connsiteY4" fmla="*/ 131655 h 392733"/>
                <a:gd name="connsiteX5" fmla="*/ 9226 w 94651"/>
                <a:gd name="connsiteY5" fmla="*/ 140882 h 392733"/>
                <a:gd name="connsiteX6" fmla="*/ 9226 w 94651"/>
                <a:gd name="connsiteY6" fmla="*/ 293221 h 392733"/>
                <a:gd name="connsiteX7" fmla="*/ 3080 w 94651"/>
                <a:gd name="connsiteY7" fmla="*/ 299350 h 392733"/>
                <a:gd name="connsiteX8" fmla="*/ 3080 w 94651"/>
                <a:gd name="connsiteY8" fmla="*/ 392733 h 392733"/>
                <a:gd name="connsiteX9" fmla="*/ 24202 w 94651"/>
                <a:gd name="connsiteY9" fmla="*/ 392733 h 392733"/>
                <a:gd name="connsiteX10" fmla="*/ 24202 w 94651"/>
                <a:gd name="connsiteY10" fmla="*/ 369807 h 392733"/>
                <a:gd name="connsiteX11" fmla="*/ 43594 w 94651"/>
                <a:gd name="connsiteY11" fmla="*/ 369807 h 392733"/>
                <a:gd name="connsiteX12" fmla="*/ 43594 w 94651"/>
                <a:gd name="connsiteY12" fmla="*/ 387420 h 392733"/>
                <a:gd name="connsiteX13" fmla="*/ 59427 w 94651"/>
                <a:gd name="connsiteY13" fmla="*/ 387420 h 392733"/>
                <a:gd name="connsiteX14" fmla="*/ 59427 w 94651"/>
                <a:gd name="connsiteY14" fmla="*/ 353975 h 392733"/>
                <a:gd name="connsiteX15" fmla="*/ 24202 w 94651"/>
                <a:gd name="connsiteY15" fmla="*/ 318750 h 392733"/>
                <a:gd name="connsiteX16" fmla="*/ 41798 w 94651"/>
                <a:gd name="connsiteY16" fmla="*/ 301138 h 392733"/>
                <a:gd name="connsiteX17" fmla="*/ 41798 w 94651"/>
                <a:gd name="connsiteY17" fmla="*/ 241274 h 392733"/>
                <a:gd name="connsiteX18" fmla="*/ 59427 w 94651"/>
                <a:gd name="connsiteY18" fmla="*/ 241274 h 392733"/>
                <a:gd name="connsiteX19" fmla="*/ 80565 w 94651"/>
                <a:gd name="connsiteY19" fmla="*/ 262404 h 392733"/>
                <a:gd name="connsiteX20" fmla="*/ 94651 w 94651"/>
                <a:gd name="connsiteY20" fmla="*/ 248293 h 392733"/>
                <a:gd name="connsiteX21" fmla="*/ 57697 w 94651"/>
                <a:gd name="connsiteY21" fmla="*/ 211323 h 392733"/>
                <a:gd name="connsiteX22" fmla="*/ 57697 w 94651"/>
                <a:gd name="connsiteY22" fmla="*/ 146170 h 392733"/>
                <a:gd name="connsiteX23" fmla="*/ 36543 w 94651"/>
                <a:gd name="connsiteY23" fmla="*/ 125024 h 392733"/>
                <a:gd name="connsiteX24" fmla="*/ 36543 w 94651"/>
                <a:gd name="connsiteY24" fmla="*/ 0 h 392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94651" h="392733">
                  <a:moveTo>
                    <a:pt x="27761" y="0"/>
                  </a:moveTo>
                  <a:lnTo>
                    <a:pt x="27761" y="38758"/>
                  </a:lnTo>
                  <a:lnTo>
                    <a:pt x="8320" y="38758"/>
                  </a:lnTo>
                  <a:lnTo>
                    <a:pt x="0" y="36988"/>
                  </a:lnTo>
                  <a:lnTo>
                    <a:pt x="0" y="131655"/>
                  </a:lnTo>
                  <a:lnTo>
                    <a:pt x="9226" y="140882"/>
                  </a:lnTo>
                  <a:lnTo>
                    <a:pt x="9226" y="293221"/>
                  </a:lnTo>
                  <a:lnTo>
                    <a:pt x="3080" y="299350"/>
                  </a:lnTo>
                  <a:lnTo>
                    <a:pt x="3080" y="392733"/>
                  </a:lnTo>
                  <a:lnTo>
                    <a:pt x="24202" y="392733"/>
                  </a:lnTo>
                  <a:lnTo>
                    <a:pt x="24202" y="369807"/>
                  </a:lnTo>
                  <a:lnTo>
                    <a:pt x="43594" y="369807"/>
                  </a:lnTo>
                  <a:lnTo>
                    <a:pt x="43594" y="387420"/>
                  </a:lnTo>
                  <a:lnTo>
                    <a:pt x="59427" y="387420"/>
                  </a:lnTo>
                  <a:lnTo>
                    <a:pt x="59427" y="353975"/>
                  </a:lnTo>
                  <a:lnTo>
                    <a:pt x="24202" y="318750"/>
                  </a:lnTo>
                  <a:lnTo>
                    <a:pt x="41798" y="301138"/>
                  </a:lnTo>
                  <a:lnTo>
                    <a:pt x="41798" y="241274"/>
                  </a:lnTo>
                  <a:lnTo>
                    <a:pt x="59427" y="241274"/>
                  </a:lnTo>
                  <a:lnTo>
                    <a:pt x="80565" y="262404"/>
                  </a:lnTo>
                  <a:lnTo>
                    <a:pt x="94651" y="248293"/>
                  </a:lnTo>
                  <a:lnTo>
                    <a:pt x="57697" y="211323"/>
                  </a:lnTo>
                  <a:lnTo>
                    <a:pt x="57697" y="146170"/>
                  </a:lnTo>
                  <a:lnTo>
                    <a:pt x="36543" y="125024"/>
                  </a:lnTo>
                  <a:lnTo>
                    <a:pt x="36543" y="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6" name="Graphic 6">
              <a:extLst>
                <a:ext uri="{FF2B5EF4-FFF2-40B4-BE49-F238E27FC236}">
                  <a16:creationId xmlns:a16="http://schemas.microsoft.com/office/drawing/2014/main" id="{C7255A0F-CD30-ADB7-826A-846E2BCECEEC}"/>
                </a:ext>
              </a:extLst>
            </p:cNvPr>
            <p:cNvGrpSpPr/>
            <p:nvPr/>
          </p:nvGrpSpPr>
          <p:grpSpPr>
            <a:xfrm>
              <a:off x="9474601" y="4129420"/>
              <a:ext cx="186205" cy="387782"/>
              <a:chOff x="9474601" y="4129420"/>
              <a:chExt cx="186205" cy="387782"/>
            </a:xfrm>
            <a:grpFill/>
          </p:grpSpPr>
          <p:sp>
            <p:nvSpPr>
              <p:cNvPr id="1153" name="Freeform: Shape 1152">
                <a:extLst>
                  <a:ext uri="{FF2B5EF4-FFF2-40B4-BE49-F238E27FC236}">
                    <a16:creationId xmlns:a16="http://schemas.microsoft.com/office/drawing/2014/main" id="{A86C176F-FBA4-6BBB-5424-D815E75B7BFC}"/>
                  </a:ext>
                </a:extLst>
              </p:cNvPr>
              <p:cNvSpPr/>
              <p:nvPr/>
            </p:nvSpPr>
            <p:spPr>
              <a:xfrm>
                <a:off x="9532265" y="4399196"/>
                <a:ext cx="128541" cy="118005"/>
              </a:xfrm>
              <a:custGeom>
                <a:avLst/>
                <a:gdLst>
                  <a:gd name="connsiteX0" fmla="*/ 128541 w 128541"/>
                  <a:gd name="connsiteY0" fmla="*/ 100378 h 118005"/>
                  <a:gd name="connsiteX1" fmla="*/ 128541 w 128541"/>
                  <a:gd name="connsiteY1" fmla="*/ 22893 h 118005"/>
                  <a:gd name="connsiteX2" fmla="*/ 105657 w 128541"/>
                  <a:gd name="connsiteY2" fmla="*/ 0 h 118005"/>
                  <a:gd name="connsiteX3" fmla="*/ 58076 w 128541"/>
                  <a:gd name="connsiteY3" fmla="*/ 47540 h 118005"/>
                  <a:gd name="connsiteX4" fmla="*/ 58076 w 128541"/>
                  <a:gd name="connsiteY4" fmla="*/ 29047 h 118005"/>
                  <a:gd name="connsiteX5" fmla="*/ 36065 w 128541"/>
                  <a:gd name="connsiteY5" fmla="*/ 29047 h 118005"/>
                  <a:gd name="connsiteX6" fmla="*/ 0 w 128541"/>
                  <a:gd name="connsiteY6" fmla="*/ 65161 h 118005"/>
                  <a:gd name="connsiteX7" fmla="*/ 0 w 128541"/>
                  <a:gd name="connsiteY7" fmla="*/ 86307 h 118005"/>
                  <a:gd name="connsiteX8" fmla="*/ 24631 w 128541"/>
                  <a:gd name="connsiteY8" fmla="*/ 61627 h 118005"/>
                  <a:gd name="connsiteX9" fmla="*/ 49311 w 128541"/>
                  <a:gd name="connsiteY9" fmla="*/ 61627 h 118005"/>
                  <a:gd name="connsiteX10" fmla="*/ 61602 w 128541"/>
                  <a:gd name="connsiteY10" fmla="*/ 73967 h 118005"/>
                  <a:gd name="connsiteX11" fmla="*/ 61602 w 128541"/>
                  <a:gd name="connsiteY11" fmla="*/ 91555 h 118005"/>
                  <a:gd name="connsiteX12" fmla="*/ 88028 w 128541"/>
                  <a:gd name="connsiteY12" fmla="*/ 118006 h 118005"/>
                  <a:gd name="connsiteX13" fmla="*/ 111835 w 128541"/>
                  <a:gd name="connsiteY13" fmla="*/ 118006 h 118005"/>
                  <a:gd name="connsiteX14" fmla="*/ 111835 w 128541"/>
                  <a:gd name="connsiteY14" fmla="*/ 103919 h 118005"/>
                  <a:gd name="connsiteX15" fmla="*/ 111835 w 128541"/>
                  <a:gd name="connsiteY15" fmla="*/ 83630 h 118005"/>
                  <a:gd name="connsiteX16" fmla="*/ 128541 w 128541"/>
                  <a:gd name="connsiteY16" fmla="*/ 100378 h 118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8541" h="118005">
                    <a:moveTo>
                      <a:pt x="128541" y="100378"/>
                    </a:moveTo>
                    <a:lnTo>
                      <a:pt x="128541" y="22893"/>
                    </a:lnTo>
                    <a:lnTo>
                      <a:pt x="105657" y="0"/>
                    </a:lnTo>
                    <a:lnTo>
                      <a:pt x="58076" y="47540"/>
                    </a:lnTo>
                    <a:lnTo>
                      <a:pt x="58076" y="29047"/>
                    </a:lnTo>
                    <a:lnTo>
                      <a:pt x="36065" y="29047"/>
                    </a:lnTo>
                    <a:lnTo>
                      <a:pt x="0" y="65161"/>
                    </a:lnTo>
                    <a:lnTo>
                      <a:pt x="0" y="86307"/>
                    </a:lnTo>
                    <a:lnTo>
                      <a:pt x="24631" y="61627"/>
                    </a:lnTo>
                    <a:lnTo>
                      <a:pt x="49311" y="61627"/>
                    </a:lnTo>
                    <a:lnTo>
                      <a:pt x="61602" y="73967"/>
                    </a:lnTo>
                    <a:lnTo>
                      <a:pt x="61602" y="91555"/>
                    </a:lnTo>
                    <a:lnTo>
                      <a:pt x="88028" y="118006"/>
                    </a:lnTo>
                    <a:lnTo>
                      <a:pt x="111835" y="118006"/>
                    </a:lnTo>
                    <a:cubicBezTo>
                      <a:pt x="119760" y="118006"/>
                      <a:pt x="111835" y="103919"/>
                      <a:pt x="111835" y="103919"/>
                    </a:cubicBezTo>
                    <a:lnTo>
                      <a:pt x="111835" y="83630"/>
                    </a:lnTo>
                    <a:lnTo>
                      <a:pt x="128541" y="100378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54" name="Freeform: Shape 1153">
                <a:extLst>
                  <a:ext uri="{FF2B5EF4-FFF2-40B4-BE49-F238E27FC236}">
                    <a16:creationId xmlns:a16="http://schemas.microsoft.com/office/drawing/2014/main" id="{6993ECAB-C2BB-A806-A093-994BC13CEA6F}"/>
                  </a:ext>
                </a:extLst>
              </p:cNvPr>
              <p:cNvSpPr/>
              <p:nvPr/>
            </p:nvSpPr>
            <p:spPr>
              <a:xfrm>
                <a:off x="9474601" y="4129420"/>
                <a:ext cx="175236" cy="278583"/>
              </a:xfrm>
              <a:custGeom>
                <a:avLst/>
                <a:gdLst>
                  <a:gd name="connsiteX0" fmla="*/ 11879 w 175236"/>
                  <a:gd name="connsiteY0" fmla="*/ 125378 h 278583"/>
                  <a:gd name="connsiteX1" fmla="*/ 32111 w 175236"/>
                  <a:gd name="connsiteY1" fmla="*/ 145594 h 278583"/>
                  <a:gd name="connsiteX2" fmla="*/ 19771 w 175236"/>
                  <a:gd name="connsiteY2" fmla="*/ 157958 h 278583"/>
                  <a:gd name="connsiteX3" fmla="*/ 19771 w 175236"/>
                  <a:gd name="connsiteY3" fmla="*/ 179970 h 278583"/>
                  <a:gd name="connsiteX4" fmla="*/ 45340 w 175236"/>
                  <a:gd name="connsiteY4" fmla="*/ 179970 h 278583"/>
                  <a:gd name="connsiteX5" fmla="*/ 45340 w 175236"/>
                  <a:gd name="connsiteY5" fmla="*/ 153535 h 278583"/>
                  <a:gd name="connsiteX6" fmla="*/ 58537 w 175236"/>
                  <a:gd name="connsiteY6" fmla="*/ 140329 h 278583"/>
                  <a:gd name="connsiteX7" fmla="*/ 81422 w 175236"/>
                  <a:gd name="connsiteY7" fmla="*/ 163230 h 278583"/>
                  <a:gd name="connsiteX8" fmla="*/ 81422 w 175236"/>
                  <a:gd name="connsiteY8" fmla="*/ 148271 h 278583"/>
                  <a:gd name="connsiteX9" fmla="*/ 121457 w 175236"/>
                  <a:gd name="connsiteY9" fmla="*/ 188323 h 278583"/>
                  <a:gd name="connsiteX10" fmla="*/ 94635 w 175236"/>
                  <a:gd name="connsiteY10" fmla="*/ 188323 h 278583"/>
                  <a:gd name="connsiteX11" fmla="*/ 79461 w 175236"/>
                  <a:gd name="connsiteY11" fmla="*/ 203496 h 278583"/>
                  <a:gd name="connsiteX12" fmla="*/ 79461 w 175236"/>
                  <a:gd name="connsiteY12" fmla="*/ 215177 h 278583"/>
                  <a:gd name="connsiteX13" fmla="*/ 65012 w 175236"/>
                  <a:gd name="connsiteY13" fmla="*/ 200753 h 278583"/>
                  <a:gd name="connsiteX14" fmla="*/ 49723 w 175236"/>
                  <a:gd name="connsiteY14" fmla="*/ 216068 h 278583"/>
                  <a:gd name="connsiteX15" fmla="*/ 49723 w 175236"/>
                  <a:gd name="connsiteY15" fmla="*/ 250402 h 278583"/>
                  <a:gd name="connsiteX16" fmla="*/ 69971 w 175236"/>
                  <a:gd name="connsiteY16" fmla="*/ 250402 h 278583"/>
                  <a:gd name="connsiteX17" fmla="*/ 91999 w 175236"/>
                  <a:gd name="connsiteY17" fmla="*/ 228367 h 278583"/>
                  <a:gd name="connsiteX18" fmla="*/ 91999 w 175236"/>
                  <a:gd name="connsiteY18" fmla="*/ 241579 h 278583"/>
                  <a:gd name="connsiteX19" fmla="*/ 72179 w 175236"/>
                  <a:gd name="connsiteY19" fmla="*/ 261399 h 278583"/>
                  <a:gd name="connsiteX20" fmla="*/ 72179 w 175236"/>
                  <a:gd name="connsiteY20" fmla="*/ 278583 h 278583"/>
                  <a:gd name="connsiteX21" fmla="*/ 92872 w 175236"/>
                  <a:gd name="connsiteY21" fmla="*/ 278583 h 278583"/>
                  <a:gd name="connsiteX22" fmla="*/ 92872 w 175236"/>
                  <a:gd name="connsiteY22" fmla="*/ 268006 h 278583"/>
                  <a:gd name="connsiteX23" fmla="*/ 114900 w 175236"/>
                  <a:gd name="connsiteY23" fmla="*/ 245979 h 278583"/>
                  <a:gd name="connsiteX24" fmla="*/ 128080 w 175236"/>
                  <a:gd name="connsiteY24" fmla="*/ 259199 h 278583"/>
                  <a:gd name="connsiteX25" fmla="*/ 120155 w 175236"/>
                  <a:gd name="connsiteY25" fmla="*/ 267140 h 278583"/>
                  <a:gd name="connsiteX26" fmla="*/ 135148 w 175236"/>
                  <a:gd name="connsiteY26" fmla="*/ 267140 h 278583"/>
                  <a:gd name="connsiteX27" fmla="*/ 145247 w 175236"/>
                  <a:gd name="connsiteY27" fmla="*/ 257009 h 278583"/>
                  <a:gd name="connsiteX28" fmla="*/ 145247 w 175236"/>
                  <a:gd name="connsiteY28" fmla="*/ 239849 h 278583"/>
                  <a:gd name="connsiteX29" fmla="*/ 145247 w 175236"/>
                  <a:gd name="connsiteY29" fmla="*/ 215177 h 278583"/>
                  <a:gd name="connsiteX30" fmla="*/ 150734 w 175236"/>
                  <a:gd name="connsiteY30" fmla="*/ 209674 h 278583"/>
                  <a:gd name="connsiteX31" fmla="*/ 172102 w 175236"/>
                  <a:gd name="connsiteY31" fmla="*/ 231044 h 278583"/>
                  <a:gd name="connsiteX32" fmla="*/ 172102 w 175236"/>
                  <a:gd name="connsiteY32" fmla="*/ 197582 h 278583"/>
                  <a:gd name="connsiteX33" fmla="*/ 158032 w 175236"/>
                  <a:gd name="connsiteY33" fmla="*/ 183470 h 278583"/>
                  <a:gd name="connsiteX34" fmla="*/ 143929 w 175236"/>
                  <a:gd name="connsiteY34" fmla="*/ 169400 h 278583"/>
                  <a:gd name="connsiteX35" fmla="*/ 124554 w 175236"/>
                  <a:gd name="connsiteY35" fmla="*/ 169400 h 278583"/>
                  <a:gd name="connsiteX36" fmla="*/ 106085 w 175236"/>
                  <a:gd name="connsiteY36" fmla="*/ 150899 h 278583"/>
                  <a:gd name="connsiteX37" fmla="*/ 114010 w 175236"/>
                  <a:gd name="connsiteY37" fmla="*/ 142991 h 278583"/>
                  <a:gd name="connsiteX38" fmla="*/ 102593 w 175236"/>
                  <a:gd name="connsiteY38" fmla="*/ 131532 h 278583"/>
                  <a:gd name="connsiteX39" fmla="*/ 57664 w 175236"/>
                  <a:gd name="connsiteY39" fmla="*/ 131532 h 278583"/>
                  <a:gd name="connsiteX40" fmla="*/ 39590 w 175236"/>
                  <a:gd name="connsiteY40" fmla="*/ 113491 h 278583"/>
                  <a:gd name="connsiteX41" fmla="*/ 39590 w 175236"/>
                  <a:gd name="connsiteY41" fmla="*/ 81339 h 278583"/>
                  <a:gd name="connsiteX42" fmla="*/ 65325 w 175236"/>
                  <a:gd name="connsiteY42" fmla="*/ 55563 h 278583"/>
                  <a:gd name="connsiteX43" fmla="*/ 65325 w 175236"/>
                  <a:gd name="connsiteY43" fmla="*/ 23222 h 278583"/>
                  <a:gd name="connsiteX44" fmla="*/ 42111 w 175236"/>
                  <a:gd name="connsiteY44" fmla="*/ 0 h 278583"/>
                  <a:gd name="connsiteX45" fmla="*/ 0 w 175236"/>
                  <a:gd name="connsiteY45" fmla="*/ 42111 h 278583"/>
                  <a:gd name="connsiteX46" fmla="*/ 0 w 175236"/>
                  <a:gd name="connsiteY46" fmla="*/ 114653 h 278583"/>
                  <a:gd name="connsiteX47" fmla="*/ 11879 w 175236"/>
                  <a:gd name="connsiteY47" fmla="*/ 125378 h 278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175236" h="278583">
                    <a:moveTo>
                      <a:pt x="11879" y="125378"/>
                    </a:moveTo>
                    <a:lnTo>
                      <a:pt x="32111" y="145594"/>
                    </a:lnTo>
                    <a:lnTo>
                      <a:pt x="19771" y="157958"/>
                    </a:lnTo>
                    <a:lnTo>
                      <a:pt x="19771" y="179970"/>
                    </a:lnTo>
                    <a:lnTo>
                      <a:pt x="45340" y="179970"/>
                    </a:lnTo>
                    <a:lnTo>
                      <a:pt x="45340" y="153535"/>
                    </a:lnTo>
                    <a:lnTo>
                      <a:pt x="58537" y="140329"/>
                    </a:lnTo>
                    <a:lnTo>
                      <a:pt x="81422" y="163230"/>
                    </a:lnTo>
                    <a:lnTo>
                      <a:pt x="81422" y="148271"/>
                    </a:lnTo>
                    <a:lnTo>
                      <a:pt x="121457" y="188323"/>
                    </a:lnTo>
                    <a:lnTo>
                      <a:pt x="94635" y="188323"/>
                    </a:lnTo>
                    <a:lnTo>
                      <a:pt x="79461" y="203496"/>
                    </a:lnTo>
                    <a:lnTo>
                      <a:pt x="79461" y="215177"/>
                    </a:lnTo>
                    <a:lnTo>
                      <a:pt x="65012" y="200753"/>
                    </a:lnTo>
                    <a:lnTo>
                      <a:pt x="49723" y="216068"/>
                    </a:lnTo>
                    <a:lnTo>
                      <a:pt x="49723" y="250402"/>
                    </a:lnTo>
                    <a:lnTo>
                      <a:pt x="69971" y="250402"/>
                    </a:lnTo>
                    <a:lnTo>
                      <a:pt x="91999" y="228367"/>
                    </a:lnTo>
                    <a:lnTo>
                      <a:pt x="91999" y="241579"/>
                    </a:lnTo>
                    <a:lnTo>
                      <a:pt x="72179" y="261399"/>
                    </a:lnTo>
                    <a:lnTo>
                      <a:pt x="72179" y="278583"/>
                    </a:lnTo>
                    <a:lnTo>
                      <a:pt x="92872" y="278583"/>
                    </a:lnTo>
                    <a:lnTo>
                      <a:pt x="92872" y="268006"/>
                    </a:lnTo>
                    <a:lnTo>
                      <a:pt x="114900" y="245979"/>
                    </a:lnTo>
                    <a:lnTo>
                      <a:pt x="128080" y="259199"/>
                    </a:lnTo>
                    <a:cubicBezTo>
                      <a:pt x="128080" y="259199"/>
                      <a:pt x="120155" y="262726"/>
                      <a:pt x="120155" y="267140"/>
                    </a:cubicBezTo>
                    <a:cubicBezTo>
                      <a:pt x="120155" y="271539"/>
                      <a:pt x="135148" y="267140"/>
                      <a:pt x="135148" y="267140"/>
                    </a:cubicBezTo>
                    <a:cubicBezTo>
                      <a:pt x="135148" y="267140"/>
                      <a:pt x="139069" y="263179"/>
                      <a:pt x="145247" y="257009"/>
                    </a:cubicBezTo>
                    <a:cubicBezTo>
                      <a:pt x="151442" y="250847"/>
                      <a:pt x="145247" y="239849"/>
                      <a:pt x="145247" y="239849"/>
                    </a:cubicBezTo>
                    <a:lnTo>
                      <a:pt x="145247" y="215177"/>
                    </a:lnTo>
                    <a:lnTo>
                      <a:pt x="150734" y="209674"/>
                    </a:lnTo>
                    <a:lnTo>
                      <a:pt x="172102" y="231044"/>
                    </a:lnTo>
                    <a:cubicBezTo>
                      <a:pt x="172102" y="231044"/>
                      <a:pt x="179154" y="197582"/>
                      <a:pt x="172102" y="197582"/>
                    </a:cubicBezTo>
                    <a:cubicBezTo>
                      <a:pt x="165084" y="197582"/>
                      <a:pt x="158032" y="183470"/>
                      <a:pt x="158032" y="183470"/>
                    </a:cubicBezTo>
                    <a:lnTo>
                      <a:pt x="143929" y="169400"/>
                    </a:lnTo>
                    <a:lnTo>
                      <a:pt x="124554" y="169400"/>
                    </a:lnTo>
                    <a:lnTo>
                      <a:pt x="106085" y="150899"/>
                    </a:lnTo>
                    <a:cubicBezTo>
                      <a:pt x="106085" y="150899"/>
                      <a:pt x="114010" y="150042"/>
                      <a:pt x="114010" y="142991"/>
                    </a:cubicBezTo>
                    <a:cubicBezTo>
                      <a:pt x="114010" y="135931"/>
                      <a:pt x="102593" y="131532"/>
                      <a:pt x="102593" y="131532"/>
                    </a:cubicBezTo>
                    <a:lnTo>
                      <a:pt x="57664" y="131532"/>
                    </a:lnTo>
                    <a:lnTo>
                      <a:pt x="39590" y="113491"/>
                    </a:lnTo>
                    <a:lnTo>
                      <a:pt x="39590" y="81339"/>
                    </a:lnTo>
                    <a:lnTo>
                      <a:pt x="65325" y="55563"/>
                    </a:lnTo>
                    <a:lnTo>
                      <a:pt x="65325" y="23222"/>
                    </a:lnTo>
                    <a:lnTo>
                      <a:pt x="42111" y="0"/>
                    </a:lnTo>
                    <a:lnTo>
                      <a:pt x="0" y="42111"/>
                    </a:lnTo>
                    <a:lnTo>
                      <a:pt x="0" y="114653"/>
                    </a:lnTo>
                    <a:lnTo>
                      <a:pt x="11879" y="125378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53" name="Freeform: Shape 452">
              <a:extLst>
                <a:ext uri="{FF2B5EF4-FFF2-40B4-BE49-F238E27FC236}">
                  <a16:creationId xmlns:a16="http://schemas.microsoft.com/office/drawing/2014/main" id="{93AA7385-EF41-6C4F-781B-1B57A6F1FB13}"/>
                </a:ext>
              </a:extLst>
            </p:cNvPr>
            <p:cNvSpPr/>
            <p:nvPr/>
          </p:nvSpPr>
          <p:spPr>
            <a:xfrm>
              <a:off x="5478134" y="2695455"/>
              <a:ext cx="123804" cy="150115"/>
            </a:xfrm>
            <a:custGeom>
              <a:avLst/>
              <a:gdLst>
                <a:gd name="connsiteX0" fmla="*/ 48355 w 123804"/>
                <a:gd name="connsiteY0" fmla="*/ 136548 h 150115"/>
                <a:gd name="connsiteX1" fmla="*/ 62953 w 123804"/>
                <a:gd name="connsiteY1" fmla="*/ 136548 h 150115"/>
                <a:gd name="connsiteX2" fmla="*/ 77525 w 123804"/>
                <a:gd name="connsiteY2" fmla="*/ 121968 h 150115"/>
                <a:gd name="connsiteX3" fmla="*/ 116918 w 123804"/>
                <a:gd name="connsiteY3" fmla="*/ 121968 h 150115"/>
                <a:gd name="connsiteX4" fmla="*/ 116918 w 123804"/>
                <a:gd name="connsiteY4" fmla="*/ 91348 h 150115"/>
                <a:gd name="connsiteX5" fmla="*/ 123805 w 123804"/>
                <a:gd name="connsiteY5" fmla="*/ 84494 h 150115"/>
                <a:gd name="connsiteX6" fmla="*/ 123805 w 123804"/>
                <a:gd name="connsiteY6" fmla="*/ 47367 h 150115"/>
                <a:gd name="connsiteX7" fmla="*/ 110863 w 123804"/>
                <a:gd name="connsiteY7" fmla="*/ 34442 h 150115"/>
                <a:gd name="connsiteX8" fmla="*/ 115476 w 123804"/>
                <a:gd name="connsiteY8" fmla="*/ 29829 h 150115"/>
                <a:gd name="connsiteX9" fmla="*/ 105814 w 123804"/>
                <a:gd name="connsiteY9" fmla="*/ 29829 h 150115"/>
                <a:gd name="connsiteX10" fmla="*/ 98886 w 123804"/>
                <a:gd name="connsiteY10" fmla="*/ 22901 h 150115"/>
                <a:gd name="connsiteX11" fmla="*/ 87106 w 123804"/>
                <a:gd name="connsiteY11" fmla="*/ 11121 h 150115"/>
                <a:gd name="connsiteX12" fmla="*/ 75984 w 123804"/>
                <a:gd name="connsiteY12" fmla="*/ 0 h 150115"/>
                <a:gd name="connsiteX13" fmla="*/ 53067 w 123804"/>
                <a:gd name="connsiteY13" fmla="*/ 0 h 150115"/>
                <a:gd name="connsiteX14" fmla="*/ 55638 w 123804"/>
                <a:gd name="connsiteY14" fmla="*/ 2563 h 150115"/>
                <a:gd name="connsiteX15" fmla="*/ 40843 w 123804"/>
                <a:gd name="connsiteY15" fmla="*/ 17365 h 150115"/>
                <a:gd name="connsiteX16" fmla="*/ 11253 w 123804"/>
                <a:gd name="connsiteY16" fmla="*/ 17365 h 150115"/>
                <a:gd name="connsiteX17" fmla="*/ 445 w 123804"/>
                <a:gd name="connsiteY17" fmla="*/ 28182 h 150115"/>
                <a:gd name="connsiteX18" fmla="*/ 12101 w 123804"/>
                <a:gd name="connsiteY18" fmla="*/ 39879 h 150115"/>
                <a:gd name="connsiteX19" fmla="*/ 824 w 123804"/>
                <a:gd name="connsiteY19" fmla="*/ 51107 h 150115"/>
                <a:gd name="connsiteX20" fmla="*/ 824 w 123804"/>
                <a:gd name="connsiteY20" fmla="*/ 67789 h 150115"/>
                <a:gd name="connsiteX21" fmla="*/ 32498 w 123804"/>
                <a:gd name="connsiteY21" fmla="*/ 67789 h 150115"/>
                <a:gd name="connsiteX22" fmla="*/ 32498 w 123804"/>
                <a:gd name="connsiteY22" fmla="*/ 76133 h 150115"/>
                <a:gd name="connsiteX23" fmla="*/ 9185 w 123804"/>
                <a:gd name="connsiteY23" fmla="*/ 99463 h 150115"/>
                <a:gd name="connsiteX24" fmla="*/ 9185 w 123804"/>
                <a:gd name="connsiteY24" fmla="*/ 111951 h 150115"/>
                <a:gd name="connsiteX25" fmla="*/ 0 w 123804"/>
                <a:gd name="connsiteY25" fmla="*/ 121152 h 150115"/>
                <a:gd name="connsiteX26" fmla="*/ 0 w 123804"/>
                <a:gd name="connsiteY26" fmla="*/ 150116 h 150115"/>
                <a:gd name="connsiteX27" fmla="*/ 34796 w 123804"/>
                <a:gd name="connsiteY27" fmla="*/ 150116 h 150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23804" h="150115">
                  <a:moveTo>
                    <a:pt x="48355" y="136548"/>
                  </a:moveTo>
                  <a:lnTo>
                    <a:pt x="62953" y="136548"/>
                  </a:lnTo>
                  <a:lnTo>
                    <a:pt x="77525" y="121968"/>
                  </a:lnTo>
                  <a:lnTo>
                    <a:pt x="116918" y="121968"/>
                  </a:lnTo>
                  <a:lnTo>
                    <a:pt x="116918" y="91348"/>
                  </a:lnTo>
                  <a:lnTo>
                    <a:pt x="123805" y="84494"/>
                  </a:lnTo>
                  <a:lnTo>
                    <a:pt x="123805" y="47367"/>
                  </a:lnTo>
                  <a:lnTo>
                    <a:pt x="110863" y="34442"/>
                  </a:lnTo>
                  <a:lnTo>
                    <a:pt x="115476" y="29829"/>
                  </a:lnTo>
                  <a:lnTo>
                    <a:pt x="105814" y="29829"/>
                  </a:lnTo>
                  <a:lnTo>
                    <a:pt x="98886" y="22901"/>
                  </a:lnTo>
                  <a:lnTo>
                    <a:pt x="87106" y="11121"/>
                  </a:lnTo>
                  <a:lnTo>
                    <a:pt x="75984" y="0"/>
                  </a:lnTo>
                  <a:lnTo>
                    <a:pt x="53067" y="0"/>
                  </a:lnTo>
                  <a:lnTo>
                    <a:pt x="55638" y="2563"/>
                  </a:lnTo>
                  <a:lnTo>
                    <a:pt x="40843" y="17365"/>
                  </a:lnTo>
                  <a:lnTo>
                    <a:pt x="11253" y="17365"/>
                  </a:lnTo>
                  <a:lnTo>
                    <a:pt x="445" y="28182"/>
                  </a:lnTo>
                  <a:lnTo>
                    <a:pt x="12101" y="39879"/>
                  </a:lnTo>
                  <a:lnTo>
                    <a:pt x="824" y="51107"/>
                  </a:lnTo>
                  <a:lnTo>
                    <a:pt x="824" y="67789"/>
                  </a:lnTo>
                  <a:lnTo>
                    <a:pt x="32498" y="67789"/>
                  </a:lnTo>
                  <a:lnTo>
                    <a:pt x="32498" y="76133"/>
                  </a:lnTo>
                  <a:lnTo>
                    <a:pt x="9185" y="99463"/>
                  </a:lnTo>
                  <a:lnTo>
                    <a:pt x="9185" y="111951"/>
                  </a:lnTo>
                  <a:lnTo>
                    <a:pt x="0" y="121152"/>
                  </a:lnTo>
                  <a:lnTo>
                    <a:pt x="0" y="150116"/>
                  </a:lnTo>
                  <a:lnTo>
                    <a:pt x="34796" y="150116"/>
                  </a:lnTo>
                  <a:close/>
                </a:path>
              </a:pathLst>
            </a:custGeom>
            <a:solidFill>
              <a:schemeClr val="accent1"/>
            </a:solidFill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454" name="Graphic 6">
              <a:extLst>
                <a:ext uri="{FF2B5EF4-FFF2-40B4-BE49-F238E27FC236}">
                  <a16:creationId xmlns:a16="http://schemas.microsoft.com/office/drawing/2014/main" id="{AB2EE475-0BDD-F18C-F4B6-14156EED1AFA}"/>
                </a:ext>
              </a:extLst>
            </p:cNvPr>
            <p:cNvGrpSpPr/>
            <p:nvPr/>
          </p:nvGrpSpPr>
          <p:grpSpPr>
            <a:xfrm>
              <a:off x="5518976" y="2639472"/>
              <a:ext cx="312604" cy="288419"/>
              <a:chOff x="5518976" y="2639472"/>
              <a:chExt cx="312604" cy="288419"/>
            </a:xfrm>
            <a:grpFill/>
          </p:grpSpPr>
          <p:sp>
            <p:nvSpPr>
              <p:cNvPr id="894" name="Freeform: Shape 893">
                <a:extLst>
                  <a:ext uri="{FF2B5EF4-FFF2-40B4-BE49-F238E27FC236}">
                    <a16:creationId xmlns:a16="http://schemas.microsoft.com/office/drawing/2014/main" id="{426D5223-E7CB-A439-EB58-F6156C63AB75}"/>
                  </a:ext>
                </a:extLst>
              </p:cNvPr>
              <p:cNvSpPr/>
              <p:nvPr/>
            </p:nvSpPr>
            <p:spPr>
              <a:xfrm>
                <a:off x="5518976" y="2652356"/>
                <a:ext cx="97147" cy="72928"/>
              </a:xfrm>
              <a:custGeom>
                <a:avLst/>
                <a:gdLst>
                  <a:gd name="connsiteX0" fmla="*/ 46263 w 97147"/>
                  <a:gd name="connsiteY0" fmla="*/ 54220 h 72928"/>
                  <a:gd name="connsiteX1" fmla="*/ 58043 w 97147"/>
                  <a:gd name="connsiteY1" fmla="*/ 66001 h 72928"/>
                  <a:gd name="connsiteX2" fmla="*/ 64971 w 97147"/>
                  <a:gd name="connsiteY2" fmla="*/ 72929 h 72928"/>
                  <a:gd name="connsiteX3" fmla="*/ 74634 w 97147"/>
                  <a:gd name="connsiteY3" fmla="*/ 72929 h 72928"/>
                  <a:gd name="connsiteX4" fmla="*/ 86281 w 97147"/>
                  <a:gd name="connsiteY4" fmla="*/ 61272 h 72928"/>
                  <a:gd name="connsiteX5" fmla="*/ 97147 w 97147"/>
                  <a:gd name="connsiteY5" fmla="*/ 50456 h 72928"/>
                  <a:gd name="connsiteX6" fmla="*/ 86677 w 97147"/>
                  <a:gd name="connsiteY6" fmla="*/ 40010 h 72928"/>
                  <a:gd name="connsiteX7" fmla="*/ 86677 w 97147"/>
                  <a:gd name="connsiteY7" fmla="*/ 31707 h 72928"/>
                  <a:gd name="connsiteX8" fmla="*/ 65853 w 97147"/>
                  <a:gd name="connsiteY8" fmla="*/ 10849 h 72928"/>
                  <a:gd name="connsiteX9" fmla="*/ 49195 w 97147"/>
                  <a:gd name="connsiteY9" fmla="*/ 10849 h 72928"/>
                  <a:gd name="connsiteX10" fmla="*/ 38388 w 97147"/>
                  <a:gd name="connsiteY10" fmla="*/ 0 h 72928"/>
                  <a:gd name="connsiteX11" fmla="*/ 33363 w 97147"/>
                  <a:gd name="connsiteY11" fmla="*/ 10849 h 72928"/>
                  <a:gd name="connsiteX12" fmla="*/ 26674 w 97147"/>
                  <a:gd name="connsiteY12" fmla="*/ 4185 h 72928"/>
                  <a:gd name="connsiteX13" fmla="*/ 0 w 97147"/>
                  <a:gd name="connsiteY13" fmla="*/ 30858 h 72928"/>
                  <a:gd name="connsiteX14" fmla="*/ 12224 w 97147"/>
                  <a:gd name="connsiteY14" fmla="*/ 43099 h 72928"/>
                  <a:gd name="connsiteX15" fmla="*/ 35142 w 97147"/>
                  <a:gd name="connsiteY15" fmla="*/ 43099 h 72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7147" h="72928">
                    <a:moveTo>
                      <a:pt x="46263" y="54220"/>
                    </a:moveTo>
                    <a:lnTo>
                      <a:pt x="58043" y="66001"/>
                    </a:lnTo>
                    <a:lnTo>
                      <a:pt x="64971" y="72929"/>
                    </a:lnTo>
                    <a:lnTo>
                      <a:pt x="74634" y="72929"/>
                    </a:lnTo>
                    <a:lnTo>
                      <a:pt x="86281" y="61272"/>
                    </a:lnTo>
                    <a:lnTo>
                      <a:pt x="97147" y="50456"/>
                    </a:lnTo>
                    <a:lnTo>
                      <a:pt x="86677" y="40010"/>
                    </a:lnTo>
                    <a:lnTo>
                      <a:pt x="86677" y="31707"/>
                    </a:lnTo>
                    <a:lnTo>
                      <a:pt x="65853" y="10849"/>
                    </a:lnTo>
                    <a:lnTo>
                      <a:pt x="49195" y="10849"/>
                    </a:lnTo>
                    <a:lnTo>
                      <a:pt x="38388" y="0"/>
                    </a:lnTo>
                    <a:lnTo>
                      <a:pt x="33363" y="10849"/>
                    </a:lnTo>
                    <a:lnTo>
                      <a:pt x="26674" y="4185"/>
                    </a:lnTo>
                    <a:lnTo>
                      <a:pt x="0" y="30858"/>
                    </a:lnTo>
                    <a:lnTo>
                      <a:pt x="12224" y="43099"/>
                    </a:lnTo>
                    <a:lnTo>
                      <a:pt x="35142" y="43099"/>
                    </a:lnTo>
                    <a:close/>
                  </a:path>
                </a:pathLst>
              </a:custGeom>
              <a:solidFill>
                <a:schemeClr val="accent1"/>
              </a:solidFill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95" name="Freeform: Shape 894">
                <a:extLst>
                  <a:ext uri="{FF2B5EF4-FFF2-40B4-BE49-F238E27FC236}">
                    <a16:creationId xmlns:a16="http://schemas.microsoft.com/office/drawing/2014/main" id="{71A326B0-1349-2447-8E4A-8E20A23A430E}"/>
                  </a:ext>
                </a:extLst>
              </p:cNvPr>
              <p:cNvSpPr/>
              <p:nvPr/>
            </p:nvSpPr>
            <p:spPr>
              <a:xfrm>
                <a:off x="5629848" y="2752814"/>
                <a:ext cx="75679" cy="105459"/>
              </a:xfrm>
              <a:custGeom>
                <a:avLst/>
                <a:gdLst>
                  <a:gd name="connsiteX0" fmla="*/ 61709 w 75679"/>
                  <a:gd name="connsiteY0" fmla="*/ 30974 h 105459"/>
                  <a:gd name="connsiteX1" fmla="*/ 61709 w 75679"/>
                  <a:gd name="connsiteY1" fmla="*/ 0 h 105459"/>
                  <a:gd name="connsiteX2" fmla="*/ 33758 w 75679"/>
                  <a:gd name="connsiteY2" fmla="*/ 0 h 105459"/>
                  <a:gd name="connsiteX3" fmla="*/ 14161 w 75679"/>
                  <a:gd name="connsiteY3" fmla="*/ 19606 h 105459"/>
                  <a:gd name="connsiteX4" fmla="*/ 20833 w 75679"/>
                  <a:gd name="connsiteY4" fmla="*/ 26262 h 105459"/>
                  <a:gd name="connsiteX5" fmla="*/ 20833 w 75679"/>
                  <a:gd name="connsiteY5" fmla="*/ 50456 h 105459"/>
                  <a:gd name="connsiteX6" fmla="*/ 0 w 75679"/>
                  <a:gd name="connsiteY6" fmla="*/ 71289 h 105459"/>
                  <a:gd name="connsiteX7" fmla="*/ 0 w 75679"/>
                  <a:gd name="connsiteY7" fmla="*/ 83382 h 105459"/>
                  <a:gd name="connsiteX8" fmla="*/ 13765 w 75679"/>
                  <a:gd name="connsiteY8" fmla="*/ 83382 h 105459"/>
                  <a:gd name="connsiteX9" fmla="*/ 19194 w 75679"/>
                  <a:gd name="connsiteY9" fmla="*/ 88778 h 105459"/>
                  <a:gd name="connsiteX10" fmla="*/ 37514 w 75679"/>
                  <a:gd name="connsiteY10" fmla="*/ 88778 h 105459"/>
                  <a:gd name="connsiteX11" fmla="*/ 54188 w 75679"/>
                  <a:gd name="connsiteY11" fmla="*/ 105460 h 105459"/>
                  <a:gd name="connsiteX12" fmla="*/ 74222 w 75679"/>
                  <a:gd name="connsiteY12" fmla="*/ 85458 h 105459"/>
                  <a:gd name="connsiteX13" fmla="*/ 75679 w 75679"/>
                  <a:gd name="connsiteY13" fmla="*/ 86924 h 105459"/>
                  <a:gd name="connsiteX14" fmla="*/ 75679 w 75679"/>
                  <a:gd name="connsiteY14" fmla="*/ 44953 h 105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5679" h="105459">
                    <a:moveTo>
                      <a:pt x="61709" y="30974"/>
                    </a:moveTo>
                    <a:lnTo>
                      <a:pt x="61709" y="0"/>
                    </a:lnTo>
                    <a:lnTo>
                      <a:pt x="33758" y="0"/>
                    </a:lnTo>
                    <a:lnTo>
                      <a:pt x="14161" y="19606"/>
                    </a:lnTo>
                    <a:lnTo>
                      <a:pt x="20833" y="26262"/>
                    </a:lnTo>
                    <a:lnTo>
                      <a:pt x="20833" y="50456"/>
                    </a:lnTo>
                    <a:lnTo>
                      <a:pt x="0" y="71289"/>
                    </a:lnTo>
                    <a:lnTo>
                      <a:pt x="0" y="83382"/>
                    </a:lnTo>
                    <a:lnTo>
                      <a:pt x="13765" y="83382"/>
                    </a:lnTo>
                    <a:lnTo>
                      <a:pt x="19194" y="88778"/>
                    </a:lnTo>
                    <a:lnTo>
                      <a:pt x="37514" y="88778"/>
                    </a:lnTo>
                    <a:lnTo>
                      <a:pt x="54188" y="105460"/>
                    </a:lnTo>
                    <a:lnTo>
                      <a:pt x="74222" y="85458"/>
                    </a:lnTo>
                    <a:lnTo>
                      <a:pt x="75679" y="86924"/>
                    </a:lnTo>
                    <a:lnTo>
                      <a:pt x="75679" y="44953"/>
                    </a:lnTo>
                    <a:close/>
                  </a:path>
                </a:pathLst>
              </a:custGeom>
              <a:solidFill>
                <a:schemeClr val="accent1"/>
              </a:solidFill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52" name="Freeform: Shape 1151">
                <a:extLst>
                  <a:ext uri="{FF2B5EF4-FFF2-40B4-BE49-F238E27FC236}">
                    <a16:creationId xmlns:a16="http://schemas.microsoft.com/office/drawing/2014/main" id="{4A032930-CA0D-486C-3500-318A73254EBB}"/>
                  </a:ext>
                </a:extLst>
              </p:cNvPr>
              <p:cNvSpPr/>
              <p:nvPr/>
            </p:nvSpPr>
            <p:spPr>
              <a:xfrm>
                <a:off x="5608603" y="2639472"/>
                <a:ext cx="222978" cy="288419"/>
              </a:xfrm>
              <a:custGeom>
                <a:avLst/>
                <a:gdLst>
                  <a:gd name="connsiteX0" fmla="*/ 80845 w 222978"/>
                  <a:gd name="connsiteY0" fmla="*/ 40827 h 288419"/>
                  <a:gd name="connsiteX1" fmla="*/ 57054 w 222978"/>
                  <a:gd name="connsiteY1" fmla="*/ 64600 h 288419"/>
                  <a:gd name="connsiteX2" fmla="*/ 75433 w 222978"/>
                  <a:gd name="connsiteY2" fmla="*/ 82913 h 288419"/>
                  <a:gd name="connsiteX3" fmla="*/ 82954 w 222978"/>
                  <a:gd name="connsiteY3" fmla="*/ 82913 h 288419"/>
                  <a:gd name="connsiteX4" fmla="*/ 82954 w 222978"/>
                  <a:gd name="connsiteY4" fmla="*/ 106366 h 288419"/>
                  <a:gd name="connsiteX5" fmla="*/ 82954 w 222978"/>
                  <a:gd name="connsiteY5" fmla="*/ 113343 h 288419"/>
                  <a:gd name="connsiteX6" fmla="*/ 82954 w 222978"/>
                  <a:gd name="connsiteY6" fmla="*/ 144317 h 288419"/>
                  <a:gd name="connsiteX7" fmla="*/ 96924 w 222978"/>
                  <a:gd name="connsiteY7" fmla="*/ 158296 h 288419"/>
                  <a:gd name="connsiteX8" fmla="*/ 96924 w 222978"/>
                  <a:gd name="connsiteY8" fmla="*/ 200267 h 288419"/>
                  <a:gd name="connsiteX9" fmla="*/ 103539 w 222978"/>
                  <a:gd name="connsiteY9" fmla="*/ 206932 h 288419"/>
                  <a:gd name="connsiteX10" fmla="*/ 81257 w 222978"/>
                  <a:gd name="connsiteY10" fmla="*/ 229240 h 288419"/>
                  <a:gd name="connsiteX11" fmla="*/ 43347 w 222978"/>
                  <a:gd name="connsiteY11" fmla="*/ 229240 h 288419"/>
                  <a:gd name="connsiteX12" fmla="*/ 0 w 222978"/>
                  <a:gd name="connsiteY12" fmla="*/ 272570 h 288419"/>
                  <a:gd name="connsiteX13" fmla="*/ 15866 w 222978"/>
                  <a:gd name="connsiteY13" fmla="*/ 288419 h 288419"/>
                  <a:gd name="connsiteX14" fmla="*/ 32918 w 222978"/>
                  <a:gd name="connsiteY14" fmla="*/ 271343 h 288419"/>
                  <a:gd name="connsiteX15" fmla="*/ 66264 w 222978"/>
                  <a:gd name="connsiteY15" fmla="*/ 271343 h 288419"/>
                  <a:gd name="connsiteX16" fmla="*/ 66264 w 222978"/>
                  <a:gd name="connsiteY16" fmla="*/ 253401 h 288419"/>
                  <a:gd name="connsiteX17" fmla="*/ 123376 w 222978"/>
                  <a:gd name="connsiteY17" fmla="*/ 253401 h 288419"/>
                  <a:gd name="connsiteX18" fmla="*/ 131276 w 222978"/>
                  <a:gd name="connsiteY18" fmla="*/ 245485 h 288419"/>
                  <a:gd name="connsiteX19" fmla="*/ 185496 w 222978"/>
                  <a:gd name="connsiteY19" fmla="*/ 245485 h 288419"/>
                  <a:gd name="connsiteX20" fmla="*/ 197985 w 222978"/>
                  <a:gd name="connsiteY20" fmla="*/ 232963 h 288419"/>
                  <a:gd name="connsiteX21" fmla="*/ 221323 w 222978"/>
                  <a:gd name="connsiteY21" fmla="*/ 232963 h 288419"/>
                  <a:gd name="connsiteX22" fmla="*/ 221323 w 222978"/>
                  <a:gd name="connsiteY22" fmla="*/ 215458 h 288419"/>
                  <a:gd name="connsiteX23" fmla="*/ 202549 w 222978"/>
                  <a:gd name="connsiteY23" fmla="*/ 215458 h 288419"/>
                  <a:gd name="connsiteX24" fmla="*/ 202549 w 222978"/>
                  <a:gd name="connsiteY24" fmla="*/ 202525 h 288419"/>
                  <a:gd name="connsiteX25" fmla="*/ 222979 w 222978"/>
                  <a:gd name="connsiteY25" fmla="*/ 182136 h 288419"/>
                  <a:gd name="connsiteX26" fmla="*/ 222979 w 222978"/>
                  <a:gd name="connsiteY26" fmla="*/ 154622 h 288419"/>
                  <a:gd name="connsiteX27" fmla="*/ 209642 w 222978"/>
                  <a:gd name="connsiteY27" fmla="*/ 141277 h 288419"/>
                  <a:gd name="connsiteX28" fmla="*/ 183800 w 222978"/>
                  <a:gd name="connsiteY28" fmla="*/ 141277 h 288419"/>
                  <a:gd name="connsiteX29" fmla="*/ 183800 w 222978"/>
                  <a:gd name="connsiteY29" fmla="*/ 121243 h 288419"/>
                  <a:gd name="connsiteX30" fmla="*/ 172539 w 222978"/>
                  <a:gd name="connsiteY30" fmla="*/ 109982 h 288419"/>
                  <a:gd name="connsiteX31" fmla="*/ 192557 w 222978"/>
                  <a:gd name="connsiteY31" fmla="*/ 90005 h 288419"/>
                  <a:gd name="connsiteX32" fmla="*/ 156287 w 222978"/>
                  <a:gd name="connsiteY32" fmla="*/ 53760 h 288419"/>
                  <a:gd name="connsiteX33" fmla="*/ 127117 w 222978"/>
                  <a:gd name="connsiteY33" fmla="*/ 53760 h 288419"/>
                  <a:gd name="connsiteX34" fmla="*/ 127117 w 222978"/>
                  <a:gd name="connsiteY34" fmla="*/ 6236 h 288419"/>
                  <a:gd name="connsiteX35" fmla="*/ 120880 w 222978"/>
                  <a:gd name="connsiteY35" fmla="*/ 0 h 288419"/>
                  <a:gd name="connsiteX36" fmla="*/ 80054 w 222978"/>
                  <a:gd name="connsiteY36" fmla="*/ 40827 h 288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22978" h="288419">
                    <a:moveTo>
                      <a:pt x="80845" y="40827"/>
                    </a:moveTo>
                    <a:lnTo>
                      <a:pt x="57054" y="64600"/>
                    </a:lnTo>
                    <a:lnTo>
                      <a:pt x="75433" y="82913"/>
                    </a:lnTo>
                    <a:lnTo>
                      <a:pt x="82954" y="82913"/>
                    </a:lnTo>
                    <a:lnTo>
                      <a:pt x="82954" y="106366"/>
                    </a:lnTo>
                    <a:lnTo>
                      <a:pt x="82954" y="113343"/>
                    </a:lnTo>
                    <a:lnTo>
                      <a:pt x="82954" y="144317"/>
                    </a:lnTo>
                    <a:lnTo>
                      <a:pt x="96924" y="158296"/>
                    </a:lnTo>
                    <a:lnTo>
                      <a:pt x="96924" y="200267"/>
                    </a:lnTo>
                    <a:lnTo>
                      <a:pt x="103539" y="206932"/>
                    </a:lnTo>
                    <a:lnTo>
                      <a:pt x="81257" y="229240"/>
                    </a:lnTo>
                    <a:lnTo>
                      <a:pt x="43347" y="229240"/>
                    </a:lnTo>
                    <a:lnTo>
                      <a:pt x="0" y="272570"/>
                    </a:lnTo>
                    <a:lnTo>
                      <a:pt x="15866" y="288419"/>
                    </a:lnTo>
                    <a:lnTo>
                      <a:pt x="32918" y="271343"/>
                    </a:lnTo>
                    <a:lnTo>
                      <a:pt x="66264" y="271343"/>
                    </a:lnTo>
                    <a:lnTo>
                      <a:pt x="66264" y="253401"/>
                    </a:lnTo>
                    <a:lnTo>
                      <a:pt x="123376" y="253401"/>
                    </a:lnTo>
                    <a:lnTo>
                      <a:pt x="131276" y="245485"/>
                    </a:lnTo>
                    <a:lnTo>
                      <a:pt x="185496" y="245485"/>
                    </a:lnTo>
                    <a:lnTo>
                      <a:pt x="197985" y="232963"/>
                    </a:lnTo>
                    <a:lnTo>
                      <a:pt x="221323" y="232963"/>
                    </a:lnTo>
                    <a:lnTo>
                      <a:pt x="221323" y="215458"/>
                    </a:lnTo>
                    <a:lnTo>
                      <a:pt x="202549" y="215458"/>
                    </a:lnTo>
                    <a:lnTo>
                      <a:pt x="202549" y="202525"/>
                    </a:lnTo>
                    <a:lnTo>
                      <a:pt x="222979" y="182136"/>
                    </a:lnTo>
                    <a:lnTo>
                      <a:pt x="222979" y="154622"/>
                    </a:lnTo>
                    <a:lnTo>
                      <a:pt x="209642" y="141277"/>
                    </a:lnTo>
                    <a:lnTo>
                      <a:pt x="183800" y="141277"/>
                    </a:lnTo>
                    <a:lnTo>
                      <a:pt x="183800" y="121243"/>
                    </a:lnTo>
                    <a:lnTo>
                      <a:pt x="172539" y="109982"/>
                    </a:lnTo>
                    <a:lnTo>
                      <a:pt x="192557" y="90005"/>
                    </a:lnTo>
                    <a:lnTo>
                      <a:pt x="156287" y="53760"/>
                    </a:lnTo>
                    <a:lnTo>
                      <a:pt x="127117" y="53760"/>
                    </a:lnTo>
                    <a:lnTo>
                      <a:pt x="127117" y="6236"/>
                    </a:lnTo>
                    <a:lnTo>
                      <a:pt x="120880" y="0"/>
                    </a:lnTo>
                    <a:lnTo>
                      <a:pt x="80054" y="40827"/>
                    </a:lnTo>
                    <a:close/>
                  </a:path>
                </a:pathLst>
              </a:custGeom>
              <a:solidFill>
                <a:schemeClr val="accent1"/>
              </a:solidFill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455" name="Graphic 6">
              <a:extLst>
                <a:ext uri="{FF2B5EF4-FFF2-40B4-BE49-F238E27FC236}">
                  <a16:creationId xmlns:a16="http://schemas.microsoft.com/office/drawing/2014/main" id="{2BEA9B6C-1308-3C95-28A8-F9EC49C4105C}"/>
                </a:ext>
              </a:extLst>
            </p:cNvPr>
            <p:cNvGrpSpPr/>
            <p:nvPr/>
          </p:nvGrpSpPr>
          <p:grpSpPr>
            <a:xfrm>
              <a:off x="5568171" y="2470631"/>
              <a:ext cx="161311" cy="219246"/>
              <a:chOff x="5568171" y="2470631"/>
              <a:chExt cx="161311" cy="219246"/>
            </a:xfrm>
            <a:grpFill/>
          </p:grpSpPr>
          <p:sp>
            <p:nvSpPr>
              <p:cNvPr id="892" name="Freeform: Shape 891">
                <a:extLst>
                  <a:ext uri="{FF2B5EF4-FFF2-40B4-BE49-F238E27FC236}">
                    <a16:creationId xmlns:a16="http://schemas.microsoft.com/office/drawing/2014/main" id="{6748A279-6A1C-B37D-09BC-8B89EBDBB886}"/>
                  </a:ext>
                </a:extLst>
              </p:cNvPr>
              <p:cNvSpPr/>
              <p:nvPr/>
            </p:nvSpPr>
            <p:spPr>
              <a:xfrm>
                <a:off x="5591081" y="2470631"/>
                <a:ext cx="138401" cy="219246"/>
              </a:xfrm>
              <a:custGeom>
                <a:avLst/>
                <a:gdLst>
                  <a:gd name="connsiteX0" fmla="*/ 0 w 138401"/>
                  <a:gd name="connsiteY0" fmla="*/ 81298 h 219246"/>
                  <a:gd name="connsiteX1" fmla="*/ 16690 w 138401"/>
                  <a:gd name="connsiteY1" fmla="*/ 97955 h 219246"/>
                  <a:gd name="connsiteX2" fmla="*/ 5074 w 138401"/>
                  <a:gd name="connsiteY2" fmla="*/ 109578 h 219246"/>
                  <a:gd name="connsiteX3" fmla="*/ 13765 w 138401"/>
                  <a:gd name="connsiteY3" fmla="*/ 118293 h 219246"/>
                  <a:gd name="connsiteX4" fmla="*/ 28651 w 138401"/>
                  <a:gd name="connsiteY4" fmla="*/ 118293 h 219246"/>
                  <a:gd name="connsiteX5" fmla="*/ 16064 w 138401"/>
                  <a:gd name="connsiteY5" fmla="*/ 130898 h 219246"/>
                  <a:gd name="connsiteX6" fmla="*/ 16064 w 138401"/>
                  <a:gd name="connsiteY6" fmla="*/ 183190 h 219246"/>
                  <a:gd name="connsiteX7" fmla="*/ 23354 w 138401"/>
                  <a:gd name="connsiteY7" fmla="*/ 175925 h 219246"/>
                  <a:gd name="connsiteX8" fmla="*/ 23354 w 138401"/>
                  <a:gd name="connsiteY8" fmla="*/ 160471 h 219246"/>
                  <a:gd name="connsiteX9" fmla="*/ 37737 w 138401"/>
                  <a:gd name="connsiteY9" fmla="*/ 146096 h 219246"/>
                  <a:gd name="connsiteX10" fmla="*/ 43346 w 138401"/>
                  <a:gd name="connsiteY10" fmla="*/ 151739 h 219246"/>
                  <a:gd name="connsiteX11" fmla="*/ 43346 w 138401"/>
                  <a:gd name="connsiteY11" fmla="*/ 205482 h 219246"/>
                  <a:gd name="connsiteX12" fmla="*/ 57104 w 138401"/>
                  <a:gd name="connsiteY12" fmla="*/ 219247 h 219246"/>
                  <a:gd name="connsiteX13" fmla="*/ 57104 w 138401"/>
                  <a:gd name="connsiteY13" fmla="*/ 209667 h 219246"/>
                  <a:gd name="connsiteX14" fmla="*/ 97575 w 138401"/>
                  <a:gd name="connsiteY14" fmla="*/ 209667 h 219246"/>
                  <a:gd name="connsiteX15" fmla="*/ 138402 w 138401"/>
                  <a:gd name="connsiteY15" fmla="*/ 168840 h 219246"/>
                  <a:gd name="connsiteX16" fmla="*/ 117140 w 138401"/>
                  <a:gd name="connsiteY16" fmla="*/ 147554 h 219246"/>
                  <a:gd name="connsiteX17" fmla="*/ 96291 w 138401"/>
                  <a:gd name="connsiteY17" fmla="*/ 147554 h 219246"/>
                  <a:gd name="connsiteX18" fmla="*/ 96291 w 138401"/>
                  <a:gd name="connsiteY18" fmla="*/ 115897 h 219246"/>
                  <a:gd name="connsiteX19" fmla="*/ 133805 w 138401"/>
                  <a:gd name="connsiteY19" fmla="*/ 78357 h 219246"/>
                  <a:gd name="connsiteX20" fmla="*/ 133805 w 138401"/>
                  <a:gd name="connsiteY20" fmla="*/ 58348 h 219246"/>
                  <a:gd name="connsiteX21" fmla="*/ 65029 w 138401"/>
                  <a:gd name="connsiteY21" fmla="*/ 58348 h 219246"/>
                  <a:gd name="connsiteX22" fmla="*/ 65029 w 138401"/>
                  <a:gd name="connsiteY22" fmla="*/ 41254 h 219246"/>
                  <a:gd name="connsiteX23" fmla="*/ 92130 w 138401"/>
                  <a:gd name="connsiteY23" fmla="*/ 14185 h 219246"/>
                  <a:gd name="connsiteX24" fmla="*/ 92130 w 138401"/>
                  <a:gd name="connsiteY24" fmla="*/ 0 h 219246"/>
                  <a:gd name="connsiteX25" fmla="*/ 42935 w 138401"/>
                  <a:gd name="connsiteY25" fmla="*/ 0 h 219246"/>
                  <a:gd name="connsiteX26" fmla="*/ 39689 w 138401"/>
                  <a:gd name="connsiteY26" fmla="*/ 13452 h 219246"/>
                  <a:gd name="connsiteX27" fmla="*/ 31485 w 138401"/>
                  <a:gd name="connsiteY27" fmla="*/ 21673 h 219246"/>
                  <a:gd name="connsiteX28" fmla="*/ 31485 w 138401"/>
                  <a:gd name="connsiteY28" fmla="*/ 41082 h 219246"/>
                  <a:gd name="connsiteX29" fmla="*/ 20034 w 138401"/>
                  <a:gd name="connsiteY29" fmla="*/ 52507 h 219246"/>
                  <a:gd name="connsiteX30" fmla="*/ 20034 w 138401"/>
                  <a:gd name="connsiteY30" fmla="*/ 72113 h 219246"/>
                  <a:gd name="connsiteX31" fmla="*/ 14391 w 138401"/>
                  <a:gd name="connsiteY31" fmla="*/ 77748 h 219246"/>
                  <a:gd name="connsiteX32" fmla="*/ 0 w 138401"/>
                  <a:gd name="connsiteY32" fmla="*/ 63373 h 219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38401" h="219246">
                    <a:moveTo>
                      <a:pt x="0" y="81298"/>
                    </a:moveTo>
                    <a:lnTo>
                      <a:pt x="16690" y="97955"/>
                    </a:lnTo>
                    <a:lnTo>
                      <a:pt x="5074" y="109578"/>
                    </a:lnTo>
                    <a:lnTo>
                      <a:pt x="13765" y="118293"/>
                    </a:lnTo>
                    <a:lnTo>
                      <a:pt x="28651" y="118293"/>
                    </a:lnTo>
                    <a:lnTo>
                      <a:pt x="16064" y="130898"/>
                    </a:lnTo>
                    <a:lnTo>
                      <a:pt x="16064" y="183190"/>
                    </a:lnTo>
                    <a:lnTo>
                      <a:pt x="23354" y="175925"/>
                    </a:lnTo>
                    <a:lnTo>
                      <a:pt x="23354" y="160471"/>
                    </a:lnTo>
                    <a:lnTo>
                      <a:pt x="37737" y="146096"/>
                    </a:lnTo>
                    <a:lnTo>
                      <a:pt x="43346" y="151739"/>
                    </a:lnTo>
                    <a:lnTo>
                      <a:pt x="43346" y="205482"/>
                    </a:lnTo>
                    <a:lnTo>
                      <a:pt x="57104" y="219247"/>
                    </a:lnTo>
                    <a:lnTo>
                      <a:pt x="57104" y="209667"/>
                    </a:lnTo>
                    <a:lnTo>
                      <a:pt x="97575" y="209667"/>
                    </a:lnTo>
                    <a:lnTo>
                      <a:pt x="138402" y="168840"/>
                    </a:lnTo>
                    <a:lnTo>
                      <a:pt x="117140" y="147554"/>
                    </a:lnTo>
                    <a:lnTo>
                      <a:pt x="96291" y="147554"/>
                    </a:lnTo>
                    <a:lnTo>
                      <a:pt x="96291" y="115897"/>
                    </a:lnTo>
                    <a:lnTo>
                      <a:pt x="133805" y="78357"/>
                    </a:lnTo>
                    <a:lnTo>
                      <a:pt x="133805" y="58348"/>
                    </a:lnTo>
                    <a:lnTo>
                      <a:pt x="65029" y="58348"/>
                    </a:lnTo>
                    <a:lnTo>
                      <a:pt x="65029" y="41254"/>
                    </a:lnTo>
                    <a:lnTo>
                      <a:pt x="92130" y="14185"/>
                    </a:lnTo>
                    <a:lnTo>
                      <a:pt x="92130" y="0"/>
                    </a:lnTo>
                    <a:lnTo>
                      <a:pt x="42935" y="0"/>
                    </a:lnTo>
                    <a:lnTo>
                      <a:pt x="39689" y="13452"/>
                    </a:lnTo>
                    <a:lnTo>
                      <a:pt x="31485" y="21673"/>
                    </a:lnTo>
                    <a:lnTo>
                      <a:pt x="31485" y="41082"/>
                    </a:lnTo>
                    <a:lnTo>
                      <a:pt x="20034" y="52507"/>
                    </a:lnTo>
                    <a:lnTo>
                      <a:pt x="20034" y="72113"/>
                    </a:lnTo>
                    <a:lnTo>
                      <a:pt x="14391" y="77748"/>
                    </a:lnTo>
                    <a:lnTo>
                      <a:pt x="0" y="63373"/>
                    </a:lnTo>
                    <a:close/>
                  </a:path>
                </a:pathLst>
              </a:custGeom>
              <a:solidFill>
                <a:schemeClr val="accent1"/>
              </a:solidFill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93" name="Freeform: Shape 892">
                <a:extLst>
                  <a:ext uri="{FF2B5EF4-FFF2-40B4-BE49-F238E27FC236}">
                    <a16:creationId xmlns:a16="http://schemas.microsoft.com/office/drawing/2014/main" id="{2CDA9C4F-31C6-082A-665F-B7E18B3F9656}"/>
                  </a:ext>
                </a:extLst>
              </p:cNvPr>
              <p:cNvSpPr/>
              <p:nvPr/>
            </p:nvSpPr>
            <p:spPr>
              <a:xfrm>
                <a:off x="5568171" y="2474001"/>
                <a:ext cx="23313" cy="39162"/>
              </a:xfrm>
              <a:custGeom>
                <a:avLst/>
                <a:gdLst>
                  <a:gd name="connsiteX0" fmla="*/ 11253 w 23313"/>
                  <a:gd name="connsiteY0" fmla="*/ 15816 h 39162"/>
                  <a:gd name="connsiteX1" fmla="*/ 23313 w 23313"/>
                  <a:gd name="connsiteY1" fmla="*/ 15816 h 39162"/>
                  <a:gd name="connsiteX2" fmla="*/ 23313 w 23313"/>
                  <a:gd name="connsiteY2" fmla="*/ 0 h 39162"/>
                  <a:gd name="connsiteX3" fmla="*/ 5001 w 23313"/>
                  <a:gd name="connsiteY3" fmla="*/ 0 h 39162"/>
                  <a:gd name="connsiteX4" fmla="*/ 5001 w 23313"/>
                  <a:gd name="connsiteY4" fmla="*/ 15816 h 39162"/>
                  <a:gd name="connsiteX5" fmla="*/ 0 w 23313"/>
                  <a:gd name="connsiteY5" fmla="*/ 20817 h 39162"/>
                  <a:gd name="connsiteX6" fmla="*/ 0 w 23313"/>
                  <a:gd name="connsiteY6" fmla="*/ 39162 h 39162"/>
                  <a:gd name="connsiteX7" fmla="*/ 11253 w 23313"/>
                  <a:gd name="connsiteY7" fmla="*/ 27909 h 39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313" h="39162">
                    <a:moveTo>
                      <a:pt x="11253" y="15816"/>
                    </a:moveTo>
                    <a:lnTo>
                      <a:pt x="23313" y="15816"/>
                    </a:lnTo>
                    <a:lnTo>
                      <a:pt x="23313" y="0"/>
                    </a:lnTo>
                    <a:lnTo>
                      <a:pt x="5001" y="0"/>
                    </a:lnTo>
                    <a:lnTo>
                      <a:pt x="5001" y="15816"/>
                    </a:lnTo>
                    <a:lnTo>
                      <a:pt x="0" y="20817"/>
                    </a:lnTo>
                    <a:lnTo>
                      <a:pt x="0" y="39162"/>
                    </a:lnTo>
                    <a:lnTo>
                      <a:pt x="11253" y="27909"/>
                    </a:lnTo>
                    <a:close/>
                  </a:path>
                </a:pathLst>
              </a:custGeom>
              <a:solidFill>
                <a:schemeClr val="accent1"/>
              </a:solidFill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56" name="Freeform: Shape 455">
              <a:extLst>
                <a:ext uri="{FF2B5EF4-FFF2-40B4-BE49-F238E27FC236}">
                  <a16:creationId xmlns:a16="http://schemas.microsoft.com/office/drawing/2014/main" id="{ABA0B8E5-E42F-8A36-1193-4A63C5CB846C}"/>
                </a:ext>
              </a:extLst>
            </p:cNvPr>
            <p:cNvSpPr/>
            <p:nvPr/>
          </p:nvSpPr>
          <p:spPr>
            <a:xfrm>
              <a:off x="8213324" y="4399196"/>
              <a:ext cx="80086" cy="126342"/>
            </a:xfrm>
            <a:custGeom>
              <a:avLst/>
              <a:gdLst>
                <a:gd name="connsiteX0" fmla="*/ 0 w 80086"/>
                <a:gd name="connsiteY0" fmla="*/ 79239 h 126342"/>
                <a:gd name="connsiteX1" fmla="*/ 47070 w 80086"/>
                <a:gd name="connsiteY1" fmla="*/ 126342 h 126342"/>
                <a:gd name="connsiteX2" fmla="*/ 80087 w 80086"/>
                <a:gd name="connsiteY2" fmla="*/ 93351 h 126342"/>
                <a:gd name="connsiteX3" fmla="*/ 80087 w 80086"/>
                <a:gd name="connsiteY3" fmla="*/ 41387 h 126342"/>
                <a:gd name="connsiteX4" fmla="*/ 38718 w 80086"/>
                <a:gd name="connsiteY4" fmla="*/ 0 h 126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086" h="126342">
                  <a:moveTo>
                    <a:pt x="0" y="79239"/>
                  </a:moveTo>
                  <a:lnTo>
                    <a:pt x="47070" y="126342"/>
                  </a:lnTo>
                  <a:lnTo>
                    <a:pt x="80087" y="93351"/>
                  </a:lnTo>
                  <a:lnTo>
                    <a:pt x="80087" y="41387"/>
                  </a:lnTo>
                  <a:lnTo>
                    <a:pt x="38718" y="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7" name="Freeform: Shape 456">
              <a:extLst>
                <a:ext uri="{FF2B5EF4-FFF2-40B4-BE49-F238E27FC236}">
                  <a16:creationId xmlns:a16="http://schemas.microsoft.com/office/drawing/2014/main" id="{85BEA963-57FC-D8C2-5430-42FB8ED7516E}"/>
                </a:ext>
              </a:extLst>
            </p:cNvPr>
            <p:cNvSpPr/>
            <p:nvPr/>
          </p:nvSpPr>
          <p:spPr>
            <a:xfrm>
              <a:off x="6422395" y="3419172"/>
              <a:ext cx="73084" cy="84551"/>
            </a:xfrm>
            <a:custGeom>
              <a:avLst/>
              <a:gdLst>
                <a:gd name="connsiteX0" fmla="*/ 29046 w 73084"/>
                <a:gd name="connsiteY0" fmla="*/ 0 h 84551"/>
                <a:gd name="connsiteX1" fmla="*/ 8781 w 73084"/>
                <a:gd name="connsiteY1" fmla="*/ 20265 h 84551"/>
                <a:gd name="connsiteX2" fmla="*/ 0 w 73084"/>
                <a:gd name="connsiteY2" fmla="*/ 30793 h 84551"/>
                <a:gd name="connsiteX3" fmla="*/ 17578 w 73084"/>
                <a:gd name="connsiteY3" fmla="*/ 48421 h 84551"/>
                <a:gd name="connsiteX4" fmla="*/ 17578 w 73084"/>
                <a:gd name="connsiteY4" fmla="*/ 66033 h 84551"/>
                <a:gd name="connsiteX5" fmla="*/ 34301 w 73084"/>
                <a:gd name="connsiteY5" fmla="*/ 82797 h 84551"/>
                <a:gd name="connsiteX6" fmla="*/ 45735 w 73084"/>
                <a:gd name="connsiteY6" fmla="*/ 71322 h 84551"/>
                <a:gd name="connsiteX7" fmla="*/ 58965 w 73084"/>
                <a:gd name="connsiteY7" fmla="*/ 84552 h 84551"/>
                <a:gd name="connsiteX8" fmla="*/ 73085 w 73084"/>
                <a:gd name="connsiteY8" fmla="*/ 70448 h 84551"/>
                <a:gd name="connsiteX9" fmla="*/ 58059 w 73084"/>
                <a:gd name="connsiteY9" fmla="*/ 55465 h 84551"/>
                <a:gd name="connsiteX10" fmla="*/ 71305 w 73084"/>
                <a:gd name="connsiteY10" fmla="*/ 42267 h 84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084" h="84551">
                  <a:moveTo>
                    <a:pt x="29046" y="0"/>
                  </a:moveTo>
                  <a:lnTo>
                    <a:pt x="8781" y="20265"/>
                  </a:lnTo>
                  <a:lnTo>
                    <a:pt x="0" y="30793"/>
                  </a:lnTo>
                  <a:lnTo>
                    <a:pt x="17578" y="48421"/>
                  </a:lnTo>
                  <a:lnTo>
                    <a:pt x="17578" y="66033"/>
                  </a:lnTo>
                  <a:lnTo>
                    <a:pt x="34301" y="82797"/>
                  </a:lnTo>
                  <a:lnTo>
                    <a:pt x="45735" y="71322"/>
                  </a:lnTo>
                  <a:lnTo>
                    <a:pt x="58965" y="84552"/>
                  </a:lnTo>
                  <a:lnTo>
                    <a:pt x="73085" y="70448"/>
                  </a:lnTo>
                  <a:lnTo>
                    <a:pt x="58059" y="55465"/>
                  </a:lnTo>
                  <a:lnTo>
                    <a:pt x="71305" y="42267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8" name="Freeform: Shape 457">
              <a:extLst>
                <a:ext uri="{FF2B5EF4-FFF2-40B4-BE49-F238E27FC236}">
                  <a16:creationId xmlns:a16="http://schemas.microsoft.com/office/drawing/2014/main" id="{1BA8BC07-9C37-A72E-B9A1-7BFF15520CDF}"/>
                </a:ext>
              </a:extLst>
            </p:cNvPr>
            <p:cNvSpPr/>
            <p:nvPr/>
          </p:nvSpPr>
          <p:spPr>
            <a:xfrm>
              <a:off x="6783388" y="3535867"/>
              <a:ext cx="61172" cy="27728"/>
            </a:xfrm>
            <a:custGeom>
              <a:avLst/>
              <a:gdLst>
                <a:gd name="connsiteX0" fmla="*/ 61173 w 61172"/>
                <a:gd name="connsiteY0" fmla="*/ 0 h 27728"/>
                <a:gd name="connsiteX1" fmla="*/ 7035 w 61172"/>
                <a:gd name="connsiteY1" fmla="*/ 0 h 27728"/>
                <a:gd name="connsiteX2" fmla="*/ 0 w 61172"/>
                <a:gd name="connsiteY2" fmla="*/ 14499 h 27728"/>
                <a:gd name="connsiteX3" fmla="*/ 13180 w 61172"/>
                <a:gd name="connsiteY3" fmla="*/ 27729 h 27728"/>
                <a:gd name="connsiteX4" fmla="*/ 33412 w 61172"/>
                <a:gd name="connsiteY4" fmla="*/ 27729 h 2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172" h="27728">
                  <a:moveTo>
                    <a:pt x="61173" y="0"/>
                  </a:moveTo>
                  <a:lnTo>
                    <a:pt x="7035" y="0"/>
                  </a:lnTo>
                  <a:lnTo>
                    <a:pt x="0" y="14499"/>
                  </a:lnTo>
                  <a:lnTo>
                    <a:pt x="13180" y="27729"/>
                  </a:lnTo>
                  <a:lnTo>
                    <a:pt x="33412" y="27729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9" name="Freeform: Shape 458">
              <a:extLst>
                <a:ext uri="{FF2B5EF4-FFF2-40B4-BE49-F238E27FC236}">
                  <a16:creationId xmlns:a16="http://schemas.microsoft.com/office/drawing/2014/main" id="{827EBEE2-BB47-D5E6-3290-86741DC972C2}"/>
                </a:ext>
              </a:extLst>
            </p:cNvPr>
            <p:cNvSpPr/>
            <p:nvPr/>
          </p:nvSpPr>
          <p:spPr>
            <a:xfrm>
              <a:off x="5867300" y="2741158"/>
              <a:ext cx="138319" cy="146639"/>
            </a:xfrm>
            <a:custGeom>
              <a:avLst/>
              <a:gdLst>
                <a:gd name="connsiteX0" fmla="*/ 33618 w 138319"/>
                <a:gd name="connsiteY0" fmla="*/ 124554 h 146639"/>
                <a:gd name="connsiteX1" fmla="*/ 70260 w 138319"/>
                <a:gd name="connsiteY1" fmla="*/ 124554 h 146639"/>
                <a:gd name="connsiteX2" fmla="*/ 70260 w 138319"/>
                <a:gd name="connsiteY2" fmla="*/ 146640 h 146639"/>
                <a:gd name="connsiteX3" fmla="*/ 86759 w 138319"/>
                <a:gd name="connsiteY3" fmla="*/ 146640 h 146639"/>
                <a:gd name="connsiteX4" fmla="*/ 86759 w 138319"/>
                <a:gd name="connsiteY4" fmla="*/ 124554 h 146639"/>
                <a:gd name="connsiteX5" fmla="*/ 109166 w 138319"/>
                <a:gd name="connsiteY5" fmla="*/ 124554 h 146639"/>
                <a:gd name="connsiteX6" fmla="*/ 109166 w 138319"/>
                <a:gd name="connsiteY6" fmla="*/ 100146 h 146639"/>
                <a:gd name="connsiteX7" fmla="*/ 120312 w 138319"/>
                <a:gd name="connsiteY7" fmla="*/ 88992 h 146639"/>
                <a:gd name="connsiteX8" fmla="*/ 120312 w 138319"/>
                <a:gd name="connsiteY8" fmla="*/ 63900 h 146639"/>
                <a:gd name="connsiteX9" fmla="*/ 138319 w 138319"/>
                <a:gd name="connsiteY9" fmla="*/ 45901 h 146639"/>
                <a:gd name="connsiteX10" fmla="*/ 138319 w 138319"/>
                <a:gd name="connsiteY10" fmla="*/ 0 h 146639"/>
                <a:gd name="connsiteX11" fmla="*/ 130716 w 138319"/>
                <a:gd name="connsiteY11" fmla="*/ 0 h 146639"/>
                <a:gd name="connsiteX12" fmla="*/ 118804 w 138319"/>
                <a:gd name="connsiteY12" fmla="*/ 11887 h 146639"/>
                <a:gd name="connsiteX13" fmla="*/ 77871 w 138319"/>
                <a:gd name="connsiteY13" fmla="*/ 11887 h 146639"/>
                <a:gd name="connsiteX14" fmla="*/ 77871 w 138319"/>
                <a:gd name="connsiteY14" fmla="*/ 66050 h 146639"/>
                <a:gd name="connsiteX15" fmla="*/ 63802 w 138319"/>
                <a:gd name="connsiteY15" fmla="*/ 66050 h 146639"/>
                <a:gd name="connsiteX16" fmla="*/ 63802 w 138319"/>
                <a:gd name="connsiteY16" fmla="*/ 41387 h 146639"/>
                <a:gd name="connsiteX17" fmla="*/ 47944 w 138319"/>
                <a:gd name="connsiteY17" fmla="*/ 41387 h 146639"/>
                <a:gd name="connsiteX18" fmla="*/ 47944 w 138319"/>
                <a:gd name="connsiteY18" fmla="*/ 76603 h 146639"/>
                <a:gd name="connsiteX19" fmla="*/ 0 w 138319"/>
                <a:gd name="connsiteY19" fmla="*/ 124554 h 146639"/>
                <a:gd name="connsiteX20" fmla="*/ 18560 w 138319"/>
                <a:gd name="connsiteY20" fmla="*/ 124554 h 14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8319" h="146639">
                  <a:moveTo>
                    <a:pt x="33618" y="124554"/>
                  </a:moveTo>
                  <a:lnTo>
                    <a:pt x="70260" y="124554"/>
                  </a:lnTo>
                  <a:lnTo>
                    <a:pt x="70260" y="146640"/>
                  </a:lnTo>
                  <a:lnTo>
                    <a:pt x="86759" y="146640"/>
                  </a:lnTo>
                  <a:lnTo>
                    <a:pt x="86759" y="124554"/>
                  </a:lnTo>
                  <a:lnTo>
                    <a:pt x="109166" y="124554"/>
                  </a:lnTo>
                  <a:lnTo>
                    <a:pt x="109166" y="100146"/>
                  </a:lnTo>
                  <a:lnTo>
                    <a:pt x="120312" y="88992"/>
                  </a:lnTo>
                  <a:lnTo>
                    <a:pt x="120312" y="63900"/>
                  </a:lnTo>
                  <a:lnTo>
                    <a:pt x="138319" y="45901"/>
                  </a:lnTo>
                  <a:lnTo>
                    <a:pt x="138319" y="0"/>
                  </a:lnTo>
                  <a:lnTo>
                    <a:pt x="130716" y="0"/>
                  </a:lnTo>
                  <a:lnTo>
                    <a:pt x="118804" y="11887"/>
                  </a:lnTo>
                  <a:lnTo>
                    <a:pt x="77871" y="11887"/>
                  </a:lnTo>
                  <a:lnTo>
                    <a:pt x="77871" y="66050"/>
                  </a:lnTo>
                  <a:lnTo>
                    <a:pt x="63802" y="66050"/>
                  </a:lnTo>
                  <a:lnTo>
                    <a:pt x="63802" y="41387"/>
                  </a:lnTo>
                  <a:lnTo>
                    <a:pt x="47944" y="41387"/>
                  </a:lnTo>
                  <a:lnTo>
                    <a:pt x="47944" y="76603"/>
                  </a:lnTo>
                  <a:lnTo>
                    <a:pt x="0" y="124554"/>
                  </a:lnTo>
                  <a:lnTo>
                    <a:pt x="18560" y="124554"/>
                  </a:lnTo>
                  <a:close/>
                </a:path>
              </a:pathLst>
            </a:custGeom>
            <a:solidFill>
              <a:schemeClr val="accent1"/>
            </a:solidFill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0" name="Freeform: Shape 459">
              <a:extLst>
                <a:ext uri="{FF2B5EF4-FFF2-40B4-BE49-F238E27FC236}">
                  <a16:creationId xmlns:a16="http://schemas.microsoft.com/office/drawing/2014/main" id="{91096049-6019-86FC-2CA1-57FB6856303E}"/>
                </a:ext>
              </a:extLst>
            </p:cNvPr>
            <p:cNvSpPr/>
            <p:nvPr/>
          </p:nvSpPr>
          <p:spPr>
            <a:xfrm>
              <a:off x="5936381" y="1546327"/>
              <a:ext cx="800595" cy="949182"/>
            </a:xfrm>
            <a:custGeom>
              <a:avLst/>
              <a:gdLst>
                <a:gd name="connsiteX0" fmla="*/ 208002 w 800595"/>
                <a:gd name="connsiteY0" fmla="*/ 842191 h 949182"/>
                <a:gd name="connsiteX1" fmla="*/ 208002 w 800595"/>
                <a:gd name="connsiteY1" fmla="*/ 820650 h 949182"/>
                <a:gd name="connsiteX2" fmla="*/ 208002 w 800595"/>
                <a:gd name="connsiteY2" fmla="*/ 786381 h 949182"/>
                <a:gd name="connsiteX3" fmla="*/ 235830 w 800595"/>
                <a:gd name="connsiteY3" fmla="*/ 758562 h 949182"/>
                <a:gd name="connsiteX4" fmla="*/ 235830 w 800595"/>
                <a:gd name="connsiteY4" fmla="*/ 730347 h 949182"/>
                <a:gd name="connsiteX5" fmla="*/ 219181 w 800595"/>
                <a:gd name="connsiteY5" fmla="*/ 713716 h 949182"/>
                <a:gd name="connsiteX6" fmla="*/ 219181 w 800595"/>
                <a:gd name="connsiteY6" fmla="*/ 648885 h 949182"/>
                <a:gd name="connsiteX7" fmla="*/ 219181 w 800595"/>
                <a:gd name="connsiteY7" fmla="*/ 617475 h 949182"/>
                <a:gd name="connsiteX8" fmla="*/ 255600 w 800595"/>
                <a:gd name="connsiteY8" fmla="*/ 581064 h 949182"/>
                <a:gd name="connsiteX9" fmla="*/ 273517 w 800595"/>
                <a:gd name="connsiteY9" fmla="*/ 563146 h 949182"/>
                <a:gd name="connsiteX10" fmla="*/ 273517 w 800595"/>
                <a:gd name="connsiteY10" fmla="*/ 531102 h 949182"/>
                <a:gd name="connsiteX11" fmla="*/ 259711 w 800595"/>
                <a:gd name="connsiteY11" fmla="*/ 517287 h 949182"/>
                <a:gd name="connsiteX12" fmla="*/ 287843 w 800595"/>
                <a:gd name="connsiteY12" fmla="*/ 489147 h 949182"/>
                <a:gd name="connsiteX13" fmla="*/ 287843 w 800595"/>
                <a:gd name="connsiteY13" fmla="*/ 424605 h 949182"/>
                <a:gd name="connsiteX14" fmla="*/ 306370 w 800595"/>
                <a:gd name="connsiteY14" fmla="*/ 406086 h 949182"/>
                <a:gd name="connsiteX15" fmla="*/ 306370 w 800595"/>
                <a:gd name="connsiteY15" fmla="*/ 375047 h 949182"/>
                <a:gd name="connsiteX16" fmla="*/ 351455 w 800595"/>
                <a:gd name="connsiteY16" fmla="*/ 329953 h 949182"/>
                <a:gd name="connsiteX17" fmla="*/ 382580 w 800595"/>
                <a:gd name="connsiteY17" fmla="*/ 298823 h 949182"/>
                <a:gd name="connsiteX18" fmla="*/ 382580 w 800595"/>
                <a:gd name="connsiteY18" fmla="*/ 276400 h 949182"/>
                <a:gd name="connsiteX19" fmla="*/ 406750 w 800595"/>
                <a:gd name="connsiteY19" fmla="*/ 252247 h 949182"/>
                <a:gd name="connsiteX20" fmla="*/ 406750 w 800595"/>
                <a:gd name="connsiteY20" fmla="*/ 230450 h 949182"/>
                <a:gd name="connsiteX21" fmla="*/ 437279 w 800595"/>
                <a:gd name="connsiteY21" fmla="*/ 230450 h 949182"/>
                <a:gd name="connsiteX22" fmla="*/ 463904 w 800595"/>
                <a:gd name="connsiteY22" fmla="*/ 203842 h 949182"/>
                <a:gd name="connsiteX23" fmla="*/ 488814 w 800595"/>
                <a:gd name="connsiteY23" fmla="*/ 203842 h 949182"/>
                <a:gd name="connsiteX24" fmla="*/ 513626 w 800595"/>
                <a:gd name="connsiteY24" fmla="*/ 179022 h 949182"/>
                <a:gd name="connsiteX25" fmla="*/ 554304 w 800595"/>
                <a:gd name="connsiteY25" fmla="*/ 219717 h 949182"/>
                <a:gd name="connsiteX26" fmla="*/ 581093 w 800595"/>
                <a:gd name="connsiteY26" fmla="*/ 192952 h 949182"/>
                <a:gd name="connsiteX27" fmla="*/ 613945 w 800595"/>
                <a:gd name="connsiteY27" fmla="*/ 192952 h 949182"/>
                <a:gd name="connsiteX28" fmla="*/ 637456 w 800595"/>
                <a:gd name="connsiteY28" fmla="*/ 169442 h 949182"/>
                <a:gd name="connsiteX29" fmla="*/ 637456 w 800595"/>
                <a:gd name="connsiteY29" fmla="*/ 139975 h 949182"/>
                <a:gd name="connsiteX30" fmla="*/ 691000 w 800595"/>
                <a:gd name="connsiteY30" fmla="*/ 139975 h 949182"/>
                <a:gd name="connsiteX31" fmla="*/ 728812 w 800595"/>
                <a:gd name="connsiteY31" fmla="*/ 139975 h 949182"/>
                <a:gd name="connsiteX32" fmla="*/ 728812 w 800595"/>
                <a:gd name="connsiteY32" fmla="*/ 182672 h 949182"/>
                <a:gd name="connsiteX33" fmla="*/ 786493 w 800595"/>
                <a:gd name="connsiteY33" fmla="*/ 124983 h 949182"/>
                <a:gd name="connsiteX34" fmla="*/ 738977 w 800595"/>
                <a:gd name="connsiteY34" fmla="*/ 77442 h 949182"/>
                <a:gd name="connsiteX35" fmla="*/ 800595 w 800595"/>
                <a:gd name="connsiteY35" fmla="*/ 77442 h 949182"/>
                <a:gd name="connsiteX36" fmla="*/ 738088 w 800595"/>
                <a:gd name="connsiteY36" fmla="*/ 14951 h 949182"/>
                <a:gd name="connsiteX37" fmla="*/ 693802 w 800595"/>
                <a:gd name="connsiteY37" fmla="*/ 0 h 949182"/>
                <a:gd name="connsiteX38" fmla="*/ 684592 w 800595"/>
                <a:gd name="connsiteY38" fmla="*/ 16961 h 949182"/>
                <a:gd name="connsiteX39" fmla="*/ 669105 w 800595"/>
                <a:gd name="connsiteY39" fmla="*/ 68661 h 949182"/>
                <a:gd name="connsiteX40" fmla="*/ 669105 w 800595"/>
                <a:gd name="connsiteY40" fmla="*/ 29927 h 949182"/>
                <a:gd name="connsiteX41" fmla="*/ 607488 w 800595"/>
                <a:gd name="connsiteY41" fmla="*/ 91578 h 949182"/>
                <a:gd name="connsiteX42" fmla="*/ 599134 w 800595"/>
                <a:gd name="connsiteY42" fmla="*/ 83201 h 949182"/>
                <a:gd name="connsiteX43" fmla="*/ 627752 w 800595"/>
                <a:gd name="connsiteY43" fmla="*/ 54575 h 949182"/>
                <a:gd name="connsiteX44" fmla="*/ 627752 w 800595"/>
                <a:gd name="connsiteY44" fmla="*/ 36072 h 949182"/>
                <a:gd name="connsiteX45" fmla="*/ 611441 w 800595"/>
                <a:gd name="connsiteY45" fmla="*/ 19770 h 949182"/>
                <a:gd name="connsiteX46" fmla="*/ 589018 w 800595"/>
                <a:gd name="connsiteY46" fmla="*/ 42251 h 949182"/>
                <a:gd name="connsiteX47" fmla="*/ 589018 w 800595"/>
                <a:gd name="connsiteY47" fmla="*/ 62507 h 949182"/>
                <a:gd name="connsiteX48" fmla="*/ 548060 w 800595"/>
                <a:gd name="connsiteY48" fmla="*/ 103433 h 949182"/>
                <a:gd name="connsiteX49" fmla="*/ 522079 w 800595"/>
                <a:gd name="connsiteY49" fmla="*/ 77459 h 949182"/>
                <a:gd name="connsiteX50" fmla="*/ 522079 w 800595"/>
                <a:gd name="connsiteY50" fmla="*/ 127652 h 949182"/>
                <a:gd name="connsiteX51" fmla="*/ 506888 w 800595"/>
                <a:gd name="connsiteY51" fmla="*/ 112469 h 949182"/>
                <a:gd name="connsiteX52" fmla="*/ 471466 w 800595"/>
                <a:gd name="connsiteY52" fmla="*/ 147916 h 949182"/>
                <a:gd name="connsiteX53" fmla="*/ 471466 w 800595"/>
                <a:gd name="connsiteY53" fmla="*/ 117510 h 949182"/>
                <a:gd name="connsiteX54" fmla="*/ 442831 w 800595"/>
                <a:gd name="connsiteY54" fmla="*/ 146145 h 949182"/>
                <a:gd name="connsiteX55" fmla="*/ 442831 w 800595"/>
                <a:gd name="connsiteY55" fmla="*/ 122371 h 949182"/>
                <a:gd name="connsiteX56" fmla="*/ 420837 w 800595"/>
                <a:gd name="connsiteY56" fmla="*/ 144374 h 949182"/>
                <a:gd name="connsiteX57" fmla="*/ 408299 w 800595"/>
                <a:gd name="connsiteY57" fmla="*/ 144374 h 949182"/>
                <a:gd name="connsiteX58" fmla="*/ 408299 w 800595"/>
                <a:gd name="connsiteY58" fmla="*/ 160009 h 949182"/>
                <a:gd name="connsiteX59" fmla="*/ 379878 w 800595"/>
                <a:gd name="connsiteY59" fmla="*/ 188421 h 949182"/>
                <a:gd name="connsiteX60" fmla="*/ 379878 w 800595"/>
                <a:gd name="connsiteY60" fmla="*/ 212632 h 949182"/>
                <a:gd name="connsiteX61" fmla="*/ 357460 w 800595"/>
                <a:gd name="connsiteY61" fmla="*/ 235079 h 949182"/>
                <a:gd name="connsiteX62" fmla="*/ 377704 w 800595"/>
                <a:gd name="connsiteY62" fmla="*/ 235079 h 949182"/>
                <a:gd name="connsiteX63" fmla="*/ 368028 w 800595"/>
                <a:gd name="connsiteY63" fmla="*/ 244750 h 949182"/>
                <a:gd name="connsiteX64" fmla="*/ 353918 w 800595"/>
                <a:gd name="connsiteY64" fmla="*/ 244750 h 949182"/>
                <a:gd name="connsiteX65" fmla="*/ 324015 w 800595"/>
                <a:gd name="connsiteY65" fmla="*/ 274694 h 949182"/>
                <a:gd name="connsiteX66" fmla="*/ 324015 w 800595"/>
                <a:gd name="connsiteY66" fmla="*/ 309483 h 949182"/>
                <a:gd name="connsiteX67" fmla="*/ 309467 w 800595"/>
                <a:gd name="connsiteY67" fmla="*/ 309483 h 949182"/>
                <a:gd name="connsiteX68" fmla="*/ 280849 w 800595"/>
                <a:gd name="connsiteY68" fmla="*/ 338100 h 949182"/>
                <a:gd name="connsiteX69" fmla="*/ 280849 w 800595"/>
                <a:gd name="connsiteY69" fmla="*/ 361875 h 949182"/>
                <a:gd name="connsiteX70" fmla="*/ 257100 w 800595"/>
                <a:gd name="connsiteY70" fmla="*/ 385649 h 949182"/>
                <a:gd name="connsiteX71" fmla="*/ 257100 w 800595"/>
                <a:gd name="connsiteY71" fmla="*/ 403277 h 949182"/>
                <a:gd name="connsiteX72" fmla="*/ 233342 w 800595"/>
                <a:gd name="connsiteY72" fmla="*/ 427035 h 949182"/>
                <a:gd name="connsiteX73" fmla="*/ 242124 w 800595"/>
                <a:gd name="connsiteY73" fmla="*/ 435841 h 949182"/>
                <a:gd name="connsiteX74" fmla="*/ 219231 w 800595"/>
                <a:gd name="connsiteY74" fmla="*/ 458718 h 949182"/>
                <a:gd name="connsiteX75" fmla="*/ 237708 w 800595"/>
                <a:gd name="connsiteY75" fmla="*/ 477210 h 949182"/>
                <a:gd name="connsiteX76" fmla="*/ 200754 w 800595"/>
                <a:gd name="connsiteY76" fmla="*/ 514215 h 949182"/>
                <a:gd name="connsiteX77" fmla="*/ 200754 w 800595"/>
                <a:gd name="connsiteY77" fmla="*/ 545930 h 949182"/>
                <a:gd name="connsiteX78" fmla="*/ 183133 w 800595"/>
                <a:gd name="connsiteY78" fmla="*/ 545930 h 949182"/>
                <a:gd name="connsiteX79" fmla="*/ 154935 w 800595"/>
                <a:gd name="connsiteY79" fmla="*/ 574070 h 949182"/>
                <a:gd name="connsiteX80" fmla="*/ 154935 w 800595"/>
                <a:gd name="connsiteY80" fmla="*/ 595208 h 949182"/>
                <a:gd name="connsiteX81" fmla="*/ 177836 w 800595"/>
                <a:gd name="connsiteY81" fmla="*/ 572299 h 949182"/>
                <a:gd name="connsiteX82" fmla="*/ 184879 w 800595"/>
                <a:gd name="connsiteY82" fmla="*/ 579375 h 949182"/>
                <a:gd name="connsiteX83" fmla="*/ 147900 w 800595"/>
                <a:gd name="connsiteY83" fmla="*/ 616338 h 949182"/>
                <a:gd name="connsiteX84" fmla="*/ 131598 w 800595"/>
                <a:gd name="connsiteY84" fmla="*/ 600060 h 949182"/>
                <a:gd name="connsiteX85" fmla="*/ 109199 w 800595"/>
                <a:gd name="connsiteY85" fmla="*/ 622524 h 949182"/>
                <a:gd name="connsiteX86" fmla="*/ 83654 w 800595"/>
                <a:gd name="connsiteY86" fmla="*/ 622524 h 949182"/>
                <a:gd name="connsiteX87" fmla="*/ 55465 w 800595"/>
                <a:gd name="connsiteY87" fmla="*/ 650689 h 949182"/>
                <a:gd name="connsiteX88" fmla="*/ 70425 w 800595"/>
                <a:gd name="connsiteY88" fmla="*/ 665649 h 949182"/>
                <a:gd name="connsiteX89" fmla="*/ 52845 w 800595"/>
                <a:gd name="connsiteY89" fmla="*/ 683252 h 949182"/>
                <a:gd name="connsiteX90" fmla="*/ 26411 w 800595"/>
                <a:gd name="connsiteY90" fmla="*/ 683252 h 949182"/>
                <a:gd name="connsiteX91" fmla="*/ 0 w 800595"/>
                <a:gd name="connsiteY91" fmla="*/ 709671 h 949182"/>
                <a:gd name="connsiteX92" fmla="*/ 0 w 800595"/>
                <a:gd name="connsiteY92" fmla="*/ 764262 h 949182"/>
                <a:gd name="connsiteX93" fmla="*/ 54592 w 800595"/>
                <a:gd name="connsiteY93" fmla="*/ 764262 h 949182"/>
                <a:gd name="connsiteX94" fmla="*/ 54592 w 800595"/>
                <a:gd name="connsiteY94" fmla="*/ 780104 h 949182"/>
                <a:gd name="connsiteX95" fmla="*/ 12316 w 800595"/>
                <a:gd name="connsiteY95" fmla="*/ 780104 h 949182"/>
                <a:gd name="connsiteX96" fmla="*/ 12316 w 800595"/>
                <a:gd name="connsiteY96" fmla="*/ 810039 h 949182"/>
                <a:gd name="connsiteX97" fmla="*/ 1739 w 800595"/>
                <a:gd name="connsiteY97" fmla="*/ 820601 h 949182"/>
                <a:gd name="connsiteX98" fmla="*/ 15833 w 800595"/>
                <a:gd name="connsiteY98" fmla="*/ 834678 h 949182"/>
                <a:gd name="connsiteX99" fmla="*/ 44896 w 800595"/>
                <a:gd name="connsiteY99" fmla="*/ 805657 h 949182"/>
                <a:gd name="connsiteX100" fmla="*/ 58101 w 800595"/>
                <a:gd name="connsiteY100" fmla="*/ 818845 h 949182"/>
                <a:gd name="connsiteX101" fmla="*/ 22877 w 800595"/>
                <a:gd name="connsiteY101" fmla="*/ 854070 h 949182"/>
                <a:gd name="connsiteX102" fmla="*/ 1739 w 800595"/>
                <a:gd name="connsiteY102" fmla="*/ 854070 h 949182"/>
                <a:gd name="connsiteX103" fmla="*/ 1739 w 800595"/>
                <a:gd name="connsiteY103" fmla="*/ 875200 h 949182"/>
                <a:gd name="connsiteX104" fmla="*/ 32580 w 800595"/>
                <a:gd name="connsiteY104" fmla="*/ 875200 h 949182"/>
                <a:gd name="connsiteX105" fmla="*/ 32580 w 800595"/>
                <a:gd name="connsiteY105" fmla="*/ 890176 h 949182"/>
                <a:gd name="connsiteX106" fmla="*/ 11451 w 800595"/>
                <a:gd name="connsiteY106" fmla="*/ 911306 h 949182"/>
                <a:gd name="connsiteX107" fmla="*/ 49303 w 800595"/>
                <a:gd name="connsiteY107" fmla="*/ 949183 h 949182"/>
                <a:gd name="connsiteX108" fmla="*/ 103886 w 800595"/>
                <a:gd name="connsiteY108" fmla="*/ 949183 h 949182"/>
                <a:gd name="connsiteX109" fmla="*/ 133822 w 800595"/>
                <a:gd name="connsiteY109" fmla="*/ 919222 h 949182"/>
                <a:gd name="connsiteX110" fmla="*/ 133822 w 800595"/>
                <a:gd name="connsiteY110" fmla="*/ 891939 h 949182"/>
                <a:gd name="connsiteX111" fmla="*/ 148798 w 800595"/>
                <a:gd name="connsiteY111" fmla="*/ 891939 h 949182"/>
                <a:gd name="connsiteX112" fmla="*/ 165521 w 800595"/>
                <a:gd name="connsiteY112" fmla="*/ 875200 h 949182"/>
                <a:gd name="connsiteX113" fmla="*/ 155817 w 800595"/>
                <a:gd name="connsiteY113" fmla="*/ 865528 h 949182"/>
                <a:gd name="connsiteX114" fmla="*/ 167292 w 800595"/>
                <a:gd name="connsiteY114" fmla="*/ 854070 h 949182"/>
                <a:gd name="connsiteX115" fmla="*/ 177218 w 800595"/>
                <a:gd name="connsiteY115" fmla="*/ 854070 h 949182"/>
                <a:gd name="connsiteX116" fmla="*/ 177218 w 800595"/>
                <a:gd name="connsiteY116" fmla="*/ 859333 h 949182"/>
                <a:gd name="connsiteX117" fmla="*/ 194345 w 800595"/>
                <a:gd name="connsiteY117" fmla="*/ 842191 h 94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800595" h="949182">
                  <a:moveTo>
                    <a:pt x="208002" y="842191"/>
                  </a:moveTo>
                  <a:lnTo>
                    <a:pt x="208002" y="820650"/>
                  </a:lnTo>
                  <a:lnTo>
                    <a:pt x="208002" y="786381"/>
                  </a:lnTo>
                  <a:lnTo>
                    <a:pt x="235830" y="758562"/>
                  </a:lnTo>
                  <a:lnTo>
                    <a:pt x="235830" y="730347"/>
                  </a:lnTo>
                  <a:lnTo>
                    <a:pt x="219181" y="713716"/>
                  </a:lnTo>
                  <a:lnTo>
                    <a:pt x="219181" y="648885"/>
                  </a:lnTo>
                  <a:lnTo>
                    <a:pt x="219181" y="617475"/>
                  </a:lnTo>
                  <a:lnTo>
                    <a:pt x="255600" y="581064"/>
                  </a:lnTo>
                  <a:lnTo>
                    <a:pt x="273517" y="563146"/>
                  </a:lnTo>
                  <a:lnTo>
                    <a:pt x="273517" y="531102"/>
                  </a:lnTo>
                  <a:lnTo>
                    <a:pt x="259711" y="517287"/>
                  </a:lnTo>
                  <a:lnTo>
                    <a:pt x="287843" y="489147"/>
                  </a:lnTo>
                  <a:lnTo>
                    <a:pt x="287843" y="424605"/>
                  </a:lnTo>
                  <a:lnTo>
                    <a:pt x="306370" y="406086"/>
                  </a:lnTo>
                  <a:lnTo>
                    <a:pt x="306370" y="375047"/>
                  </a:lnTo>
                  <a:lnTo>
                    <a:pt x="351455" y="329953"/>
                  </a:lnTo>
                  <a:lnTo>
                    <a:pt x="382580" y="298823"/>
                  </a:lnTo>
                  <a:lnTo>
                    <a:pt x="382580" y="276400"/>
                  </a:lnTo>
                  <a:lnTo>
                    <a:pt x="406750" y="252247"/>
                  </a:lnTo>
                  <a:lnTo>
                    <a:pt x="406750" y="230450"/>
                  </a:lnTo>
                  <a:lnTo>
                    <a:pt x="437279" y="230450"/>
                  </a:lnTo>
                  <a:lnTo>
                    <a:pt x="463904" y="203842"/>
                  </a:lnTo>
                  <a:lnTo>
                    <a:pt x="488814" y="203842"/>
                  </a:lnTo>
                  <a:lnTo>
                    <a:pt x="513626" y="179022"/>
                  </a:lnTo>
                  <a:lnTo>
                    <a:pt x="554304" y="219717"/>
                  </a:lnTo>
                  <a:lnTo>
                    <a:pt x="581093" y="192952"/>
                  </a:lnTo>
                  <a:lnTo>
                    <a:pt x="613945" y="192952"/>
                  </a:lnTo>
                  <a:lnTo>
                    <a:pt x="637456" y="169442"/>
                  </a:lnTo>
                  <a:lnTo>
                    <a:pt x="637456" y="139975"/>
                  </a:lnTo>
                  <a:lnTo>
                    <a:pt x="691000" y="139975"/>
                  </a:lnTo>
                  <a:lnTo>
                    <a:pt x="728812" y="139975"/>
                  </a:lnTo>
                  <a:lnTo>
                    <a:pt x="728812" y="182672"/>
                  </a:lnTo>
                  <a:lnTo>
                    <a:pt x="786493" y="124983"/>
                  </a:lnTo>
                  <a:lnTo>
                    <a:pt x="738977" y="77442"/>
                  </a:lnTo>
                  <a:lnTo>
                    <a:pt x="800595" y="77442"/>
                  </a:lnTo>
                  <a:lnTo>
                    <a:pt x="738088" y="14951"/>
                  </a:lnTo>
                  <a:lnTo>
                    <a:pt x="693802" y="0"/>
                  </a:lnTo>
                  <a:lnTo>
                    <a:pt x="684592" y="16961"/>
                  </a:lnTo>
                  <a:lnTo>
                    <a:pt x="669105" y="68661"/>
                  </a:lnTo>
                  <a:lnTo>
                    <a:pt x="669105" y="29927"/>
                  </a:lnTo>
                  <a:lnTo>
                    <a:pt x="607488" y="91578"/>
                  </a:lnTo>
                  <a:lnTo>
                    <a:pt x="599134" y="83201"/>
                  </a:lnTo>
                  <a:lnTo>
                    <a:pt x="627752" y="54575"/>
                  </a:lnTo>
                  <a:lnTo>
                    <a:pt x="627752" y="36072"/>
                  </a:lnTo>
                  <a:lnTo>
                    <a:pt x="611441" y="19770"/>
                  </a:lnTo>
                  <a:lnTo>
                    <a:pt x="589018" y="42251"/>
                  </a:lnTo>
                  <a:lnTo>
                    <a:pt x="589018" y="62507"/>
                  </a:lnTo>
                  <a:lnTo>
                    <a:pt x="548060" y="103433"/>
                  </a:lnTo>
                  <a:lnTo>
                    <a:pt x="522079" y="77459"/>
                  </a:lnTo>
                  <a:lnTo>
                    <a:pt x="522079" y="127652"/>
                  </a:lnTo>
                  <a:lnTo>
                    <a:pt x="506888" y="112469"/>
                  </a:lnTo>
                  <a:lnTo>
                    <a:pt x="471466" y="147916"/>
                  </a:lnTo>
                  <a:lnTo>
                    <a:pt x="471466" y="117510"/>
                  </a:lnTo>
                  <a:lnTo>
                    <a:pt x="442831" y="146145"/>
                  </a:lnTo>
                  <a:lnTo>
                    <a:pt x="442831" y="122371"/>
                  </a:lnTo>
                  <a:lnTo>
                    <a:pt x="420837" y="144374"/>
                  </a:lnTo>
                  <a:lnTo>
                    <a:pt x="408299" y="144374"/>
                  </a:lnTo>
                  <a:lnTo>
                    <a:pt x="408299" y="160009"/>
                  </a:lnTo>
                  <a:lnTo>
                    <a:pt x="379878" y="188421"/>
                  </a:lnTo>
                  <a:lnTo>
                    <a:pt x="379878" y="212632"/>
                  </a:lnTo>
                  <a:lnTo>
                    <a:pt x="357460" y="235079"/>
                  </a:lnTo>
                  <a:lnTo>
                    <a:pt x="377704" y="235079"/>
                  </a:lnTo>
                  <a:lnTo>
                    <a:pt x="368028" y="244750"/>
                  </a:lnTo>
                  <a:lnTo>
                    <a:pt x="353918" y="244750"/>
                  </a:lnTo>
                  <a:lnTo>
                    <a:pt x="324015" y="274694"/>
                  </a:lnTo>
                  <a:lnTo>
                    <a:pt x="324015" y="309483"/>
                  </a:lnTo>
                  <a:lnTo>
                    <a:pt x="309467" y="309483"/>
                  </a:lnTo>
                  <a:lnTo>
                    <a:pt x="280849" y="338100"/>
                  </a:lnTo>
                  <a:lnTo>
                    <a:pt x="280849" y="361875"/>
                  </a:lnTo>
                  <a:lnTo>
                    <a:pt x="257100" y="385649"/>
                  </a:lnTo>
                  <a:lnTo>
                    <a:pt x="257100" y="403277"/>
                  </a:lnTo>
                  <a:lnTo>
                    <a:pt x="233342" y="427035"/>
                  </a:lnTo>
                  <a:lnTo>
                    <a:pt x="242124" y="435841"/>
                  </a:lnTo>
                  <a:lnTo>
                    <a:pt x="219231" y="458718"/>
                  </a:lnTo>
                  <a:lnTo>
                    <a:pt x="237708" y="477210"/>
                  </a:lnTo>
                  <a:lnTo>
                    <a:pt x="200754" y="514215"/>
                  </a:lnTo>
                  <a:lnTo>
                    <a:pt x="200754" y="545930"/>
                  </a:lnTo>
                  <a:lnTo>
                    <a:pt x="183133" y="545930"/>
                  </a:lnTo>
                  <a:lnTo>
                    <a:pt x="154935" y="574070"/>
                  </a:lnTo>
                  <a:lnTo>
                    <a:pt x="154935" y="595208"/>
                  </a:lnTo>
                  <a:lnTo>
                    <a:pt x="177836" y="572299"/>
                  </a:lnTo>
                  <a:lnTo>
                    <a:pt x="184879" y="579375"/>
                  </a:lnTo>
                  <a:lnTo>
                    <a:pt x="147900" y="616338"/>
                  </a:lnTo>
                  <a:lnTo>
                    <a:pt x="131598" y="600060"/>
                  </a:lnTo>
                  <a:lnTo>
                    <a:pt x="109199" y="622524"/>
                  </a:lnTo>
                  <a:lnTo>
                    <a:pt x="83654" y="622524"/>
                  </a:lnTo>
                  <a:lnTo>
                    <a:pt x="55465" y="650689"/>
                  </a:lnTo>
                  <a:lnTo>
                    <a:pt x="70425" y="665649"/>
                  </a:lnTo>
                  <a:lnTo>
                    <a:pt x="52845" y="683252"/>
                  </a:lnTo>
                  <a:lnTo>
                    <a:pt x="26411" y="683252"/>
                  </a:lnTo>
                  <a:lnTo>
                    <a:pt x="0" y="709671"/>
                  </a:lnTo>
                  <a:lnTo>
                    <a:pt x="0" y="764262"/>
                  </a:lnTo>
                  <a:lnTo>
                    <a:pt x="54592" y="764262"/>
                  </a:lnTo>
                  <a:lnTo>
                    <a:pt x="54592" y="780104"/>
                  </a:lnTo>
                  <a:lnTo>
                    <a:pt x="12316" y="780104"/>
                  </a:lnTo>
                  <a:lnTo>
                    <a:pt x="12316" y="810039"/>
                  </a:lnTo>
                  <a:lnTo>
                    <a:pt x="1739" y="820601"/>
                  </a:lnTo>
                  <a:lnTo>
                    <a:pt x="15833" y="834678"/>
                  </a:lnTo>
                  <a:lnTo>
                    <a:pt x="44896" y="805657"/>
                  </a:lnTo>
                  <a:lnTo>
                    <a:pt x="58101" y="818845"/>
                  </a:lnTo>
                  <a:lnTo>
                    <a:pt x="22877" y="854070"/>
                  </a:lnTo>
                  <a:lnTo>
                    <a:pt x="1739" y="854070"/>
                  </a:lnTo>
                  <a:lnTo>
                    <a:pt x="1739" y="875200"/>
                  </a:lnTo>
                  <a:lnTo>
                    <a:pt x="32580" y="875200"/>
                  </a:lnTo>
                  <a:lnTo>
                    <a:pt x="32580" y="890176"/>
                  </a:lnTo>
                  <a:lnTo>
                    <a:pt x="11451" y="911306"/>
                  </a:lnTo>
                  <a:lnTo>
                    <a:pt x="49303" y="949183"/>
                  </a:lnTo>
                  <a:lnTo>
                    <a:pt x="103886" y="949183"/>
                  </a:lnTo>
                  <a:lnTo>
                    <a:pt x="133822" y="919222"/>
                  </a:lnTo>
                  <a:lnTo>
                    <a:pt x="133822" y="891939"/>
                  </a:lnTo>
                  <a:lnTo>
                    <a:pt x="148798" y="891939"/>
                  </a:lnTo>
                  <a:lnTo>
                    <a:pt x="165521" y="875200"/>
                  </a:lnTo>
                  <a:lnTo>
                    <a:pt x="155817" y="865528"/>
                  </a:lnTo>
                  <a:lnTo>
                    <a:pt x="167292" y="854070"/>
                  </a:lnTo>
                  <a:lnTo>
                    <a:pt x="177218" y="854070"/>
                  </a:lnTo>
                  <a:lnTo>
                    <a:pt x="177218" y="859333"/>
                  </a:lnTo>
                  <a:lnTo>
                    <a:pt x="194345" y="842191"/>
                  </a:lnTo>
                  <a:close/>
                </a:path>
              </a:pathLst>
            </a:custGeom>
            <a:solidFill>
              <a:schemeClr val="accent1"/>
            </a:solidFill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1" name="Freeform: Shape 460">
              <a:extLst>
                <a:ext uri="{FF2B5EF4-FFF2-40B4-BE49-F238E27FC236}">
                  <a16:creationId xmlns:a16="http://schemas.microsoft.com/office/drawing/2014/main" id="{6945B1B7-2404-7245-0DD5-2246501F1F9B}"/>
                </a:ext>
              </a:extLst>
            </p:cNvPr>
            <p:cNvSpPr/>
            <p:nvPr/>
          </p:nvSpPr>
          <p:spPr>
            <a:xfrm>
              <a:off x="6113599" y="1750169"/>
              <a:ext cx="404040" cy="901404"/>
            </a:xfrm>
            <a:custGeom>
              <a:avLst/>
              <a:gdLst>
                <a:gd name="connsiteX0" fmla="*/ 388636 w 404040"/>
                <a:gd name="connsiteY0" fmla="*/ 179550 h 901404"/>
                <a:gd name="connsiteX1" fmla="*/ 388636 w 404040"/>
                <a:gd name="connsiteY1" fmla="*/ 108392 h 901404"/>
                <a:gd name="connsiteX2" fmla="*/ 388636 w 404040"/>
                <a:gd name="connsiteY2" fmla="*/ 60334 h 901404"/>
                <a:gd name="connsiteX3" fmla="*/ 371913 w 404040"/>
                <a:gd name="connsiteY3" fmla="*/ 60334 h 901404"/>
                <a:gd name="connsiteX4" fmla="*/ 336919 w 404040"/>
                <a:gd name="connsiteY4" fmla="*/ 25348 h 901404"/>
                <a:gd name="connsiteX5" fmla="*/ 311596 w 404040"/>
                <a:gd name="connsiteY5" fmla="*/ 0 h 901404"/>
                <a:gd name="connsiteX6" fmla="*/ 286686 w 404040"/>
                <a:gd name="connsiteY6" fmla="*/ 0 h 901404"/>
                <a:gd name="connsiteX7" fmla="*/ 260061 w 404040"/>
                <a:gd name="connsiteY7" fmla="*/ 26608 h 901404"/>
                <a:gd name="connsiteX8" fmla="*/ 229532 w 404040"/>
                <a:gd name="connsiteY8" fmla="*/ 26608 h 901404"/>
                <a:gd name="connsiteX9" fmla="*/ 229532 w 404040"/>
                <a:gd name="connsiteY9" fmla="*/ 48405 h 901404"/>
                <a:gd name="connsiteX10" fmla="*/ 205362 w 404040"/>
                <a:gd name="connsiteY10" fmla="*/ 72558 h 901404"/>
                <a:gd name="connsiteX11" fmla="*/ 205362 w 404040"/>
                <a:gd name="connsiteY11" fmla="*/ 94981 h 901404"/>
                <a:gd name="connsiteX12" fmla="*/ 174237 w 404040"/>
                <a:gd name="connsiteY12" fmla="*/ 126111 h 901404"/>
                <a:gd name="connsiteX13" fmla="*/ 129151 w 404040"/>
                <a:gd name="connsiteY13" fmla="*/ 171205 h 901404"/>
                <a:gd name="connsiteX14" fmla="*/ 129151 w 404040"/>
                <a:gd name="connsiteY14" fmla="*/ 202244 h 901404"/>
                <a:gd name="connsiteX15" fmla="*/ 110625 w 404040"/>
                <a:gd name="connsiteY15" fmla="*/ 220763 h 901404"/>
                <a:gd name="connsiteX16" fmla="*/ 110625 w 404040"/>
                <a:gd name="connsiteY16" fmla="*/ 285305 h 901404"/>
                <a:gd name="connsiteX17" fmla="*/ 82493 w 404040"/>
                <a:gd name="connsiteY17" fmla="*/ 313445 h 901404"/>
                <a:gd name="connsiteX18" fmla="*/ 96299 w 404040"/>
                <a:gd name="connsiteY18" fmla="*/ 327260 h 901404"/>
                <a:gd name="connsiteX19" fmla="*/ 96299 w 404040"/>
                <a:gd name="connsiteY19" fmla="*/ 359304 h 901404"/>
                <a:gd name="connsiteX20" fmla="*/ 78382 w 404040"/>
                <a:gd name="connsiteY20" fmla="*/ 377222 h 901404"/>
                <a:gd name="connsiteX21" fmla="*/ 41963 w 404040"/>
                <a:gd name="connsiteY21" fmla="*/ 413633 h 901404"/>
                <a:gd name="connsiteX22" fmla="*/ 41963 w 404040"/>
                <a:gd name="connsiteY22" fmla="*/ 445043 h 901404"/>
                <a:gd name="connsiteX23" fmla="*/ 41963 w 404040"/>
                <a:gd name="connsiteY23" fmla="*/ 509874 h 901404"/>
                <a:gd name="connsiteX24" fmla="*/ 58612 w 404040"/>
                <a:gd name="connsiteY24" fmla="*/ 526505 h 901404"/>
                <a:gd name="connsiteX25" fmla="*/ 58612 w 404040"/>
                <a:gd name="connsiteY25" fmla="*/ 554720 h 901404"/>
                <a:gd name="connsiteX26" fmla="*/ 30784 w 404040"/>
                <a:gd name="connsiteY26" fmla="*/ 582539 h 901404"/>
                <a:gd name="connsiteX27" fmla="*/ 30784 w 404040"/>
                <a:gd name="connsiteY27" fmla="*/ 616808 h 901404"/>
                <a:gd name="connsiteX28" fmla="*/ 30784 w 404040"/>
                <a:gd name="connsiteY28" fmla="*/ 638349 h 901404"/>
                <a:gd name="connsiteX29" fmla="*/ 17127 w 404040"/>
                <a:gd name="connsiteY29" fmla="*/ 638349 h 901404"/>
                <a:gd name="connsiteX30" fmla="*/ 0 w 404040"/>
                <a:gd name="connsiteY30" fmla="*/ 655491 h 901404"/>
                <a:gd name="connsiteX31" fmla="*/ 0 w 404040"/>
                <a:gd name="connsiteY31" fmla="*/ 719614 h 901404"/>
                <a:gd name="connsiteX32" fmla="*/ 27185 w 404040"/>
                <a:gd name="connsiteY32" fmla="*/ 746807 h 901404"/>
                <a:gd name="connsiteX33" fmla="*/ 27185 w 404040"/>
                <a:gd name="connsiteY33" fmla="*/ 790796 h 901404"/>
                <a:gd name="connsiteX34" fmla="*/ 61363 w 404040"/>
                <a:gd name="connsiteY34" fmla="*/ 825008 h 901404"/>
                <a:gd name="connsiteX35" fmla="*/ 61363 w 404040"/>
                <a:gd name="connsiteY35" fmla="*/ 901404 h 901404"/>
                <a:gd name="connsiteX36" fmla="*/ 89956 w 404040"/>
                <a:gd name="connsiteY36" fmla="*/ 901404 h 901404"/>
                <a:gd name="connsiteX37" fmla="*/ 89956 w 404040"/>
                <a:gd name="connsiteY37" fmla="*/ 877012 h 901404"/>
                <a:gd name="connsiteX38" fmla="*/ 113368 w 404040"/>
                <a:gd name="connsiteY38" fmla="*/ 853601 h 901404"/>
                <a:gd name="connsiteX39" fmla="*/ 148007 w 404040"/>
                <a:gd name="connsiteY39" fmla="*/ 853601 h 901404"/>
                <a:gd name="connsiteX40" fmla="*/ 168173 w 404040"/>
                <a:gd name="connsiteY40" fmla="*/ 833460 h 901404"/>
                <a:gd name="connsiteX41" fmla="*/ 168173 w 404040"/>
                <a:gd name="connsiteY41" fmla="*/ 732720 h 901404"/>
                <a:gd name="connsiteX42" fmla="*/ 223354 w 404040"/>
                <a:gd name="connsiteY42" fmla="*/ 677520 h 901404"/>
                <a:gd name="connsiteX43" fmla="*/ 174954 w 404040"/>
                <a:gd name="connsiteY43" fmla="*/ 677520 h 901404"/>
                <a:gd name="connsiteX44" fmla="*/ 174954 w 404040"/>
                <a:gd name="connsiteY44" fmla="*/ 659050 h 901404"/>
                <a:gd name="connsiteX45" fmla="*/ 215446 w 404040"/>
                <a:gd name="connsiteY45" fmla="*/ 659050 h 901404"/>
                <a:gd name="connsiteX46" fmla="*/ 233057 w 404040"/>
                <a:gd name="connsiteY46" fmla="*/ 641438 h 901404"/>
                <a:gd name="connsiteX47" fmla="*/ 202249 w 404040"/>
                <a:gd name="connsiteY47" fmla="*/ 610629 h 901404"/>
                <a:gd name="connsiteX48" fmla="*/ 191717 w 404040"/>
                <a:gd name="connsiteY48" fmla="*/ 621190 h 901404"/>
                <a:gd name="connsiteX49" fmla="*/ 169665 w 404040"/>
                <a:gd name="connsiteY49" fmla="*/ 621190 h 901404"/>
                <a:gd name="connsiteX50" fmla="*/ 193010 w 404040"/>
                <a:gd name="connsiteY50" fmla="*/ 597852 h 901404"/>
                <a:gd name="connsiteX51" fmla="*/ 193010 w 404040"/>
                <a:gd name="connsiteY51" fmla="*/ 502312 h 901404"/>
                <a:gd name="connsiteX52" fmla="*/ 213881 w 404040"/>
                <a:gd name="connsiteY52" fmla="*/ 481405 h 901404"/>
                <a:gd name="connsiteX53" fmla="*/ 213881 w 404040"/>
                <a:gd name="connsiteY53" fmla="*/ 454763 h 901404"/>
                <a:gd name="connsiteX54" fmla="*/ 323854 w 404040"/>
                <a:gd name="connsiteY54" fmla="*/ 344806 h 901404"/>
                <a:gd name="connsiteX55" fmla="*/ 305253 w 404040"/>
                <a:gd name="connsiteY55" fmla="*/ 326222 h 901404"/>
                <a:gd name="connsiteX56" fmla="*/ 333426 w 404040"/>
                <a:gd name="connsiteY56" fmla="*/ 298033 h 901404"/>
                <a:gd name="connsiteX57" fmla="*/ 314941 w 404040"/>
                <a:gd name="connsiteY57" fmla="*/ 279531 h 901404"/>
                <a:gd name="connsiteX58" fmla="*/ 357200 w 404040"/>
                <a:gd name="connsiteY58" fmla="*/ 237271 h 901404"/>
                <a:gd name="connsiteX59" fmla="*/ 404040 w 404040"/>
                <a:gd name="connsiteY59" fmla="*/ 237271 h 901404"/>
                <a:gd name="connsiteX60" fmla="*/ 404040 w 404040"/>
                <a:gd name="connsiteY60" fmla="*/ 194954 h 901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404040" h="901404">
                  <a:moveTo>
                    <a:pt x="388636" y="179550"/>
                  </a:moveTo>
                  <a:lnTo>
                    <a:pt x="388636" y="108392"/>
                  </a:lnTo>
                  <a:lnTo>
                    <a:pt x="388636" y="60334"/>
                  </a:lnTo>
                  <a:lnTo>
                    <a:pt x="371913" y="60334"/>
                  </a:lnTo>
                  <a:lnTo>
                    <a:pt x="336919" y="25348"/>
                  </a:lnTo>
                  <a:lnTo>
                    <a:pt x="311596" y="0"/>
                  </a:lnTo>
                  <a:lnTo>
                    <a:pt x="286686" y="0"/>
                  </a:lnTo>
                  <a:lnTo>
                    <a:pt x="260061" y="26608"/>
                  </a:lnTo>
                  <a:lnTo>
                    <a:pt x="229532" y="26608"/>
                  </a:lnTo>
                  <a:lnTo>
                    <a:pt x="229532" y="48405"/>
                  </a:lnTo>
                  <a:lnTo>
                    <a:pt x="205362" y="72558"/>
                  </a:lnTo>
                  <a:lnTo>
                    <a:pt x="205362" y="94981"/>
                  </a:lnTo>
                  <a:lnTo>
                    <a:pt x="174237" y="126111"/>
                  </a:lnTo>
                  <a:lnTo>
                    <a:pt x="129151" y="171205"/>
                  </a:lnTo>
                  <a:lnTo>
                    <a:pt x="129151" y="202244"/>
                  </a:lnTo>
                  <a:lnTo>
                    <a:pt x="110625" y="220763"/>
                  </a:lnTo>
                  <a:lnTo>
                    <a:pt x="110625" y="285305"/>
                  </a:lnTo>
                  <a:lnTo>
                    <a:pt x="82493" y="313445"/>
                  </a:lnTo>
                  <a:lnTo>
                    <a:pt x="96299" y="327260"/>
                  </a:lnTo>
                  <a:lnTo>
                    <a:pt x="96299" y="359304"/>
                  </a:lnTo>
                  <a:lnTo>
                    <a:pt x="78382" y="377222"/>
                  </a:lnTo>
                  <a:lnTo>
                    <a:pt x="41963" y="413633"/>
                  </a:lnTo>
                  <a:lnTo>
                    <a:pt x="41963" y="445043"/>
                  </a:lnTo>
                  <a:lnTo>
                    <a:pt x="41963" y="509874"/>
                  </a:lnTo>
                  <a:lnTo>
                    <a:pt x="58612" y="526505"/>
                  </a:lnTo>
                  <a:lnTo>
                    <a:pt x="58612" y="554720"/>
                  </a:lnTo>
                  <a:lnTo>
                    <a:pt x="30784" y="582539"/>
                  </a:lnTo>
                  <a:lnTo>
                    <a:pt x="30784" y="616808"/>
                  </a:lnTo>
                  <a:lnTo>
                    <a:pt x="30784" y="638349"/>
                  </a:lnTo>
                  <a:lnTo>
                    <a:pt x="17127" y="638349"/>
                  </a:lnTo>
                  <a:lnTo>
                    <a:pt x="0" y="655491"/>
                  </a:lnTo>
                  <a:lnTo>
                    <a:pt x="0" y="719614"/>
                  </a:lnTo>
                  <a:lnTo>
                    <a:pt x="27185" y="746807"/>
                  </a:lnTo>
                  <a:lnTo>
                    <a:pt x="27185" y="790796"/>
                  </a:lnTo>
                  <a:lnTo>
                    <a:pt x="61363" y="825008"/>
                  </a:lnTo>
                  <a:lnTo>
                    <a:pt x="61363" y="901404"/>
                  </a:lnTo>
                  <a:lnTo>
                    <a:pt x="89956" y="901404"/>
                  </a:lnTo>
                  <a:lnTo>
                    <a:pt x="89956" y="877012"/>
                  </a:lnTo>
                  <a:lnTo>
                    <a:pt x="113368" y="853601"/>
                  </a:lnTo>
                  <a:lnTo>
                    <a:pt x="148007" y="853601"/>
                  </a:lnTo>
                  <a:lnTo>
                    <a:pt x="168173" y="833460"/>
                  </a:lnTo>
                  <a:lnTo>
                    <a:pt x="168173" y="732720"/>
                  </a:lnTo>
                  <a:lnTo>
                    <a:pt x="223354" y="677520"/>
                  </a:lnTo>
                  <a:lnTo>
                    <a:pt x="174954" y="677520"/>
                  </a:lnTo>
                  <a:lnTo>
                    <a:pt x="174954" y="659050"/>
                  </a:lnTo>
                  <a:lnTo>
                    <a:pt x="215446" y="659050"/>
                  </a:lnTo>
                  <a:lnTo>
                    <a:pt x="233057" y="641438"/>
                  </a:lnTo>
                  <a:lnTo>
                    <a:pt x="202249" y="610629"/>
                  </a:lnTo>
                  <a:lnTo>
                    <a:pt x="191717" y="621190"/>
                  </a:lnTo>
                  <a:lnTo>
                    <a:pt x="169665" y="621190"/>
                  </a:lnTo>
                  <a:lnTo>
                    <a:pt x="193010" y="597852"/>
                  </a:lnTo>
                  <a:lnTo>
                    <a:pt x="193010" y="502312"/>
                  </a:lnTo>
                  <a:lnTo>
                    <a:pt x="213881" y="481405"/>
                  </a:lnTo>
                  <a:lnTo>
                    <a:pt x="213881" y="454763"/>
                  </a:lnTo>
                  <a:lnTo>
                    <a:pt x="323854" y="344806"/>
                  </a:lnTo>
                  <a:lnTo>
                    <a:pt x="305253" y="326222"/>
                  </a:lnTo>
                  <a:lnTo>
                    <a:pt x="333426" y="298033"/>
                  </a:lnTo>
                  <a:lnTo>
                    <a:pt x="314941" y="279531"/>
                  </a:lnTo>
                  <a:lnTo>
                    <a:pt x="357200" y="237271"/>
                  </a:lnTo>
                  <a:lnTo>
                    <a:pt x="404040" y="237271"/>
                  </a:lnTo>
                  <a:lnTo>
                    <a:pt x="404040" y="194954"/>
                  </a:lnTo>
                  <a:close/>
                </a:path>
              </a:pathLst>
            </a:custGeom>
            <a:solidFill>
              <a:schemeClr val="accent1"/>
            </a:solidFill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2" name="Freeform: Shape 461">
              <a:extLst>
                <a:ext uri="{FF2B5EF4-FFF2-40B4-BE49-F238E27FC236}">
                  <a16:creationId xmlns:a16="http://schemas.microsoft.com/office/drawing/2014/main" id="{B6E172DB-5D02-DA7F-27FB-212BAAC913ED}"/>
                </a:ext>
              </a:extLst>
            </p:cNvPr>
            <p:cNvSpPr/>
            <p:nvPr/>
          </p:nvSpPr>
          <p:spPr>
            <a:xfrm>
              <a:off x="5947518" y="2927891"/>
              <a:ext cx="36806" cy="33363"/>
            </a:xfrm>
            <a:custGeom>
              <a:avLst/>
              <a:gdLst>
                <a:gd name="connsiteX0" fmla="*/ 0 w 36806"/>
                <a:gd name="connsiteY0" fmla="*/ 2472 h 33363"/>
                <a:gd name="connsiteX1" fmla="*/ 0 w 36806"/>
                <a:gd name="connsiteY1" fmla="*/ 19853 h 33363"/>
                <a:gd name="connsiteX2" fmla="*/ 13502 w 36806"/>
                <a:gd name="connsiteY2" fmla="*/ 33363 h 33363"/>
                <a:gd name="connsiteX3" fmla="*/ 36806 w 36806"/>
                <a:gd name="connsiteY3" fmla="*/ 33363 h 33363"/>
                <a:gd name="connsiteX4" fmla="*/ 36806 w 36806"/>
                <a:gd name="connsiteY4" fmla="*/ 0 h 33363"/>
                <a:gd name="connsiteX5" fmla="*/ 21452 w 36806"/>
                <a:gd name="connsiteY5" fmla="*/ 0 h 33363"/>
                <a:gd name="connsiteX6" fmla="*/ 21452 w 36806"/>
                <a:gd name="connsiteY6" fmla="*/ 2472 h 33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806" h="33363">
                  <a:moveTo>
                    <a:pt x="0" y="2472"/>
                  </a:moveTo>
                  <a:lnTo>
                    <a:pt x="0" y="19853"/>
                  </a:lnTo>
                  <a:lnTo>
                    <a:pt x="13502" y="33363"/>
                  </a:lnTo>
                  <a:lnTo>
                    <a:pt x="36806" y="33363"/>
                  </a:lnTo>
                  <a:lnTo>
                    <a:pt x="36806" y="0"/>
                  </a:lnTo>
                  <a:lnTo>
                    <a:pt x="21452" y="0"/>
                  </a:lnTo>
                  <a:lnTo>
                    <a:pt x="21452" y="2472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3" name="Freeform: Shape 462">
              <a:extLst>
                <a:ext uri="{FF2B5EF4-FFF2-40B4-BE49-F238E27FC236}">
                  <a16:creationId xmlns:a16="http://schemas.microsoft.com/office/drawing/2014/main" id="{B6D049B4-52B0-1CA0-DE9C-0EC8FD36958B}"/>
                </a:ext>
              </a:extLst>
            </p:cNvPr>
            <p:cNvSpPr/>
            <p:nvPr/>
          </p:nvSpPr>
          <p:spPr>
            <a:xfrm>
              <a:off x="5653729" y="2885228"/>
              <a:ext cx="359988" cy="380359"/>
            </a:xfrm>
            <a:custGeom>
              <a:avLst/>
              <a:gdLst>
                <a:gd name="connsiteX0" fmla="*/ 323265 w 359988"/>
                <a:gd name="connsiteY0" fmla="*/ 341000 h 380359"/>
                <a:gd name="connsiteX1" fmla="*/ 355532 w 359988"/>
                <a:gd name="connsiteY1" fmla="*/ 308700 h 380359"/>
                <a:gd name="connsiteX2" fmla="*/ 325695 w 359988"/>
                <a:gd name="connsiteY2" fmla="*/ 278847 h 380359"/>
                <a:gd name="connsiteX3" fmla="*/ 337582 w 359988"/>
                <a:gd name="connsiteY3" fmla="*/ 266960 h 380359"/>
                <a:gd name="connsiteX4" fmla="*/ 337582 w 359988"/>
                <a:gd name="connsiteY4" fmla="*/ 247626 h 380359"/>
                <a:gd name="connsiteX5" fmla="*/ 337582 w 359988"/>
                <a:gd name="connsiteY5" fmla="*/ 237625 h 380359"/>
                <a:gd name="connsiteX6" fmla="*/ 337582 w 359988"/>
                <a:gd name="connsiteY6" fmla="*/ 218489 h 380359"/>
                <a:gd name="connsiteX7" fmla="*/ 317992 w 359988"/>
                <a:gd name="connsiteY7" fmla="*/ 218489 h 380359"/>
                <a:gd name="connsiteX8" fmla="*/ 317992 w 359988"/>
                <a:gd name="connsiteY8" fmla="*/ 194459 h 380359"/>
                <a:gd name="connsiteX9" fmla="*/ 342771 w 359988"/>
                <a:gd name="connsiteY9" fmla="*/ 169664 h 380359"/>
                <a:gd name="connsiteX10" fmla="*/ 342771 w 359988"/>
                <a:gd name="connsiteY10" fmla="*/ 150684 h 380359"/>
                <a:gd name="connsiteX11" fmla="*/ 359988 w 359988"/>
                <a:gd name="connsiteY11" fmla="*/ 133468 h 380359"/>
                <a:gd name="connsiteX12" fmla="*/ 359988 w 359988"/>
                <a:gd name="connsiteY12" fmla="*/ 99174 h 380359"/>
                <a:gd name="connsiteX13" fmla="*/ 336832 w 359988"/>
                <a:gd name="connsiteY13" fmla="*/ 76026 h 380359"/>
                <a:gd name="connsiteX14" fmla="*/ 330596 w 359988"/>
                <a:gd name="connsiteY14" fmla="*/ 76026 h 380359"/>
                <a:gd name="connsiteX15" fmla="*/ 307291 w 359988"/>
                <a:gd name="connsiteY15" fmla="*/ 76026 h 380359"/>
                <a:gd name="connsiteX16" fmla="*/ 293790 w 359988"/>
                <a:gd name="connsiteY16" fmla="*/ 62516 h 380359"/>
                <a:gd name="connsiteX17" fmla="*/ 252082 w 359988"/>
                <a:gd name="connsiteY17" fmla="*/ 20800 h 380359"/>
                <a:gd name="connsiteX18" fmla="*/ 230171 w 359988"/>
                <a:gd name="connsiteY18" fmla="*/ 20800 h 380359"/>
                <a:gd name="connsiteX19" fmla="*/ 230171 w 359988"/>
                <a:gd name="connsiteY19" fmla="*/ 0 h 380359"/>
                <a:gd name="connsiteX20" fmla="*/ 194047 w 359988"/>
                <a:gd name="connsiteY20" fmla="*/ 0 h 380359"/>
                <a:gd name="connsiteX21" fmla="*/ 185818 w 359988"/>
                <a:gd name="connsiteY21" fmla="*/ 8238 h 380359"/>
                <a:gd name="connsiteX22" fmla="*/ 185818 w 359988"/>
                <a:gd name="connsiteY22" fmla="*/ 32893 h 380359"/>
                <a:gd name="connsiteX23" fmla="*/ 154095 w 359988"/>
                <a:gd name="connsiteY23" fmla="*/ 64617 h 380359"/>
                <a:gd name="connsiteX24" fmla="*/ 76627 w 359988"/>
                <a:gd name="connsiteY24" fmla="*/ 64617 h 380359"/>
                <a:gd name="connsiteX25" fmla="*/ 76627 w 359988"/>
                <a:gd name="connsiteY25" fmla="*/ 94553 h 380359"/>
                <a:gd name="connsiteX26" fmla="*/ 57219 w 359988"/>
                <a:gd name="connsiteY26" fmla="*/ 113928 h 380359"/>
                <a:gd name="connsiteX27" fmla="*/ 32588 w 359988"/>
                <a:gd name="connsiteY27" fmla="*/ 89272 h 380359"/>
                <a:gd name="connsiteX28" fmla="*/ 0 w 359988"/>
                <a:gd name="connsiteY28" fmla="*/ 121861 h 380359"/>
                <a:gd name="connsiteX29" fmla="*/ 0 w 359988"/>
                <a:gd name="connsiteY29" fmla="*/ 142076 h 380359"/>
                <a:gd name="connsiteX30" fmla="*/ 27753 w 359988"/>
                <a:gd name="connsiteY30" fmla="*/ 169837 h 380359"/>
                <a:gd name="connsiteX31" fmla="*/ 51972 w 359988"/>
                <a:gd name="connsiteY31" fmla="*/ 169837 h 380359"/>
                <a:gd name="connsiteX32" fmla="*/ 90030 w 359988"/>
                <a:gd name="connsiteY32" fmla="*/ 207895 h 380359"/>
                <a:gd name="connsiteX33" fmla="*/ 90030 w 359988"/>
                <a:gd name="connsiteY33" fmla="*/ 325242 h 380359"/>
                <a:gd name="connsiteX34" fmla="*/ 83358 w 359988"/>
                <a:gd name="connsiteY34" fmla="*/ 331980 h 380359"/>
                <a:gd name="connsiteX35" fmla="*/ 69675 w 359988"/>
                <a:gd name="connsiteY35" fmla="*/ 331980 h 380359"/>
                <a:gd name="connsiteX36" fmla="*/ 97346 w 359988"/>
                <a:gd name="connsiteY36" fmla="*/ 359651 h 380359"/>
                <a:gd name="connsiteX37" fmla="*/ 123747 w 359988"/>
                <a:gd name="connsiteY37" fmla="*/ 359651 h 380359"/>
                <a:gd name="connsiteX38" fmla="*/ 144448 w 359988"/>
                <a:gd name="connsiteY38" fmla="*/ 380360 h 380359"/>
                <a:gd name="connsiteX39" fmla="*/ 225862 w 359988"/>
                <a:gd name="connsiteY39" fmla="*/ 380360 h 380359"/>
                <a:gd name="connsiteX40" fmla="*/ 225862 w 359988"/>
                <a:gd name="connsiteY40" fmla="*/ 341091 h 380359"/>
                <a:gd name="connsiteX41" fmla="*/ 248969 w 359988"/>
                <a:gd name="connsiteY41" fmla="*/ 317967 h 380359"/>
                <a:gd name="connsiteX42" fmla="*/ 273208 w 359988"/>
                <a:gd name="connsiteY42" fmla="*/ 342203 h 380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59988" h="380359">
                  <a:moveTo>
                    <a:pt x="323265" y="341000"/>
                  </a:moveTo>
                  <a:lnTo>
                    <a:pt x="355532" y="308700"/>
                  </a:lnTo>
                  <a:lnTo>
                    <a:pt x="325695" y="278847"/>
                  </a:lnTo>
                  <a:lnTo>
                    <a:pt x="337582" y="266960"/>
                  </a:lnTo>
                  <a:lnTo>
                    <a:pt x="337582" y="247626"/>
                  </a:lnTo>
                  <a:lnTo>
                    <a:pt x="337582" y="237625"/>
                  </a:lnTo>
                  <a:lnTo>
                    <a:pt x="337582" y="218489"/>
                  </a:lnTo>
                  <a:lnTo>
                    <a:pt x="317992" y="218489"/>
                  </a:lnTo>
                  <a:lnTo>
                    <a:pt x="317992" y="194459"/>
                  </a:lnTo>
                  <a:lnTo>
                    <a:pt x="342771" y="169664"/>
                  </a:lnTo>
                  <a:lnTo>
                    <a:pt x="342771" y="150684"/>
                  </a:lnTo>
                  <a:lnTo>
                    <a:pt x="359988" y="133468"/>
                  </a:lnTo>
                  <a:lnTo>
                    <a:pt x="359988" y="99174"/>
                  </a:lnTo>
                  <a:lnTo>
                    <a:pt x="336832" y="76026"/>
                  </a:lnTo>
                  <a:lnTo>
                    <a:pt x="330596" y="76026"/>
                  </a:lnTo>
                  <a:lnTo>
                    <a:pt x="307291" y="76026"/>
                  </a:lnTo>
                  <a:lnTo>
                    <a:pt x="293790" y="62516"/>
                  </a:lnTo>
                  <a:lnTo>
                    <a:pt x="252082" y="20800"/>
                  </a:lnTo>
                  <a:lnTo>
                    <a:pt x="230171" y="20800"/>
                  </a:lnTo>
                  <a:lnTo>
                    <a:pt x="230171" y="0"/>
                  </a:lnTo>
                  <a:lnTo>
                    <a:pt x="194047" y="0"/>
                  </a:lnTo>
                  <a:lnTo>
                    <a:pt x="185818" y="8238"/>
                  </a:lnTo>
                  <a:lnTo>
                    <a:pt x="185818" y="32893"/>
                  </a:lnTo>
                  <a:lnTo>
                    <a:pt x="154095" y="64617"/>
                  </a:lnTo>
                  <a:lnTo>
                    <a:pt x="76627" y="64617"/>
                  </a:lnTo>
                  <a:lnTo>
                    <a:pt x="76627" y="94553"/>
                  </a:lnTo>
                  <a:lnTo>
                    <a:pt x="57219" y="113928"/>
                  </a:lnTo>
                  <a:lnTo>
                    <a:pt x="32588" y="89272"/>
                  </a:lnTo>
                  <a:lnTo>
                    <a:pt x="0" y="121861"/>
                  </a:lnTo>
                  <a:lnTo>
                    <a:pt x="0" y="142076"/>
                  </a:lnTo>
                  <a:lnTo>
                    <a:pt x="27753" y="169837"/>
                  </a:lnTo>
                  <a:lnTo>
                    <a:pt x="51972" y="169837"/>
                  </a:lnTo>
                  <a:lnTo>
                    <a:pt x="90030" y="207895"/>
                  </a:lnTo>
                  <a:lnTo>
                    <a:pt x="90030" y="325242"/>
                  </a:lnTo>
                  <a:lnTo>
                    <a:pt x="83358" y="331980"/>
                  </a:lnTo>
                  <a:lnTo>
                    <a:pt x="69675" y="331980"/>
                  </a:lnTo>
                  <a:lnTo>
                    <a:pt x="97346" y="359651"/>
                  </a:lnTo>
                  <a:lnTo>
                    <a:pt x="123747" y="359651"/>
                  </a:lnTo>
                  <a:lnTo>
                    <a:pt x="144448" y="380360"/>
                  </a:lnTo>
                  <a:lnTo>
                    <a:pt x="225862" y="380360"/>
                  </a:lnTo>
                  <a:lnTo>
                    <a:pt x="225862" y="341091"/>
                  </a:lnTo>
                  <a:lnTo>
                    <a:pt x="248969" y="317967"/>
                  </a:lnTo>
                  <a:lnTo>
                    <a:pt x="273208" y="342203"/>
                  </a:lnTo>
                  <a:close/>
                </a:path>
              </a:pathLst>
            </a:custGeom>
            <a:solidFill>
              <a:schemeClr val="accent1"/>
            </a:solidFill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4" name="Freeform: Shape 463">
              <a:extLst>
                <a:ext uri="{FF2B5EF4-FFF2-40B4-BE49-F238E27FC236}">
                  <a16:creationId xmlns:a16="http://schemas.microsoft.com/office/drawing/2014/main" id="{DB78AE3B-4A38-DAC2-CED5-634512C4BFFE}"/>
                </a:ext>
              </a:extLst>
            </p:cNvPr>
            <p:cNvSpPr/>
            <p:nvPr/>
          </p:nvSpPr>
          <p:spPr>
            <a:xfrm>
              <a:off x="5508835" y="3204143"/>
              <a:ext cx="370755" cy="294284"/>
            </a:xfrm>
            <a:custGeom>
              <a:avLst/>
              <a:gdLst>
                <a:gd name="connsiteX0" fmla="*/ 268640 w 370755"/>
                <a:gd name="connsiteY0" fmla="*/ 40736 h 294284"/>
                <a:gd name="connsiteX1" fmla="*/ 242239 w 370755"/>
                <a:gd name="connsiteY1" fmla="*/ 40736 h 294284"/>
                <a:gd name="connsiteX2" fmla="*/ 214568 w 370755"/>
                <a:gd name="connsiteY2" fmla="*/ 13065 h 294284"/>
                <a:gd name="connsiteX3" fmla="*/ 122923 w 370755"/>
                <a:gd name="connsiteY3" fmla="*/ 13065 h 294284"/>
                <a:gd name="connsiteX4" fmla="*/ 109866 w 370755"/>
                <a:gd name="connsiteY4" fmla="*/ 0 h 294284"/>
                <a:gd name="connsiteX5" fmla="*/ 31345 w 370755"/>
                <a:gd name="connsiteY5" fmla="*/ 0 h 294284"/>
                <a:gd name="connsiteX6" fmla="*/ 0 w 370755"/>
                <a:gd name="connsiteY6" fmla="*/ 31352 h 294284"/>
                <a:gd name="connsiteX7" fmla="*/ 22547 w 370755"/>
                <a:gd name="connsiteY7" fmla="*/ 53866 h 294284"/>
                <a:gd name="connsiteX8" fmla="*/ 13205 w 370755"/>
                <a:gd name="connsiteY8" fmla="*/ 63208 h 294284"/>
                <a:gd name="connsiteX9" fmla="*/ 34154 w 370755"/>
                <a:gd name="connsiteY9" fmla="*/ 84156 h 294284"/>
                <a:gd name="connsiteX10" fmla="*/ 77344 w 370755"/>
                <a:gd name="connsiteY10" fmla="*/ 84156 h 294284"/>
                <a:gd name="connsiteX11" fmla="*/ 77344 w 370755"/>
                <a:gd name="connsiteY11" fmla="*/ 146969 h 294284"/>
                <a:gd name="connsiteX12" fmla="*/ 54451 w 370755"/>
                <a:gd name="connsiteY12" fmla="*/ 169877 h 294284"/>
                <a:gd name="connsiteX13" fmla="*/ 54451 w 370755"/>
                <a:gd name="connsiteY13" fmla="*/ 187260 h 294284"/>
                <a:gd name="connsiteX14" fmla="*/ 54451 w 370755"/>
                <a:gd name="connsiteY14" fmla="*/ 213348 h 294284"/>
                <a:gd name="connsiteX15" fmla="*/ 75112 w 370755"/>
                <a:gd name="connsiteY15" fmla="*/ 234016 h 294284"/>
                <a:gd name="connsiteX16" fmla="*/ 45662 w 370755"/>
                <a:gd name="connsiteY16" fmla="*/ 263450 h 294284"/>
                <a:gd name="connsiteX17" fmla="*/ 68291 w 370755"/>
                <a:gd name="connsiteY17" fmla="*/ 263450 h 294284"/>
                <a:gd name="connsiteX18" fmla="*/ 99133 w 370755"/>
                <a:gd name="connsiteY18" fmla="*/ 294284 h 294284"/>
                <a:gd name="connsiteX19" fmla="*/ 112345 w 370755"/>
                <a:gd name="connsiteY19" fmla="*/ 294284 h 294284"/>
                <a:gd name="connsiteX20" fmla="*/ 133040 w 370755"/>
                <a:gd name="connsiteY20" fmla="*/ 273574 h 294284"/>
                <a:gd name="connsiteX21" fmla="*/ 214477 w 370755"/>
                <a:gd name="connsiteY21" fmla="*/ 273574 h 294284"/>
                <a:gd name="connsiteX22" fmla="*/ 276746 w 370755"/>
                <a:gd name="connsiteY22" fmla="*/ 211272 h 294284"/>
                <a:gd name="connsiteX23" fmla="*/ 276746 w 370755"/>
                <a:gd name="connsiteY23" fmla="*/ 182449 h 294284"/>
                <a:gd name="connsiteX24" fmla="*/ 265551 w 370755"/>
                <a:gd name="connsiteY24" fmla="*/ 182449 h 294284"/>
                <a:gd name="connsiteX25" fmla="*/ 265551 w 370755"/>
                <a:gd name="connsiteY25" fmla="*/ 164837 h 294284"/>
                <a:gd name="connsiteX26" fmla="*/ 315702 w 370755"/>
                <a:gd name="connsiteY26" fmla="*/ 114611 h 294284"/>
                <a:gd name="connsiteX27" fmla="*/ 328923 w 370755"/>
                <a:gd name="connsiteY27" fmla="*/ 114611 h 294284"/>
                <a:gd name="connsiteX28" fmla="*/ 370755 w 370755"/>
                <a:gd name="connsiteY28" fmla="*/ 72796 h 294284"/>
                <a:gd name="connsiteX29" fmla="*/ 370755 w 370755"/>
                <a:gd name="connsiteY29" fmla="*/ 61444 h 294284"/>
                <a:gd name="connsiteX30" fmla="*/ 289341 w 370755"/>
                <a:gd name="connsiteY30" fmla="*/ 61444 h 294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70755" h="294284">
                  <a:moveTo>
                    <a:pt x="268640" y="40736"/>
                  </a:moveTo>
                  <a:lnTo>
                    <a:pt x="242239" y="40736"/>
                  </a:lnTo>
                  <a:lnTo>
                    <a:pt x="214568" y="13065"/>
                  </a:lnTo>
                  <a:lnTo>
                    <a:pt x="122923" y="13065"/>
                  </a:lnTo>
                  <a:lnTo>
                    <a:pt x="109866" y="0"/>
                  </a:lnTo>
                  <a:lnTo>
                    <a:pt x="31345" y="0"/>
                  </a:lnTo>
                  <a:lnTo>
                    <a:pt x="0" y="31352"/>
                  </a:lnTo>
                  <a:lnTo>
                    <a:pt x="22547" y="53866"/>
                  </a:lnTo>
                  <a:lnTo>
                    <a:pt x="13205" y="63208"/>
                  </a:lnTo>
                  <a:lnTo>
                    <a:pt x="34154" y="84156"/>
                  </a:lnTo>
                  <a:lnTo>
                    <a:pt x="77344" y="84156"/>
                  </a:lnTo>
                  <a:lnTo>
                    <a:pt x="77344" y="146969"/>
                  </a:lnTo>
                  <a:lnTo>
                    <a:pt x="54451" y="169877"/>
                  </a:lnTo>
                  <a:lnTo>
                    <a:pt x="54451" y="187260"/>
                  </a:lnTo>
                  <a:lnTo>
                    <a:pt x="54451" y="213348"/>
                  </a:lnTo>
                  <a:lnTo>
                    <a:pt x="75112" y="234016"/>
                  </a:lnTo>
                  <a:lnTo>
                    <a:pt x="45662" y="263450"/>
                  </a:lnTo>
                  <a:lnTo>
                    <a:pt x="68291" y="263450"/>
                  </a:lnTo>
                  <a:lnTo>
                    <a:pt x="99133" y="294284"/>
                  </a:lnTo>
                  <a:lnTo>
                    <a:pt x="112345" y="294284"/>
                  </a:lnTo>
                  <a:lnTo>
                    <a:pt x="133040" y="273574"/>
                  </a:lnTo>
                  <a:lnTo>
                    <a:pt x="214477" y="273574"/>
                  </a:lnTo>
                  <a:lnTo>
                    <a:pt x="276746" y="211272"/>
                  </a:lnTo>
                  <a:lnTo>
                    <a:pt x="276746" y="182449"/>
                  </a:lnTo>
                  <a:lnTo>
                    <a:pt x="265551" y="182449"/>
                  </a:lnTo>
                  <a:lnTo>
                    <a:pt x="265551" y="164837"/>
                  </a:lnTo>
                  <a:lnTo>
                    <a:pt x="315702" y="114611"/>
                  </a:lnTo>
                  <a:lnTo>
                    <a:pt x="328923" y="114611"/>
                  </a:lnTo>
                  <a:lnTo>
                    <a:pt x="370755" y="72796"/>
                  </a:lnTo>
                  <a:lnTo>
                    <a:pt x="370755" y="61444"/>
                  </a:lnTo>
                  <a:lnTo>
                    <a:pt x="289341" y="61444"/>
                  </a:lnTo>
                  <a:close/>
                </a:path>
              </a:pathLst>
            </a:custGeom>
            <a:solidFill>
              <a:schemeClr val="accent1"/>
            </a:solidFill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5" name="Freeform: Shape 464">
              <a:extLst>
                <a:ext uri="{FF2B5EF4-FFF2-40B4-BE49-F238E27FC236}">
                  <a16:creationId xmlns:a16="http://schemas.microsoft.com/office/drawing/2014/main" id="{08378273-61B4-BEA0-FB3F-27299562B6C5}"/>
                </a:ext>
              </a:extLst>
            </p:cNvPr>
            <p:cNvSpPr/>
            <p:nvPr/>
          </p:nvSpPr>
          <p:spPr>
            <a:xfrm>
              <a:off x="5496117" y="3267351"/>
              <a:ext cx="90062" cy="200242"/>
            </a:xfrm>
            <a:custGeom>
              <a:avLst/>
              <a:gdLst>
                <a:gd name="connsiteX0" fmla="*/ 67169 w 90062"/>
                <a:gd name="connsiteY0" fmla="*/ 150140 h 200242"/>
                <a:gd name="connsiteX1" fmla="*/ 67169 w 90062"/>
                <a:gd name="connsiteY1" fmla="*/ 124052 h 200242"/>
                <a:gd name="connsiteX2" fmla="*/ 67169 w 90062"/>
                <a:gd name="connsiteY2" fmla="*/ 106670 h 200242"/>
                <a:gd name="connsiteX3" fmla="*/ 90062 w 90062"/>
                <a:gd name="connsiteY3" fmla="*/ 83761 h 200242"/>
                <a:gd name="connsiteX4" fmla="*/ 90062 w 90062"/>
                <a:gd name="connsiteY4" fmla="*/ 20949 h 200242"/>
                <a:gd name="connsiteX5" fmla="*/ 46872 w 90062"/>
                <a:gd name="connsiteY5" fmla="*/ 20949 h 200242"/>
                <a:gd name="connsiteX6" fmla="*/ 25924 w 90062"/>
                <a:gd name="connsiteY6" fmla="*/ 0 h 200242"/>
                <a:gd name="connsiteX7" fmla="*/ 15865 w 90062"/>
                <a:gd name="connsiteY7" fmla="*/ 10034 h 200242"/>
                <a:gd name="connsiteX8" fmla="*/ 15865 w 90062"/>
                <a:gd name="connsiteY8" fmla="*/ 82254 h 200242"/>
                <a:gd name="connsiteX9" fmla="*/ 0 w 90062"/>
                <a:gd name="connsiteY9" fmla="*/ 98111 h 200242"/>
                <a:gd name="connsiteX10" fmla="*/ 0 w 90062"/>
                <a:gd name="connsiteY10" fmla="*/ 140370 h 200242"/>
                <a:gd name="connsiteX11" fmla="*/ 14975 w 90062"/>
                <a:gd name="connsiteY11" fmla="*/ 155347 h 200242"/>
                <a:gd name="connsiteX12" fmla="*/ 14975 w 90062"/>
                <a:gd name="connsiteY12" fmla="*/ 200242 h 200242"/>
                <a:gd name="connsiteX13" fmla="*/ 58381 w 90062"/>
                <a:gd name="connsiteY13" fmla="*/ 200242 h 200242"/>
                <a:gd name="connsiteX14" fmla="*/ 87831 w 90062"/>
                <a:gd name="connsiteY14" fmla="*/ 170809 h 200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0062" h="200242">
                  <a:moveTo>
                    <a:pt x="67169" y="150140"/>
                  </a:moveTo>
                  <a:lnTo>
                    <a:pt x="67169" y="124052"/>
                  </a:lnTo>
                  <a:lnTo>
                    <a:pt x="67169" y="106670"/>
                  </a:lnTo>
                  <a:lnTo>
                    <a:pt x="90062" y="83761"/>
                  </a:lnTo>
                  <a:lnTo>
                    <a:pt x="90062" y="20949"/>
                  </a:lnTo>
                  <a:lnTo>
                    <a:pt x="46872" y="20949"/>
                  </a:lnTo>
                  <a:lnTo>
                    <a:pt x="25924" y="0"/>
                  </a:lnTo>
                  <a:lnTo>
                    <a:pt x="15865" y="10034"/>
                  </a:lnTo>
                  <a:lnTo>
                    <a:pt x="15865" y="82254"/>
                  </a:lnTo>
                  <a:lnTo>
                    <a:pt x="0" y="98111"/>
                  </a:lnTo>
                  <a:lnTo>
                    <a:pt x="0" y="140370"/>
                  </a:lnTo>
                  <a:lnTo>
                    <a:pt x="14975" y="155347"/>
                  </a:lnTo>
                  <a:lnTo>
                    <a:pt x="14975" y="200242"/>
                  </a:lnTo>
                  <a:lnTo>
                    <a:pt x="58381" y="200242"/>
                  </a:lnTo>
                  <a:lnTo>
                    <a:pt x="87831" y="170809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6" name="Freeform: Shape 465">
              <a:extLst>
                <a:ext uri="{FF2B5EF4-FFF2-40B4-BE49-F238E27FC236}">
                  <a16:creationId xmlns:a16="http://schemas.microsoft.com/office/drawing/2014/main" id="{9F24A4A8-877B-7BE9-F30C-24A76237A304}"/>
                </a:ext>
              </a:extLst>
            </p:cNvPr>
            <p:cNvSpPr/>
            <p:nvPr/>
          </p:nvSpPr>
          <p:spPr>
            <a:xfrm>
              <a:off x="6425031" y="1686302"/>
              <a:ext cx="334302" cy="705305"/>
            </a:xfrm>
            <a:custGeom>
              <a:avLst/>
              <a:gdLst>
                <a:gd name="connsiteX0" fmla="*/ 275930 w 334302"/>
                <a:gd name="connsiteY0" fmla="*/ 581575 h 705305"/>
                <a:gd name="connsiteX1" fmla="*/ 292998 w 334302"/>
                <a:gd name="connsiteY1" fmla="*/ 581575 h 705305"/>
                <a:gd name="connsiteX2" fmla="*/ 334303 w 334302"/>
                <a:gd name="connsiteY2" fmla="*/ 540254 h 705305"/>
                <a:gd name="connsiteX3" fmla="*/ 334303 w 334302"/>
                <a:gd name="connsiteY3" fmla="*/ 493209 h 705305"/>
                <a:gd name="connsiteX4" fmla="*/ 300215 w 334302"/>
                <a:gd name="connsiteY4" fmla="*/ 459138 h 705305"/>
                <a:gd name="connsiteX5" fmla="*/ 300215 w 334302"/>
                <a:gd name="connsiteY5" fmla="*/ 423031 h 705305"/>
                <a:gd name="connsiteX6" fmla="*/ 300215 w 334302"/>
                <a:gd name="connsiteY6" fmla="*/ 374438 h 705305"/>
                <a:gd name="connsiteX7" fmla="*/ 281235 w 334302"/>
                <a:gd name="connsiteY7" fmla="*/ 355475 h 705305"/>
                <a:gd name="connsiteX8" fmla="*/ 281235 w 334302"/>
                <a:gd name="connsiteY8" fmla="*/ 281195 h 705305"/>
                <a:gd name="connsiteX9" fmla="*/ 281235 w 334302"/>
                <a:gd name="connsiteY9" fmla="*/ 223284 h 705305"/>
                <a:gd name="connsiteX10" fmla="*/ 262420 w 334302"/>
                <a:gd name="connsiteY10" fmla="*/ 204452 h 705305"/>
                <a:gd name="connsiteX11" fmla="*/ 297793 w 334302"/>
                <a:gd name="connsiteY11" fmla="*/ 169071 h 705305"/>
                <a:gd name="connsiteX12" fmla="*/ 297793 w 334302"/>
                <a:gd name="connsiteY12" fmla="*/ 133971 h 705305"/>
                <a:gd name="connsiteX13" fmla="*/ 263080 w 334302"/>
                <a:gd name="connsiteY13" fmla="*/ 99256 h 705305"/>
                <a:gd name="connsiteX14" fmla="*/ 242600 w 334302"/>
                <a:gd name="connsiteY14" fmla="*/ 78778 h 705305"/>
                <a:gd name="connsiteX15" fmla="*/ 240162 w 334302"/>
                <a:gd name="connsiteY15" fmla="*/ 42697 h 705305"/>
                <a:gd name="connsiteX16" fmla="*/ 240162 w 334302"/>
                <a:gd name="connsiteY16" fmla="*/ 0 h 705305"/>
                <a:gd name="connsiteX17" fmla="*/ 202350 w 334302"/>
                <a:gd name="connsiteY17" fmla="*/ 0 h 705305"/>
                <a:gd name="connsiteX18" fmla="*/ 148806 w 334302"/>
                <a:gd name="connsiteY18" fmla="*/ 0 h 705305"/>
                <a:gd name="connsiteX19" fmla="*/ 148806 w 334302"/>
                <a:gd name="connsiteY19" fmla="*/ 29467 h 705305"/>
                <a:gd name="connsiteX20" fmla="*/ 125295 w 334302"/>
                <a:gd name="connsiteY20" fmla="*/ 52977 h 705305"/>
                <a:gd name="connsiteX21" fmla="*/ 92443 w 334302"/>
                <a:gd name="connsiteY21" fmla="*/ 52977 h 705305"/>
                <a:gd name="connsiteX22" fmla="*/ 65654 w 334302"/>
                <a:gd name="connsiteY22" fmla="*/ 79742 h 705305"/>
                <a:gd name="connsiteX23" fmla="*/ 24976 w 334302"/>
                <a:gd name="connsiteY23" fmla="*/ 39047 h 705305"/>
                <a:gd name="connsiteX24" fmla="*/ 164 w 334302"/>
                <a:gd name="connsiteY24" fmla="*/ 63867 h 705305"/>
                <a:gd name="connsiteX25" fmla="*/ 25486 w 334302"/>
                <a:gd name="connsiteY25" fmla="*/ 89215 h 705305"/>
                <a:gd name="connsiteX26" fmla="*/ 60481 w 334302"/>
                <a:gd name="connsiteY26" fmla="*/ 124201 h 705305"/>
                <a:gd name="connsiteX27" fmla="*/ 77203 w 334302"/>
                <a:gd name="connsiteY27" fmla="*/ 124201 h 705305"/>
                <a:gd name="connsiteX28" fmla="*/ 77203 w 334302"/>
                <a:gd name="connsiteY28" fmla="*/ 172259 h 705305"/>
                <a:gd name="connsiteX29" fmla="*/ 77203 w 334302"/>
                <a:gd name="connsiteY29" fmla="*/ 243417 h 705305"/>
                <a:gd name="connsiteX30" fmla="*/ 92608 w 334302"/>
                <a:gd name="connsiteY30" fmla="*/ 258821 h 705305"/>
                <a:gd name="connsiteX31" fmla="*/ 92608 w 334302"/>
                <a:gd name="connsiteY31" fmla="*/ 301138 h 705305"/>
                <a:gd name="connsiteX32" fmla="*/ 97715 w 334302"/>
                <a:gd name="connsiteY32" fmla="*/ 301138 h 705305"/>
                <a:gd name="connsiteX33" fmla="*/ 135131 w 334302"/>
                <a:gd name="connsiteY33" fmla="*/ 338579 h 705305"/>
                <a:gd name="connsiteX34" fmla="*/ 135131 w 334302"/>
                <a:gd name="connsiteY34" fmla="*/ 375962 h 705305"/>
                <a:gd name="connsiteX35" fmla="*/ 115327 w 334302"/>
                <a:gd name="connsiteY35" fmla="*/ 375962 h 705305"/>
                <a:gd name="connsiteX36" fmla="*/ 115327 w 334302"/>
                <a:gd name="connsiteY36" fmla="*/ 397132 h 705305"/>
                <a:gd name="connsiteX37" fmla="*/ 21994 w 334302"/>
                <a:gd name="connsiteY37" fmla="*/ 490449 h 705305"/>
                <a:gd name="connsiteX38" fmla="*/ 21994 w 334302"/>
                <a:gd name="connsiteY38" fmla="*/ 506307 h 705305"/>
                <a:gd name="connsiteX39" fmla="*/ 0 w 334302"/>
                <a:gd name="connsiteY39" fmla="*/ 528334 h 705305"/>
                <a:gd name="connsiteX40" fmla="*/ 0 w 334302"/>
                <a:gd name="connsiteY40" fmla="*/ 560898 h 705305"/>
                <a:gd name="connsiteX41" fmla="*/ 27711 w 334302"/>
                <a:gd name="connsiteY41" fmla="*/ 588643 h 705305"/>
                <a:gd name="connsiteX42" fmla="*/ 7908 w 334302"/>
                <a:gd name="connsiteY42" fmla="*/ 608438 h 705305"/>
                <a:gd name="connsiteX43" fmla="*/ 7908 w 334302"/>
                <a:gd name="connsiteY43" fmla="*/ 645426 h 705305"/>
                <a:gd name="connsiteX44" fmla="*/ 67779 w 334302"/>
                <a:gd name="connsiteY44" fmla="*/ 705305 h 705305"/>
                <a:gd name="connsiteX45" fmla="*/ 83629 w 334302"/>
                <a:gd name="connsiteY45" fmla="*/ 689440 h 705305"/>
                <a:gd name="connsiteX46" fmla="*/ 110039 w 334302"/>
                <a:gd name="connsiteY46" fmla="*/ 689440 h 705305"/>
                <a:gd name="connsiteX47" fmla="*/ 139102 w 334302"/>
                <a:gd name="connsiteY47" fmla="*/ 660385 h 705305"/>
                <a:gd name="connsiteX48" fmla="*/ 231298 w 334302"/>
                <a:gd name="connsiteY48" fmla="*/ 660385 h 705305"/>
                <a:gd name="connsiteX49" fmla="*/ 231298 w 334302"/>
                <a:gd name="connsiteY49" fmla="*/ 626207 h 705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34302" h="705305">
                  <a:moveTo>
                    <a:pt x="275930" y="581575"/>
                  </a:moveTo>
                  <a:lnTo>
                    <a:pt x="292998" y="581575"/>
                  </a:lnTo>
                  <a:lnTo>
                    <a:pt x="334303" y="540254"/>
                  </a:lnTo>
                  <a:lnTo>
                    <a:pt x="334303" y="493209"/>
                  </a:lnTo>
                  <a:lnTo>
                    <a:pt x="300215" y="459138"/>
                  </a:lnTo>
                  <a:lnTo>
                    <a:pt x="300215" y="423031"/>
                  </a:lnTo>
                  <a:lnTo>
                    <a:pt x="300215" y="374438"/>
                  </a:lnTo>
                  <a:lnTo>
                    <a:pt x="281235" y="355475"/>
                  </a:lnTo>
                  <a:lnTo>
                    <a:pt x="281235" y="281195"/>
                  </a:lnTo>
                  <a:lnTo>
                    <a:pt x="281235" y="223284"/>
                  </a:lnTo>
                  <a:lnTo>
                    <a:pt x="262420" y="204452"/>
                  </a:lnTo>
                  <a:lnTo>
                    <a:pt x="297793" y="169071"/>
                  </a:lnTo>
                  <a:lnTo>
                    <a:pt x="297793" y="133971"/>
                  </a:lnTo>
                  <a:lnTo>
                    <a:pt x="263080" y="99256"/>
                  </a:lnTo>
                  <a:lnTo>
                    <a:pt x="242600" y="78778"/>
                  </a:lnTo>
                  <a:lnTo>
                    <a:pt x="240162" y="42697"/>
                  </a:lnTo>
                  <a:lnTo>
                    <a:pt x="240162" y="0"/>
                  </a:lnTo>
                  <a:lnTo>
                    <a:pt x="202350" y="0"/>
                  </a:lnTo>
                  <a:lnTo>
                    <a:pt x="148806" y="0"/>
                  </a:lnTo>
                  <a:lnTo>
                    <a:pt x="148806" y="29467"/>
                  </a:lnTo>
                  <a:lnTo>
                    <a:pt x="125295" y="52977"/>
                  </a:lnTo>
                  <a:lnTo>
                    <a:pt x="92443" y="52977"/>
                  </a:lnTo>
                  <a:lnTo>
                    <a:pt x="65654" y="79742"/>
                  </a:lnTo>
                  <a:lnTo>
                    <a:pt x="24976" y="39047"/>
                  </a:lnTo>
                  <a:lnTo>
                    <a:pt x="164" y="63867"/>
                  </a:lnTo>
                  <a:lnTo>
                    <a:pt x="25486" y="89215"/>
                  </a:lnTo>
                  <a:lnTo>
                    <a:pt x="60481" y="124201"/>
                  </a:lnTo>
                  <a:lnTo>
                    <a:pt x="77203" y="124201"/>
                  </a:lnTo>
                  <a:lnTo>
                    <a:pt x="77203" y="172259"/>
                  </a:lnTo>
                  <a:lnTo>
                    <a:pt x="77203" y="243417"/>
                  </a:lnTo>
                  <a:lnTo>
                    <a:pt x="92608" y="258821"/>
                  </a:lnTo>
                  <a:lnTo>
                    <a:pt x="92608" y="301138"/>
                  </a:lnTo>
                  <a:lnTo>
                    <a:pt x="97715" y="301138"/>
                  </a:lnTo>
                  <a:lnTo>
                    <a:pt x="135131" y="338579"/>
                  </a:lnTo>
                  <a:lnTo>
                    <a:pt x="135131" y="375962"/>
                  </a:lnTo>
                  <a:lnTo>
                    <a:pt x="115327" y="375962"/>
                  </a:lnTo>
                  <a:lnTo>
                    <a:pt x="115327" y="397132"/>
                  </a:lnTo>
                  <a:lnTo>
                    <a:pt x="21994" y="490449"/>
                  </a:lnTo>
                  <a:lnTo>
                    <a:pt x="21994" y="506307"/>
                  </a:lnTo>
                  <a:lnTo>
                    <a:pt x="0" y="528334"/>
                  </a:lnTo>
                  <a:lnTo>
                    <a:pt x="0" y="560898"/>
                  </a:lnTo>
                  <a:lnTo>
                    <a:pt x="27711" y="588643"/>
                  </a:lnTo>
                  <a:lnTo>
                    <a:pt x="7908" y="608438"/>
                  </a:lnTo>
                  <a:lnTo>
                    <a:pt x="7908" y="645426"/>
                  </a:lnTo>
                  <a:lnTo>
                    <a:pt x="67779" y="705305"/>
                  </a:lnTo>
                  <a:lnTo>
                    <a:pt x="83629" y="689440"/>
                  </a:lnTo>
                  <a:lnTo>
                    <a:pt x="110039" y="689440"/>
                  </a:lnTo>
                  <a:lnTo>
                    <a:pt x="139102" y="660385"/>
                  </a:lnTo>
                  <a:lnTo>
                    <a:pt x="231298" y="660385"/>
                  </a:lnTo>
                  <a:lnTo>
                    <a:pt x="231298" y="626207"/>
                  </a:lnTo>
                  <a:close/>
                </a:path>
              </a:pathLst>
            </a:custGeom>
            <a:solidFill>
              <a:schemeClr val="accent1"/>
            </a:solidFill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467" name="Graphic 6">
              <a:extLst>
                <a:ext uri="{FF2B5EF4-FFF2-40B4-BE49-F238E27FC236}">
                  <a16:creationId xmlns:a16="http://schemas.microsoft.com/office/drawing/2014/main" id="{5F653997-ECEA-086E-C39F-FECDD67B8E32}"/>
                </a:ext>
              </a:extLst>
            </p:cNvPr>
            <p:cNvGrpSpPr/>
            <p:nvPr/>
          </p:nvGrpSpPr>
          <p:grpSpPr>
            <a:xfrm>
              <a:off x="6035003" y="2521920"/>
              <a:ext cx="128978" cy="167282"/>
              <a:chOff x="6035003" y="2521920"/>
              <a:chExt cx="128978" cy="167282"/>
            </a:xfrm>
            <a:grpFill/>
          </p:grpSpPr>
          <p:sp>
            <p:nvSpPr>
              <p:cNvPr id="889" name="Freeform: Shape 888">
                <a:extLst>
                  <a:ext uri="{FF2B5EF4-FFF2-40B4-BE49-F238E27FC236}">
                    <a16:creationId xmlns:a16="http://schemas.microsoft.com/office/drawing/2014/main" id="{776A0A45-0F5B-D2F6-064C-1E2F813BBCA3}"/>
                  </a:ext>
                </a:extLst>
              </p:cNvPr>
              <p:cNvSpPr/>
              <p:nvPr/>
            </p:nvSpPr>
            <p:spPr>
              <a:xfrm>
                <a:off x="6124786" y="2607311"/>
                <a:ext cx="39195" cy="81891"/>
              </a:xfrm>
              <a:custGeom>
                <a:avLst/>
                <a:gdLst>
                  <a:gd name="connsiteX0" fmla="*/ 0 w 39195"/>
                  <a:gd name="connsiteY0" fmla="*/ 25553 h 81891"/>
                  <a:gd name="connsiteX1" fmla="*/ 23766 w 39195"/>
                  <a:gd name="connsiteY1" fmla="*/ 81891 h 81891"/>
                  <a:gd name="connsiteX2" fmla="*/ 23766 w 39195"/>
                  <a:gd name="connsiteY2" fmla="*/ 65169 h 81891"/>
                  <a:gd name="connsiteX3" fmla="*/ 39195 w 39195"/>
                  <a:gd name="connsiteY3" fmla="*/ 49764 h 81891"/>
                  <a:gd name="connsiteX4" fmla="*/ 25536 w 39195"/>
                  <a:gd name="connsiteY4" fmla="*/ 36115 h 81891"/>
                  <a:gd name="connsiteX5" fmla="*/ 25536 w 39195"/>
                  <a:gd name="connsiteY5" fmla="*/ 0 h 818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195" h="81891">
                    <a:moveTo>
                      <a:pt x="0" y="25553"/>
                    </a:moveTo>
                    <a:lnTo>
                      <a:pt x="23766" y="81891"/>
                    </a:lnTo>
                    <a:lnTo>
                      <a:pt x="23766" y="65169"/>
                    </a:lnTo>
                    <a:lnTo>
                      <a:pt x="39195" y="49764"/>
                    </a:lnTo>
                    <a:lnTo>
                      <a:pt x="25536" y="36115"/>
                    </a:lnTo>
                    <a:lnTo>
                      <a:pt x="25536" y="0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90" name="Freeform: Shape 889">
                <a:extLst>
                  <a:ext uri="{FF2B5EF4-FFF2-40B4-BE49-F238E27FC236}">
                    <a16:creationId xmlns:a16="http://schemas.microsoft.com/office/drawing/2014/main" id="{F6E7299B-0212-6E18-8F19-0D04F4A3003F}"/>
                  </a:ext>
                </a:extLst>
              </p:cNvPr>
              <p:cNvSpPr/>
              <p:nvPr/>
            </p:nvSpPr>
            <p:spPr>
              <a:xfrm>
                <a:off x="6087824" y="2645189"/>
                <a:ext cx="19341" cy="22876"/>
              </a:xfrm>
              <a:custGeom>
                <a:avLst/>
                <a:gdLst>
                  <a:gd name="connsiteX0" fmla="*/ 19341 w 19341"/>
                  <a:gd name="connsiteY0" fmla="*/ 0 h 22876"/>
                  <a:gd name="connsiteX1" fmla="*/ 0 w 19341"/>
                  <a:gd name="connsiteY1" fmla="*/ 0 h 22876"/>
                  <a:gd name="connsiteX2" fmla="*/ 19341 w 19341"/>
                  <a:gd name="connsiteY2" fmla="*/ 22876 h 22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341" h="22876">
                    <a:moveTo>
                      <a:pt x="19341" y="0"/>
                    </a:moveTo>
                    <a:lnTo>
                      <a:pt x="0" y="0"/>
                    </a:lnTo>
                    <a:lnTo>
                      <a:pt x="19341" y="22876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91" name="Freeform: Shape 890">
                <a:extLst>
                  <a:ext uri="{FF2B5EF4-FFF2-40B4-BE49-F238E27FC236}">
                    <a16:creationId xmlns:a16="http://schemas.microsoft.com/office/drawing/2014/main" id="{848E4142-E6E3-0C60-5F12-74C85FD0B45E}"/>
                  </a:ext>
                </a:extLst>
              </p:cNvPr>
              <p:cNvSpPr/>
              <p:nvPr/>
            </p:nvSpPr>
            <p:spPr>
              <a:xfrm>
                <a:off x="6035003" y="2521920"/>
                <a:ext cx="80103" cy="154341"/>
              </a:xfrm>
              <a:custGeom>
                <a:avLst/>
                <a:gdLst>
                  <a:gd name="connsiteX0" fmla="*/ 38734 w 80103"/>
                  <a:gd name="connsiteY0" fmla="*/ 151442 h 154341"/>
                  <a:gd name="connsiteX1" fmla="*/ 38734 w 80103"/>
                  <a:gd name="connsiteY1" fmla="*/ 114471 h 154341"/>
                  <a:gd name="connsiteX2" fmla="*/ 80104 w 80103"/>
                  <a:gd name="connsiteY2" fmla="*/ 73077 h 154341"/>
                  <a:gd name="connsiteX3" fmla="*/ 56313 w 80103"/>
                  <a:gd name="connsiteY3" fmla="*/ 73077 h 154341"/>
                  <a:gd name="connsiteX4" fmla="*/ 56313 w 80103"/>
                  <a:gd name="connsiteY4" fmla="*/ 0 h 154341"/>
                  <a:gd name="connsiteX5" fmla="*/ 14927 w 80103"/>
                  <a:gd name="connsiteY5" fmla="*/ 41361 h 154341"/>
                  <a:gd name="connsiteX6" fmla="*/ 0 w 80103"/>
                  <a:gd name="connsiteY6" fmla="*/ 41361 h 154341"/>
                  <a:gd name="connsiteX7" fmla="*/ 0 w 80103"/>
                  <a:gd name="connsiteY7" fmla="*/ 121506 h 154341"/>
                  <a:gd name="connsiteX8" fmla="*/ 8782 w 80103"/>
                  <a:gd name="connsiteY8" fmla="*/ 130304 h 154341"/>
                  <a:gd name="connsiteX9" fmla="*/ 8782 w 80103"/>
                  <a:gd name="connsiteY9" fmla="*/ 154341 h 154341"/>
                  <a:gd name="connsiteX10" fmla="*/ 41634 w 80103"/>
                  <a:gd name="connsiteY10" fmla="*/ 154341 h 154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0103" h="154341">
                    <a:moveTo>
                      <a:pt x="38734" y="151442"/>
                    </a:moveTo>
                    <a:lnTo>
                      <a:pt x="38734" y="114471"/>
                    </a:lnTo>
                    <a:lnTo>
                      <a:pt x="80104" y="73077"/>
                    </a:lnTo>
                    <a:lnTo>
                      <a:pt x="56313" y="73077"/>
                    </a:lnTo>
                    <a:lnTo>
                      <a:pt x="56313" y="0"/>
                    </a:lnTo>
                    <a:lnTo>
                      <a:pt x="14927" y="41361"/>
                    </a:lnTo>
                    <a:lnTo>
                      <a:pt x="0" y="41361"/>
                    </a:lnTo>
                    <a:lnTo>
                      <a:pt x="0" y="121506"/>
                    </a:lnTo>
                    <a:lnTo>
                      <a:pt x="8782" y="130304"/>
                    </a:lnTo>
                    <a:lnTo>
                      <a:pt x="8782" y="154341"/>
                    </a:lnTo>
                    <a:lnTo>
                      <a:pt x="41634" y="154341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68" name="Freeform: Shape 467">
              <a:extLst>
                <a:ext uri="{FF2B5EF4-FFF2-40B4-BE49-F238E27FC236}">
                  <a16:creationId xmlns:a16="http://schemas.microsoft.com/office/drawing/2014/main" id="{4F13A113-A614-E729-2954-4D5CB0C702A8}"/>
                </a:ext>
              </a:extLst>
            </p:cNvPr>
            <p:cNvSpPr/>
            <p:nvPr/>
          </p:nvSpPr>
          <p:spPr>
            <a:xfrm>
              <a:off x="5847776" y="2865712"/>
              <a:ext cx="121193" cy="82031"/>
            </a:xfrm>
            <a:custGeom>
              <a:avLst/>
              <a:gdLst>
                <a:gd name="connsiteX0" fmla="*/ 36123 w 121193"/>
                <a:gd name="connsiteY0" fmla="*/ 40315 h 82031"/>
                <a:gd name="connsiteX1" fmla="*/ 58035 w 121193"/>
                <a:gd name="connsiteY1" fmla="*/ 40315 h 82031"/>
                <a:gd name="connsiteX2" fmla="*/ 99742 w 121193"/>
                <a:gd name="connsiteY2" fmla="*/ 82031 h 82031"/>
                <a:gd name="connsiteX3" fmla="*/ 99742 w 121193"/>
                <a:gd name="connsiteY3" fmla="*/ 64650 h 82031"/>
                <a:gd name="connsiteX4" fmla="*/ 121194 w 121193"/>
                <a:gd name="connsiteY4" fmla="*/ 64650 h 82031"/>
                <a:gd name="connsiteX5" fmla="*/ 121194 w 121193"/>
                <a:gd name="connsiteY5" fmla="*/ 62178 h 82031"/>
                <a:gd name="connsiteX6" fmla="*/ 121194 w 121193"/>
                <a:gd name="connsiteY6" fmla="*/ 32589 h 82031"/>
                <a:gd name="connsiteX7" fmla="*/ 106283 w 121193"/>
                <a:gd name="connsiteY7" fmla="*/ 22086 h 82031"/>
                <a:gd name="connsiteX8" fmla="*/ 89783 w 121193"/>
                <a:gd name="connsiteY8" fmla="*/ 22086 h 82031"/>
                <a:gd name="connsiteX9" fmla="*/ 89783 w 121193"/>
                <a:gd name="connsiteY9" fmla="*/ 0 h 82031"/>
                <a:gd name="connsiteX10" fmla="*/ 53142 w 121193"/>
                <a:gd name="connsiteY10" fmla="*/ 0 h 82031"/>
                <a:gd name="connsiteX11" fmla="*/ 38083 w 121193"/>
                <a:gd name="connsiteY11" fmla="*/ 0 h 82031"/>
                <a:gd name="connsiteX12" fmla="*/ 19524 w 121193"/>
                <a:gd name="connsiteY12" fmla="*/ 0 h 82031"/>
                <a:gd name="connsiteX13" fmla="*/ 0 w 121193"/>
                <a:gd name="connsiteY13" fmla="*/ 19515 h 82031"/>
                <a:gd name="connsiteX14" fmla="*/ 36123 w 121193"/>
                <a:gd name="connsiteY14" fmla="*/ 19515 h 82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193" h="82031">
                  <a:moveTo>
                    <a:pt x="36123" y="40315"/>
                  </a:moveTo>
                  <a:lnTo>
                    <a:pt x="58035" y="40315"/>
                  </a:lnTo>
                  <a:lnTo>
                    <a:pt x="99742" y="82031"/>
                  </a:lnTo>
                  <a:lnTo>
                    <a:pt x="99742" y="64650"/>
                  </a:lnTo>
                  <a:lnTo>
                    <a:pt x="121194" y="64650"/>
                  </a:lnTo>
                  <a:lnTo>
                    <a:pt x="121194" y="62178"/>
                  </a:lnTo>
                  <a:lnTo>
                    <a:pt x="121194" y="32589"/>
                  </a:lnTo>
                  <a:lnTo>
                    <a:pt x="106283" y="22086"/>
                  </a:lnTo>
                  <a:lnTo>
                    <a:pt x="89783" y="22086"/>
                  </a:lnTo>
                  <a:lnTo>
                    <a:pt x="89783" y="0"/>
                  </a:lnTo>
                  <a:lnTo>
                    <a:pt x="53142" y="0"/>
                  </a:lnTo>
                  <a:lnTo>
                    <a:pt x="38083" y="0"/>
                  </a:lnTo>
                  <a:lnTo>
                    <a:pt x="19524" y="0"/>
                  </a:lnTo>
                  <a:lnTo>
                    <a:pt x="0" y="19515"/>
                  </a:lnTo>
                  <a:lnTo>
                    <a:pt x="36123" y="19515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469" name="Graphic 6">
              <a:extLst>
                <a:ext uri="{FF2B5EF4-FFF2-40B4-BE49-F238E27FC236}">
                  <a16:creationId xmlns:a16="http://schemas.microsoft.com/office/drawing/2014/main" id="{ECBFC036-C41F-1E08-0135-9E9DE74EB995}"/>
                </a:ext>
              </a:extLst>
            </p:cNvPr>
            <p:cNvGrpSpPr/>
            <p:nvPr/>
          </p:nvGrpSpPr>
          <p:grpSpPr>
            <a:xfrm>
              <a:off x="8723997" y="4522474"/>
              <a:ext cx="711392" cy="447258"/>
              <a:chOff x="8723997" y="4522474"/>
              <a:chExt cx="711392" cy="447258"/>
            </a:xfrm>
            <a:grpFill/>
          </p:grpSpPr>
          <p:sp>
            <p:nvSpPr>
              <p:cNvPr id="887" name="Freeform: Shape 886">
                <a:extLst>
                  <a:ext uri="{FF2B5EF4-FFF2-40B4-BE49-F238E27FC236}">
                    <a16:creationId xmlns:a16="http://schemas.microsoft.com/office/drawing/2014/main" id="{15F18918-562F-BB34-2A17-459D40977C0B}"/>
                  </a:ext>
                </a:extLst>
              </p:cNvPr>
              <p:cNvSpPr/>
              <p:nvPr/>
            </p:nvSpPr>
            <p:spPr>
              <a:xfrm>
                <a:off x="8723997" y="4522474"/>
                <a:ext cx="323115" cy="339863"/>
              </a:xfrm>
              <a:custGeom>
                <a:avLst/>
                <a:gdLst>
                  <a:gd name="connsiteX0" fmla="*/ 323116 w 323115"/>
                  <a:gd name="connsiteY0" fmla="*/ 270296 h 339863"/>
                  <a:gd name="connsiteX1" fmla="*/ 267643 w 323115"/>
                  <a:gd name="connsiteY1" fmla="*/ 214840 h 339863"/>
                  <a:gd name="connsiteX2" fmla="*/ 267643 w 323115"/>
                  <a:gd name="connsiteY2" fmla="*/ 197235 h 339863"/>
                  <a:gd name="connsiteX3" fmla="*/ 241216 w 323115"/>
                  <a:gd name="connsiteY3" fmla="*/ 197235 h 339863"/>
                  <a:gd name="connsiteX4" fmla="*/ 241216 w 323115"/>
                  <a:gd name="connsiteY4" fmla="*/ 174327 h 339863"/>
                  <a:gd name="connsiteX5" fmla="*/ 164655 w 323115"/>
                  <a:gd name="connsiteY5" fmla="*/ 97716 h 339863"/>
                  <a:gd name="connsiteX6" fmla="*/ 153172 w 323115"/>
                  <a:gd name="connsiteY6" fmla="*/ 109174 h 339863"/>
                  <a:gd name="connsiteX7" fmla="*/ 105673 w 323115"/>
                  <a:gd name="connsiteY7" fmla="*/ 61618 h 339863"/>
                  <a:gd name="connsiteX8" fmla="*/ 89774 w 323115"/>
                  <a:gd name="connsiteY8" fmla="*/ 61618 h 339863"/>
                  <a:gd name="connsiteX9" fmla="*/ 65127 w 323115"/>
                  <a:gd name="connsiteY9" fmla="*/ 36979 h 339863"/>
                  <a:gd name="connsiteX10" fmla="*/ 65127 w 323115"/>
                  <a:gd name="connsiteY10" fmla="*/ 12316 h 339863"/>
                  <a:gd name="connsiteX11" fmla="*/ 26393 w 323115"/>
                  <a:gd name="connsiteY11" fmla="*/ 12316 h 339863"/>
                  <a:gd name="connsiteX12" fmla="*/ 14053 w 323115"/>
                  <a:gd name="connsiteY12" fmla="*/ 0 h 339863"/>
                  <a:gd name="connsiteX13" fmla="*/ 0 w 323115"/>
                  <a:gd name="connsiteY13" fmla="*/ 0 h 339863"/>
                  <a:gd name="connsiteX14" fmla="*/ 0 w 323115"/>
                  <a:gd name="connsiteY14" fmla="*/ 43998 h 339863"/>
                  <a:gd name="connsiteX15" fmla="*/ 24646 w 323115"/>
                  <a:gd name="connsiteY15" fmla="*/ 43998 h 339863"/>
                  <a:gd name="connsiteX16" fmla="*/ 58092 w 323115"/>
                  <a:gd name="connsiteY16" fmla="*/ 77476 h 339863"/>
                  <a:gd name="connsiteX17" fmla="*/ 58092 w 323115"/>
                  <a:gd name="connsiteY17" fmla="*/ 99924 h 339863"/>
                  <a:gd name="connsiteX18" fmla="*/ 81454 w 323115"/>
                  <a:gd name="connsiteY18" fmla="*/ 99924 h 339863"/>
                  <a:gd name="connsiteX19" fmla="*/ 113548 w 323115"/>
                  <a:gd name="connsiteY19" fmla="*/ 132051 h 339863"/>
                  <a:gd name="connsiteX20" fmla="*/ 113548 w 323115"/>
                  <a:gd name="connsiteY20" fmla="*/ 182268 h 339863"/>
                  <a:gd name="connsiteX21" fmla="*/ 163749 w 323115"/>
                  <a:gd name="connsiteY21" fmla="*/ 232427 h 339863"/>
                  <a:gd name="connsiteX22" fmla="*/ 154967 w 323115"/>
                  <a:gd name="connsiteY22" fmla="*/ 241250 h 339863"/>
                  <a:gd name="connsiteX23" fmla="*/ 191906 w 323115"/>
                  <a:gd name="connsiteY23" fmla="*/ 278213 h 339863"/>
                  <a:gd name="connsiteX24" fmla="*/ 214856 w 323115"/>
                  <a:gd name="connsiteY24" fmla="*/ 278213 h 339863"/>
                  <a:gd name="connsiteX25" fmla="*/ 276474 w 323115"/>
                  <a:gd name="connsiteY25" fmla="*/ 339863 h 339863"/>
                  <a:gd name="connsiteX26" fmla="*/ 323116 w 323115"/>
                  <a:gd name="connsiteY26" fmla="*/ 339863 h 339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323115" h="339863">
                    <a:moveTo>
                      <a:pt x="323116" y="270296"/>
                    </a:moveTo>
                    <a:lnTo>
                      <a:pt x="267643" y="214840"/>
                    </a:lnTo>
                    <a:lnTo>
                      <a:pt x="267643" y="197235"/>
                    </a:lnTo>
                    <a:lnTo>
                      <a:pt x="241216" y="197235"/>
                    </a:lnTo>
                    <a:lnTo>
                      <a:pt x="241216" y="174327"/>
                    </a:lnTo>
                    <a:lnTo>
                      <a:pt x="164655" y="97716"/>
                    </a:lnTo>
                    <a:lnTo>
                      <a:pt x="153172" y="109174"/>
                    </a:lnTo>
                    <a:lnTo>
                      <a:pt x="105673" y="61618"/>
                    </a:lnTo>
                    <a:lnTo>
                      <a:pt x="89774" y="61618"/>
                    </a:lnTo>
                    <a:lnTo>
                      <a:pt x="65127" y="36979"/>
                    </a:lnTo>
                    <a:lnTo>
                      <a:pt x="65127" y="12316"/>
                    </a:lnTo>
                    <a:lnTo>
                      <a:pt x="26393" y="12316"/>
                    </a:lnTo>
                    <a:lnTo>
                      <a:pt x="14053" y="0"/>
                    </a:lnTo>
                    <a:lnTo>
                      <a:pt x="0" y="0"/>
                    </a:lnTo>
                    <a:lnTo>
                      <a:pt x="0" y="43998"/>
                    </a:lnTo>
                    <a:lnTo>
                      <a:pt x="24646" y="43998"/>
                    </a:lnTo>
                    <a:lnTo>
                      <a:pt x="58092" y="77476"/>
                    </a:lnTo>
                    <a:lnTo>
                      <a:pt x="58092" y="99924"/>
                    </a:lnTo>
                    <a:lnTo>
                      <a:pt x="81454" y="99924"/>
                    </a:lnTo>
                    <a:lnTo>
                      <a:pt x="113548" y="132051"/>
                    </a:lnTo>
                    <a:lnTo>
                      <a:pt x="113548" y="182268"/>
                    </a:lnTo>
                    <a:lnTo>
                      <a:pt x="163749" y="232427"/>
                    </a:lnTo>
                    <a:lnTo>
                      <a:pt x="154967" y="241250"/>
                    </a:lnTo>
                    <a:lnTo>
                      <a:pt x="191906" y="278213"/>
                    </a:lnTo>
                    <a:lnTo>
                      <a:pt x="214856" y="278213"/>
                    </a:lnTo>
                    <a:lnTo>
                      <a:pt x="276474" y="339863"/>
                    </a:lnTo>
                    <a:lnTo>
                      <a:pt x="323116" y="339863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8" name="Freeform: Shape 887">
                <a:extLst>
                  <a:ext uri="{FF2B5EF4-FFF2-40B4-BE49-F238E27FC236}">
                    <a16:creationId xmlns:a16="http://schemas.microsoft.com/office/drawing/2014/main" id="{B5EE5061-4033-CF9C-B866-EE3BD6EC5DD1}"/>
                  </a:ext>
                </a:extLst>
              </p:cNvPr>
              <p:cNvSpPr/>
              <p:nvPr/>
            </p:nvSpPr>
            <p:spPr>
              <a:xfrm>
                <a:off x="9033010" y="4876432"/>
                <a:ext cx="402379" cy="93300"/>
              </a:xfrm>
              <a:custGeom>
                <a:avLst/>
                <a:gdLst>
                  <a:gd name="connsiteX0" fmla="*/ 247412 w 402379"/>
                  <a:gd name="connsiteY0" fmla="*/ 93301 h 93300"/>
                  <a:gd name="connsiteX1" fmla="*/ 402380 w 402379"/>
                  <a:gd name="connsiteY1" fmla="*/ 93301 h 93300"/>
                  <a:gd name="connsiteX2" fmla="*/ 402380 w 402379"/>
                  <a:gd name="connsiteY2" fmla="*/ 75713 h 93300"/>
                  <a:gd name="connsiteX3" fmla="*/ 307300 w 402379"/>
                  <a:gd name="connsiteY3" fmla="*/ 75713 h 93300"/>
                  <a:gd name="connsiteX4" fmla="*/ 289688 w 402379"/>
                  <a:gd name="connsiteY4" fmla="*/ 58101 h 93300"/>
                  <a:gd name="connsiteX5" fmla="*/ 228943 w 402379"/>
                  <a:gd name="connsiteY5" fmla="*/ 58101 h 93300"/>
                  <a:gd name="connsiteX6" fmla="*/ 228943 w 402379"/>
                  <a:gd name="connsiteY6" fmla="*/ 39615 h 93300"/>
                  <a:gd name="connsiteX7" fmla="*/ 243886 w 402379"/>
                  <a:gd name="connsiteY7" fmla="*/ 24623 h 93300"/>
                  <a:gd name="connsiteX8" fmla="*/ 171707 w 402379"/>
                  <a:gd name="connsiteY8" fmla="*/ 24623 h 93300"/>
                  <a:gd name="connsiteX9" fmla="*/ 155841 w 402379"/>
                  <a:gd name="connsiteY9" fmla="*/ 8807 h 93300"/>
                  <a:gd name="connsiteX10" fmla="*/ 143550 w 402379"/>
                  <a:gd name="connsiteY10" fmla="*/ 21123 h 93300"/>
                  <a:gd name="connsiteX11" fmla="*/ 101258 w 402379"/>
                  <a:gd name="connsiteY11" fmla="*/ 21123 h 93300"/>
                  <a:gd name="connsiteX12" fmla="*/ 80153 w 402379"/>
                  <a:gd name="connsiteY12" fmla="*/ 0 h 93300"/>
                  <a:gd name="connsiteX13" fmla="*/ 29079 w 402379"/>
                  <a:gd name="connsiteY13" fmla="*/ 0 h 93300"/>
                  <a:gd name="connsiteX14" fmla="*/ 0 w 402379"/>
                  <a:gd name="connsiteY14" fmla="*/ 14936 h 93300"/>
                  <a:gd name="connsiteX15" fmla="*/ 48438 w 402379"/>
                  <a:gd name="connsiteY15" fmla="*/ 63414 h 93300"/>
                  <a:gd name="connsiteX16" fmla="*/ 88951 w 402379"/>
                  <a:gd name="connsiteY16" fmla="*/ 63414 h 93300"/>
                  <a:gd name="connsiteX17" fmla="*/ 88951 w 402379"/>
                  <a:gd name="connsiteY17" fmla="*/ 44896 h 93300"/>
                  <a:gd name="connsiteX18" fmla="*/ 119727 w 402379"/>
                  <a:gd name="connsiteY18" fmla="*/ 44896 h 93300"/>
                  <a:gd name="connsiteX19" fmla="*/ 145313 w 402379"/>
                  <a:gd name="connsiteY19" fmla="*/ 70449 h 93300"/>
                  <a:gd name="connsiteX20" fmla="*/ 224544 w 402379"/>
                  <a:gd name="connsiteY20" fmla="*/ 70449 h 93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02379" h="93300">
                    <a:moveTo>
                      <a:pt x="247412" y="93301"/>
                    </a:moveTo>
                    <a:lnTo>
                      <a:pt x="402380" y="93301"/>
                    </a:lnTo>
                    <a:lnTo>
                      <a:pt x="402380" y="75713"/>
                    </a:lnTo>
                    <a:lnTo>
                      <a:pt x="307300" y="75713"/>
                    </a:lnTo>
                    <a:lnTo>
                      <a:pt x="289688" y="58101"/>
                    </a:lnTo>
                    <a:lnTo>
                      <a:pt x="228943" y="58101"/>
                    </a:lnTo>
                    <a:lnTo>
                      <a:pt x="228943" y="39615"/>
                    </a:lnTo>
                    <a:lnTo>
                      <a:pt x="243886" y="24623"/>
                    </a:lnTo>
                    <a:lnTo>
                      <a:pt x="171707" y="24623"/>
                    </a:lnTo>
                    <a:lnTo>
                      <a:pt x="155841" y="8807"/>
                    </a:lnTo>
                    <a:lnTo>
                      <a:pt x="143550" y="21123"/>
                    </a:lnTo>
                    <a:lnTo>
                      <a:pt x="101258" y="21123"/>
                    </a:lnTo>
                    <a:lnTo>
                      <a:pt x="80153" y="0"/>
                    </a:lnTo>
                    <a:lnTo>
                      <a:pt x="29079" y="0"/>
                    </a:lnTo>
                    <a:lnTo>
                      <a:pt x="0" y="14936"/>
                    </a:lnTo>
                    <a:lnTo>
                      <a:pt x="48438" y="63414"/>
                    </a:lnTo>
                    <a:lnTo>
                      <a:pt x="88951" y="63414"/>
                    </a:lnTo>
                    <a:lnTo>
                      <a:pt x="88951" y="44896"/>
                    </a:lnTo>
                    <a:lnTo>
                      <a:pt x="119727" y="44896"/>
                    </a:lnTo>
                    <a:lnTo>
                      <a:pt x="145313" y="70449"/>
                    </a:lnTo>
                    <a:lnTo>
                      <a:pt x="224544" y="70449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470" name="Graphic 6">
              <a:extLst>
                <a:ext uri="{FF2B5EF4-FFF2-40B4-BE49-F238E27FC236}">
                  <a16:creationId xmlns:a16="http://schemas.microsoft.com/office/drawing/2014/main" id="{608611EE-79BC-F3D1-5672-545C2357B823}"/>
                </a:ext>
              </a:extLst>
            </p:cNvPr>
            <p:cNvGrpSpPr/>
            <p:nvPr/>
          </p:nvGrpSpPr>
          <p:grpSpPr>
            <a:xfrm>
              <a:off x="9762081" y="3132121"/>
              <a:ext cx="505779" cy="550345"/>
              <a:chOff x="9762081" y="3132121"/>
              <a:chExt cx="505779" cy="550345"/>
            </a:xfrm>
            <a:grpFill/>
          </p:grpSpPr>
          <p:sp>
            <p:nvSpPr>
              <p:cNvPr id="883" name="Freeform: Shape 882">
                <a:extLst>
                  <a:ext uri="{FF2B5EF4-FFF2-40B4-BE49-F238E27FC236}">
                    <a16:creationId xmlns:a16="http://schemas.microsoft.com/office/drawing/2014/main" id="{B077F22F-05F9-4AAC-B5DA-AD4921A1FC41}"/>
                  </a:ext>
                </a:extLst>
              </p:cNvPr>
              <p:cNvSpPr/>
              <p:nvPr/>
            </p:nvSpPr>
            <p:spPr>
              <a:xfrm>
                <a:off x="9812216" y="3319652"/>
                <a:ext cx="349575" cy="283566"/>
              </a:xfrm>
              <a:custGeom>
                <a:avLst/>
                <a:gdLst>
                  <a:gd name="connsiteX0" fmla="*/ 149696 w 349575"/>
                  <a:gd name="connsiteY0" fmla="*/ 186699 h 283566"/>
                  <a:gd name="connsiteX1" fmla="*/ 149696 w 349575"/>
                  <a:gd name="connsiteY1" fmla="*/ 217517 h 283566"/>
                  <a:gd name="connsiteX2" fmla="*/ 57284 w 349575"/>
                  <a:gd name="connsiteY2" fmla="*/ 217517 h 283566"/>
                  <a:gd name="connsiteX3" fmla="*/ 0 w 349575"/>
                  <a:gd name="connsiteY3" fmla="*/ 274728 h 283566"/>
                  <a:gd name="connsiteX4" fmla="*/ 35224 w 349575"/>
                  <a:gd name="connsiteY4" fmla="*/ 274728 h 283566"/>
                  <a:gd name="connsiteX5" fmla="*/ 35224 w 349575"/>
                  <a:gd name="connsiteY5" fmla="*/ 255377 h 283566"/>
                  <a:gd name="connsiteX6" fmla="*/ 82806 w 349575"/>
                  <a:gd name="connsiteY6" fmla="*/ 255377 h 283566"/>
                  <a:gd name="connsiteX7" fmla="*/ 95113 w 349575"/>
                  <a:gd name="connsiteY7" fmla="*/ 243062 h 283566"/>
                  <a:gd name="connsiteX8" fmla="*/ 129431 w 349575"/>
                  <a:gd name="connsiteY8" fmla="*/ 243062 h 283566"/>
                  <a:gd name="connsiteX9" fmla="*/ 129431 w 349575"/>
                  <a:gd name="connsiteY9" fmla="*/ 265065 h 283566"/>
                  <a:gd name="connsiteX10" fmla="*/ 147999 w 349575"/>
                  <a:gd name="connsiteY10" fmla="*/ 283567 h 283566"/>
                  <a:gd name="connsiteX11" fmla="*/ 176139 w 349575"/>
                  <a:gd name="connsiteY11" fmla="*/ 255377 h 283566"/>
                  <a:gd name="connsiteX12" fmla="*/ 176139 w 349575"/>
                  <a:gd name="connsiteY12" fmla="*/ 232485 h 283566"/>
                  <a:gd name="connsiteX13" fmla="*/ 286162 w 349575"/>
                  <a:gd name="connsiteY13" fmla="*/ 232485 h 283566"/>
                  <a:gd name="connsiteX14" fmla="*/ 286162 w 349575"/>
                  <a:gd name="connsiteY14" fmla="*/ 184072 h 283566"/>
                  <a:gd name="connsiteX15" fmla="*/ 313445 w 349575"/>
                  <a:gd name="connsiteY15" fmla="*/ 156747 h 283566"/>
                  <a:gd name="connsiteX16" fmla="*/ 313445 w 349575"/>
                  <a:gd name="connsiteY16" fmla="*/ 119785 h 283566"/>
                  <a:gd name="connsiteX17" fmla="*/ 331090 w 349575"/>
                  <a:gd name="connsiteY17" fmla="*/ 102139 h 283566"/>
                  <a:gd name="connsiteX18" fmla="*/ 317877 w 349575"/>
                  <a:gd name="connsiteY18" fmla="*/ 88935 h 283566"/>
                  <a:gd name="connsiteX19" fmla="*/ 349576 w 349575"/>
                  <a:gd name="connsiteY19" fmla="*/ 57252 h 283566"/>
                  <a:gd name="connsiteX20" fmla="*/ 318767 w 349575"/>
                  <a:gd name="connsiteY20" fmla="*/ 26418 h 283566"/>
                  <a:gd name="connsiteX21" fmla="*/ 318767 w 349575"/>
                  <a:gd name="connsiteY21" fmla="*/ 0 h 283566"/>
                  <a:gd name="connsiteX22" fmla="*/ 287052 w 349575"/>
                  <a:gd name="connsiteY22" fmla="*/ 0 h 283566"/>
                  <a:gd name="connsiteX23" fmla="*/ 263294 w 349575"/>
                  <a:gd name="connsiteY23" fmla="*/ 44047 h 283566"/>
                  <a:gd name="connsiteX24" fmla="*/ 263294 w 349575"/>
                  <a:gd name="connsiteY24" fmla="*/ 95986 h 283566"/>
                  <a:gd name="connsiteX25" fmla="*/ 190225 w 349575"/>
                  <a:gd name="connsiteY25" fmla="*/ 169087 h 283566"/>
                  <a:gd name="connsiteX26" fmla="*/ 190225 w 349575"/>
                  <a:gd name="connsiteY26" fmla="*/ 146170 h 283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349575" h="283566">
                    <a:moveTo>
                      <a:pt x="149696" y="186699"/>
                    </a:moveTo>
                    <a:lnTo>
                      <a:pt x="149696" y="217517"/>
                    </a:lnTo>
                    <a:lnTo>
                      <a:pt x="57284" y="217517"/>
                    </a:lnTo>
                    <a:lnTo>
                      <a:pt x="0" y="274728"/>
                    </a:lnTo>
                    <a:lnTo>
                      <a:pt x="35224" y="274728"/>
                    </a:lnTo>
                    <a:lnTo>
                      <a:pt x="35224" y="255377"/>
                    </a:lnTo>
                    <a:lnTo>
                      <a:pt x="82806" y="255377"/>
                    </a:lnTo>
                    <a:lnTo>
                      <a:pt x="95113" y="243062"/>
                    </a:lnTo>
                    <a:lnTo>
                      <a:pt x="129431" y="243062"/>
                    </a:lnTo>
                    <a:lnTo>
                      <a:pt x="129431" y="265065"/>
                    </a:lnTo>
                    <a:lnTo>
                      <a:pt x="147999" y="283567"/>
                    </a:lnTo>
                    <a:lnTo>
                      <a:pt x="176139" y="255377"/>
                    </a:lnTo>
                    <a:lnTo>
                      <a:pt x="176139" y="232485"/>
                    </a:lnTo>
                    <a:lnTo>
                      <a:pt x="286162" y="232485"/>
                    </a:lnTo>
                    <a:lnTo>
                      <a:pt x="286162" y="184072"/>
                    </a:lnTo>
                    <a:lnTo>
                      <a:pt x="313445" y="156747"/>
                    </a:lnTo>
                    <a:lnTo>
                      <a:pt x="313445" y="119785"/>
                    </a:lnTo>
                    <a:lnTo>
                      <a:pt x="331090" y="102139"/>
                    </a:lnTo>
                    <a:lnTo>
                      <a:pt x="317877" y="88935"/>
                    </a:lnTo>
                    <a:lnTo>
                      <a:pt x="349576" y="57252"/>
                    </a:lnTo>
                    <a:lnTo>
                      <a:pt x="318767" y="26418"/>
                    </a:lnTo>
                    <a:lnTo>
                      <a:pt x="318767" y="0"/>
                    </a:lnTo>
                    <a:lnTo>
                      <a:pt x="287052" y="0"/>
                    </a:lnTo>
                    <a:lnTo>
                      <a:pt x="263294" y="44047"/>
                    </a:lnTo>
                    <a:lnTo>
                      <a:pt x="263294" y="95986"/>
                    </a:lnTo>
                    <a:lnTo>
                      <a:pt x="190225" y="169087"/>
                    </a:lnTo>
                    <a:lnTo>
                      <a:pt x="190225" y="146170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4" name="Freeform: Shape 883">
                <a:extLst>
                  <a:ext uri="{FF2B5EF4-FFF2-40B4-BE49-F238E27FC236}">
                    <a16:creationId xmlns:a16="http://schemas.microsoft.com/office/drawing/2014/main" id="{2E95B226-D1C6-CB58-9685-0BD4D35FE909}"/>
                  </a:ext>
                </a:extLst>
              </p:cNvPr>
              <p:cNvSpPr/>
              <p:nvPr/>
            </p:nvSpPr>
            <p:spPr>
              <a:xfrm>
                <a:off x="10073302" y="3132121"/>
                <a:ext cx="194558" cy="154959"/>
              </a:xfrm>
              <a:custGeom>
                <a:avLst/>
                <a:gdLst>
                  <a:gd name="connsiteX0" fmla="*/ 18914 w 194558"/>
                  <a:gd name="connsiteY0" fmla="*/ 154960 h 154959"/>
                  <a:gd name="connsiteX1" fmla="*/ 47976 w 194558"/>
                  <a:gd name="connsiteY1" fmla="*/ 154960 h 154959"/>
                  <a:gd name="connsiteX2" fmla="*/ 33033 w 194558"/>
                  <a:gd name="connsiteY2" fmla="*/ 140000 h 154959"/>
                  <a:gd name="connsiteX3" fmla="*/ 33033 w 194558"/>
                  <a:gd name="connsiteY3" fmla="*/ 122388 h 154959"/>
                  <a:gd name="connsiteX4" fmla="*/ 92872 w 194558"/>
                  <a:gd name="connsiteY4" fmla="*/ 122388 h 154959"/>
                  <a:gd name="connsiteX5" fmla="*/ 107436 w 194558"/>
                  <a:gd name="connsiteY5" fmla="*/ 136894 h 154959"/>
                  <a:gd name="connsiteX6" fmla="*/ 138657 w 194558"/>
                  <a:gd name="connsiteY6" fmla="*/ 105649 h 154959"/>
                  <a:gd name="connsiteX7" fmla="*/ 172992 w 194558"/>
                  <a:gd name="connsiteY7" fmla="*/ 105649 h 154959"/>
                  <a:gd name="connsiteX8" fmla="*/ 194558 w 194558"/>
                  <a:gd name="connsiteY8" fmla="*/ 84074 h 154959"/>
                  <a:gd name="connsiteX9" fmla="*/ 175645 w 194558"/>
                  <a:gd name="connsiteY9" fmla="*/ 65143 h 154959"/>
                  <a:gd name="connsiteX10" fmla="*/ 139547 w 194558"/>
                  <a:gd name="connsiteY10" fmla="*/ 65143 h 154959"/>
                  <a:gd name="connsiteX11" fmla="*/ 74387 w 194558"/>
                  <a:gd name="connsiteY11" fmla="*/ 0 h 154959"/>
                  <a:gd name="connsiteX12" fmla="*/ 64732 w 194558"/>
                  <a:gd name="connsiteY12" fmla="*/ 9670 h 154959"/>
                  <a:gd name="connsiteX13" fmla="*/ 71734 w 194558"/>
                  <a:gd name="connsiteY13" fmla="*/ 64279 h 154959"/>
                  <a:gd name="connsiteX14" fmla="*/ 0 w 194558"/>
                  <a:gd name="connsiteY14" fmla="*/ 136029 h 154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4558" h="154959">
                    <a:moveTo>
                      <a:pt x="18914" y="154960"/>
                    </a:moveTo>
                    <a:lnTo>
                      <a:pt x="47976" y="154960"/>
                    </a:lnTo>
                    <a:lnTo>
                      <a:pt x="33033" y="140000"/>
                    </a:lnTo>
                    <a:lnTo>
                      <a:pt x="33033" y="122388"/>
                    </a:lnTo>
                    <a:lnTo>
                      <a:pt x="92872" y="122388"/>
                    </a:lnTo>
                    <a:lnTo>
                      <a:pt x="107436" y="136894"/>
                    </a:lnTo>
                    <a:lnTo>
                      <a:pt x="138657" y="105649"/>
                    </a:lnTo>
                    <a:lnTo>
                      <a:pt x="172992" y="105649"/>
                    </a:lnTo>
                    <a:lnTo>
                      <a:pt x="194558" y="84074"/>
                    </a:lnTo>
                    <a:lnTo>
                      <a:pt x="175645" y="65143"/>
                    </a:lnTo>
                    <a:lnTo>
                      <a:pt x="139547" y="65143"/>
                    </a:lnTo>
                    <a:lnTo>
                      <a:pt x="74387" y="0"/>
                    </a:lnTo>
                    <a:lnTo>
                      <a:pt x="64732" y="9670"/>
                    </a:lnTo>
                    <a:lnTo>
                      <a:pt x="71734" y="64279"/>
                    </a:lnTo>
                    <a:lnTo>
                      <a:pt x="0" y="136029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5" name="Freeform: Shape 884">
                <a:extLst>
                  <a:ext uri="{FF2B5EF4-FFF2-40B4-BE49-F238E27FC236}">
                    <a16:creationId xmlns:a16="http://schemas.microsoft.com/office/drawing/2014/main" id="{1838655B-5DB2-46AB-B24C-4431C10F5A00}"/>
                  </a:ext>
                </a:extLst>
              </p:cNvPr>
              <p:cNvSpPr/>
              <p:nvPr/>
            </p:nvSpPr>
            <p:spPr>
              <a:xfrm>
                <a:off x="9762081" y="3609381"/>
                <a:ext cx="84486" cy="73085"/>
              </a:xfrm>
              <a:custGeom>
                <a:avLst/>
                <a:gdLst>
                  <a:gd name="connsiteX0" fmla="*/ 0 w 84486"/>
                  <a:gd name="connsiteY0" fmla="*/ 0 h 73085"/>
                  <a:gd name="connsiteX1" fmla="*/ 27282 w 84486"/>
                  <a:gd name="connsiteY1" fmla="*/ 27317 h 73085"/>
                  <a:gd name="connsiteX2" fmla="*/ 27282 w 84486"/>
                  <a:gd name="connsiteY2" fmla="*/ 73086 h 73085"/>
                  <a:gd name="connsiteX3" fmla="*/ 84486 w 84486"/>
                  <a:gd name="connsiteY3" fmla="*/ 15858 h 73085"/>
                  <a:gd name="connsiteX4" fmla="*/ 69526 w 84486"/>
                  <a:gd name="connsiteY4" fmla="*/ 882 h 73085"/>
                  <a:gd name="connsiteX5" fmla="*/ 25520 w 84486"/>
                  <a:gd name="connsiteY5" fmla="*/ 882 h 73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4486" h="73085">
                    <a:moveTo>
                      <a:pt x="0" y="0"/>
                    </a:moveTo>
                    <a:lnTo>
                      <a:pt x="27282" y="27317"/>
                    </a:lnTo>
                    <a:lnTo>
                      <a:pt x="27282" y="73086"/>
                    </a:lnTo>
                    <a:lnTo>
                      <a:pt x="84486" y="15858"/>
                    </a:lnTo>
                    <a:lnTo>
                      <a:pt x="69526" y="882"/>
                    </a:lnTo>
                    <a:lnTo>
                      <a:pt x="25520" y="882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6" name="Freeform: Shape 885">
                <a:extLst>
                  <a:ext uri="{FF2B5EF4-FFF2-40B4-BE49-F238E27FC236}">
                    <a16:creationId xmlns:a16="http://schemas.microsoft.com/office/drawing/2014/main" id="{9827DFB0-148E-689F-547F-D65C1B27C9B4}"/>
                  </a:ext>
                </a:extLst>
              </p:cNvPr>
              <p:cNvSpPr/>
              <p:nvPr/>
            </p:nvSpPr>
            <p:spPr>
              <a:xfrm>
                <a:off x="9846567" y="3592659"/>
                <a:ext cx="71322" cy="40488"/>
              </a:xfrm>
              <a:custGeom>
                <a:avLst/>
                <a:gdLst>
                  <a:gd name="connsiteX0" fmla="*/ 71322 w 71322"/>
                  <a:gd name="connsiteY0" fmla="*/ 24663 h 40488"/>
                  <a:gd name="connsiteX1" fmla="*/ 71322 w 71322"/>
                  <a:gd name="connsiteY1" fmla="*/ 0 h 40488"/>
                  <a:gd name="connsiteX2" fmla="*/ 20265 w 71322"/>
                  <a:gd name="connsiteY2" fmla="*/ 0 h 40488"/>
                  <a:gd name="connsiteX3" fmla="*/ 0 w 71322"/>
                  <a:gd name="connsiteY3" fmla="*/ 21994 h 40488"/>
                  <a:gd name="connsiteX4" fmla="*/ 18502 w 71322"/>
                  <a:gd name="connsiteY4" fmla="*/ 40488 h 40488"/>
                  <a:gd name="connsiteX5" fmla="*/ 34335 w 71322"/>
                  <a:gd name="connsiteY5" fmla="*/ 24663 h 4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1322" h="40488">
                    <a:moveTo>
                      <a:pt x="71322" y="24663"/>
                    </a:moveTo>
                    <a:lnTo>
                      <a:pt x="71322" y="0"/>
                    </a:lnTo>
                    <a:lnTo>
                      <a:pt x="20265" y="0"/>
                    </a:lnTo>
                    <a:lnTo>
                      <a:pt x="0" y="21994"/>
                    </a:lnTo>
                    <a:lnTo>
                      <a:pt x="18502" y="40488"/>
                    </a:lnTo>
                    <a:lnTo>
                      <a:pt x="34335" y="24663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71" name="Freeform: Shape 470">
              <a:extLst>
                <a:ext uri="{FF2B5EF4-FFF2-40B4-BE49-F238E27FC236}">
                  <a16:creationId xmlns:a16="http://schemas.microsoft.com/office/drawing/2014/main" id="{4A2EA6D7-B506-C3B2-8FC0-56E551F1D8A2}"/>
                </a:ext>
              </a:extLst>
            </p:cNvPr>
            <p:cNvSpPr/>
            <p:nvPr/>
          </p:nvSpPr>
          <p:spPr>
            <a:xfrm>
              <a:off x="6432939" y="2590968"/>
              <a:ext cx="160585" cy="133607"/>
            </a:xfrm>
            <a:custGeom>
              <a:avLst/>
              <a:gdLst>
                <a:gd name="connsiteX0" fmla="*/ 138789 w 160585"/>
                <a:gd name="connsiteY0" fmla="*/ 113969 h 133607"/>
                <a:gd name="connsiteX1" fmla="*/ 138789 w 160585"/>
                <a:gd name="connsiteY1" fmla="*/ 100418 h 133607"/>
                <a:gd name="connsiteX2" fmla="*/ 160586 w 160585"/>
                <a:gd name="connsiteY2" fmla="*/ 78638 h 133607"/>
                <a:gd name="connsiteX3" fmla="*/ 160586 w 160585"/>
                <a:gd name="connsiteY3" fmla="*/ 19853 h 133607"/>
                <a:gd name="connsiteX4" fmla="*/ 111752 w 160585"/>
                <a:gd name="connsiteY4" fmla="*/ 19853 h 133607"/>
                <a:gd name="connsiteX5" fmla="*/ 91882 w 160585"/>
                <a:gd name="connsiteY5" fmla="*/ 0 h 133607"/>
                <a:gd name="connsiteX6" fmla="*/ 60151 w 160585"/>
                <a:gd name="connsiteY6" fmla="*/ 0 h 133607"/>
                <a:gd name="connsiteX7" fmla="*/ 0 w 160585"/>
                <a:gd name="connsiteY7" fmla="*/ 0 h 133607"/>
                <a:gd name="connsiteX8" fmla="*/ 0 w 160585"/>
                <a:gd name="connsiteY8" fmla="*/ 60621 h 133607"/>
                <a:gd name="connsiteX9" fmla="*/ 48174 w 160585"/>
                <a:gd name="connsiteY9" fmla="*/ 60621 h 133607"/>
                <a:gd name="connsiteX10" fmla="*/ 62244 w 160585"/>
                <a:gd name="connsiteY10" fmla="*/ 74716 h 133607"/>
                <a:gd name="connsiteX11" fmla="*/ 62244 w 160585"/>
                <a:gd name="connsiteY11" fmla="*/ 109908 h 133607"/>
                <a:gd name="connsiteX12" fmla="*/ 85952 w 160585"/>
                <a:gd name="connsiteY12" fmla="*/ 133608 h 133607"/>
                <a:gd name="connsiteX13" fmla="*/ 106596 w 160585"/>
                <a:gd name="connsiteY13" fmla="*/ 113969 h 133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0585" h="133607">
                  <a:moveTo>
                    <a:pt x="138789" y="113969"/>
                  </a:moveTo>
                  <a:lnTo>
                    <a:pt x="138789" y="100418"/>
                  </a:lnTo>
                  <a:lnTo>
                    <a:pt x="160586" y="78638"/>
                  </a:lnTo>
                  <a:lnTo>
                    <a:pt x="160586" y="19853"/>
                  </a:lnTo>
                  <a:lnTo>
                    <a:pt x="111752" y="19853"/>
                  </a:lnTo>
                  <a:lnTo>
                    <a:pt x="91882" y="0"/>
                  </a:lnTo>
                  <a:lnTo>
                    <a:pt x="60151" y="0"/>
                  </a:lnTo>
                  <a:lnTo>
                    <a:pt x="0" y="0"/>
                  </a:lnTo>
                  <a:lnTo>
                    <a:pt x="0" y="60621"/>
                  </a:lnTo>
                  <a:lnTo>
                    <a:pt x="48174" y="60621"/>
                  </a:lnTo>
                  <a:lnTo>
                    <a:pt x="62244" y="74716"/>
                  </a:lnTo>
                  <a:lnTo>
                    <a:pt x="62244" y="109908"/>
                  </a:lnTo>
                  <a:lnTo>
                    <a:pt x="85952" y="133608"/>
                  </a:lnTo>
                  <a:lnTo>
                    <a:pt x="106596" y="113969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2" name="Freeform: Shape 471">
              <a:extLst>
                <a:ext uri="{FF2B5EF4-FFF2-40B4-BE49-F238E27FC236}">
                  <a16:creationId xmlns:a16="http://schemas.microsoft.com/office/drawing/2014/main" id="{25E231ED-6D7C-7A3B-0BB2-D4C02D2591D6}"/>
                </a:ext>
              </a:extLst>
            </p:cNvPr>
            <p:cNvSpPr/>
            <p:nvPr/>
          </p:nvSpPr>
          <p:spPr>
            <a:xfrm>
              <a:off x="6432939" y="2502116"/>
              <a:ext cx="238283" cy="113186"/>
            </a:xfrm>
            <a:custGeom>
              <a:avLst/>
              <a:gdLst>
                <a:gd name="connsiteX0" fmla="*/ 198034 w 238283"/>
                <a:gd name="connsiteY0" fmla="*/ 7991 h 113186"/>
                <a:gd name="connsiteX1" fmla="*/ 180537 w 238283"/>
                <a:gd name="connsiteY1" fmla="*/ 25504 h 113186"/>
                <a:gd name="connsiteX2" fmla="*/ 155033 w 238283"/>
                <a:gd name="connsiteY2" fmla="*/ 0 h 113186"/>
                <a:gd name="connsiteX3" fmla="*/ 95096 w 238283"/>
                <a:gd name="connsiteY3" fmla="*/ 0 h 113186"/>
                <a:gd name="connsiteX4" fmla="*/ 95096 w 238283"/>
                <a:gd name="connsiteY4" fmla="*/ 53266 h 113186"/>
                <a:gd name="connsiteX5" fmla="*/ 73974 w 238283"/>
                <a:gd name="connsiteY5" fmla="*/ 53266 h 113186"/>
                <a:gd name="connsiteX6" fmla="*/ 42275 w 238283"/>
                <a:gd name="connsiteY6" fmla="*/ 21575 h 113186"/>
                <a:gd name="connsiteX7" fmla="*/ 15849 w 238283"/>
                <a:gd name="connsiteY7" fmla="*/ 21575 h 113186"/>
                <a:gd name="connsiteX8" fmla="*/ 0 w 238283"/>
                <a:gd name="connsiteY8" fmla="*/ 37391 h 113186"/>
                <a:gd name="connsiteX9" fmla="*/ 0 w 238283"/>
                <a:gd name="connsiteY9" fmla="*/ 88852 h 113186"/>
                <a:gd name="connsiteX10" fmla="*/ 60151 w 238283"/>
                <a:gd name="connsiteY10" fmla="*/ 88852 h 113186"/>
                <a:gd name="connsiteX11" fmla="*/ 91882 w 238283"/>
                <a:gd name="connsiteY11" fmla="*/ 88852 h 113186"/>
                <a:gd name="connsiteX12" fmla="*/ 111752 w 238283"/>
                <a:gd name="connsiteY12" fmla="*/ 108705 h 113186"/>
                <a:gd name="connsiteX13" fmla="*/ 160586 w 238283"/>
                <a:gd name="connsiteY13" fmla="*/ 108705 h 113186"/>
                <a:gd name="connsiteX14" fmla="*/ 160586 w 238283"/>
                <a:gd name="connsiteY14" fmla="*/ 113187 h 113186"/>
                <a:gd name="connsiteX15" fmla="*/ 190686 w 238283"/>
                <a:gd name="connsiteY15" fmla="*/ 113187 h 113186"/>
                <a:gd name="connsiteX16" fmla="*/ 221430 w 238283"/>
                <a:gd name="connsiteY16" fmla="*/ 113187 h 113186"/>
                <a:gd name="connsiteX17" fmla="*/ 238284 w 238283"/>
                <a:gd name="connsiteY17" fmla="*/ 96332 h 113186"/>
                <a:gd name="connsiteX18" fmla="*/ 238284 w 238283"/>
                <a:gd name="connsiteY18" fmla="*/ 56585 h 113186"/>
                <a:gd name="connsiteX19" fmla="*/ 238284 w 238283"/>
                <a:gd name="connsiteY19" fmla="*/ 15364 h 113186"/>
                <a:gd name="connsiteX20" fmla="*/ 229865 w 238283"/>
                <a:gd name="connsiteY20" fmla="*/ 6937 h 113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38283" h="113186">
                  <a:moveTo>
                    <a:pt x="198034" y="7991"/>
                  </a:moveTo>
                  <a:lnTo>
                    <a:pt x="180537" y="25504"/>
                  </a:lnTo>
                  <a:lnTo>
                    <a:pt x="155033" y="0"/>
                  </a:lnTo>
                  <a:lnTo>
                    <a:pt x="95096" y="0"/>
                  </a:lnTo>
                  <a:lnTo>
                    <a:pt x="95096" y="53266"/>
                  </a:lnTo>
                  <a:lnTo>
                    <a:pt x="73974" y="53266"/>
                  </a:lnTo>
                  <a:lnTo>
                    <a:pt x="42275" y="21575"/>
                  </a:lnTo>
                  <a:lnTo>
                    <a:pt x="15849" y="21575"/>
                  </a:lnTo>
                  <a:lnTo>
                    <a:pt x="0" y="37391"/>
                  </a:lnTo>
                  <a:lnTo>
                    <a:pt x="0" y="88852"/>
                  </a:lnTo>
                  <a:lnTo>
                    <a:pt x="60151" y="88852"/>
                  </a:lnTo>
                  <a:lnTo>
                    <a:pt x="91882" y="88852"/>
                  </a:lnTo>
                  <a:lnTo>
                    <a:pt x="111752" y="108705"/>
                  </a:lnTo>
                  <a:lnTo>
                    <a:pt x="160586" y="108705"/>
                  </a:lnTo>
                  <a:lnTo>
                    <a:pt x="160586" y="113187"/>
                  </a:lnTo>
                  <a:lnTo>
                    <a:pt x="190686" y="113187"/>
                  </a:lnTo>
                  <a:lnTo>
                    <a:pt x="221430" y="113187"/>
                  </a:lnTo>
                  <a:lnTo>
                    <a:pt x="238284" y="96332"/>
                  </a:lnTo>
                  <a:lnTo>
                    <a:pt x="238284" y="56585"/>
                  </a:lnTo>
                  <a:lnTo>
                    <a:pt x="238284" y="15364"/>
                  </a:lnTo>
                  <a:lnTo>
                    <a:pt x="229865" y="6937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3" name="Freeform: Shape 472">
              <a:extLst>
                <a:ext uri="{FF2B5EF4-FFF2-40B4-BE49-F238E27FC236}">
                  <a16:creationId xmlns:a16="http://schemas.microsoft.com/office/drawing/2014/main" id="{7B084DB0-15E6-5C09-785D-DBCED2FD8F90}"/>
                </a:ext>
              </a:extLst>
            </p:cNvPr>
            <p:cNvSpPr/>
            <p:nvPr/>
          </p:nvSpPr>
          <p:spPr>
            <a:xfrm>
              <a:off x="6503091" y="2607311"/>
              <a:ext cx="295041" cy="250146"/>
            </a:xfrm>
            <a:custGeom>
              <a:avLst/>
              <a:gdLst>
                <a:gd name="connsiteX0" fmla="*/ 46955 w 295041"/>
                <a:gd name="connsiteY0" fmla="*/ 216438 h 250146"/>
                <a:gd name="connsiteX1" fmla="*/ 104932 w 295041"/>
                <a:gd name="connsiteY1" fmla="*/ 216438 h 250146"/>
                <a:gd name="connsiteX2" fmla="*/ 138641 w 295041"/>
                <a:gd name="connsiteY2" fmla="*/ 250147 h 250146"/>
                <a:gd name="connsiteX3" fmla="*/ 208414 w 295041"/>
                <a:gd name="connsiteY3" fmla="*/ 250147 h 250146"/>
                <a:gd name="connsiteX4" fmla="*/ 237181 w 295041"/>
                <a:gd name="connsiteY4" fmla="*/ 221373 h 250146"/>
                <a:gd name="connsiteX5" fmla="*/ 266754 w 295041"/>
                <a:gd name="connsiteY5" fmla="*/ 192219 h 250146"/>
                <a:gd name="connsiteX6" fmla="*/ 256242 w 295041"/>
                <a:gd name="connsiteY6" fmla="*/ 181716 h 250146"/>
                <a:gd name="connsiteX7" fmla="*/ 256242 w 295041"/>
                <a:gd name="connsiteY7" fmla="*/ 150956 h 250146"/>
                <a:gd name="connsiteX8" fmla="*/ 295042 w 295041"/>
                <a:gd name="connsiteY8" fmla="*/ 150956 h 250146"/>
                <a:gd name="connsiteX9" fmla="*/ 295042 w 295041"/>
                <a:gd name="connsiteY9" fmla="*/ 132521 h 250146"/>
                <a:gd name="connsiteX10" fmla="*/ 260361 w 295041"/>
                <a:gd name="connsiteY10" fmla="*/ 97832 h 250146"/>
                <a:gd name="connsiteX11" fmla="*/ 231496 w 295041"/>
                <a:gd name="connsiteY11" fmla="*/ 68949 h 250146"/>
                <a:gd name="connsiteX12" fmla="*/ 231496 w 295041"/>
                <a:gd name="connsiteY12" fmla="*/ 17316 h 250146"/>
                <a:gd name="connsiteX13" fmla="*/ 176584 w 295041"/>
                <a:gd name="connsiteY13" fmla="*/ 17316 h 250146"/>
                <a:gd name="connsiteX14" fmla="*/ 159268 w 295041"/>
                <a:gd name="connsiteY14" fmla="*/ 0 h 250146"/>
                <a:gd name="connsiteX15" fmla="*/ 151278 w 295041"/>
                <a:gd name="connsiteY15" fmla="*/ 7991 h 250146"/>
                <a:gd name="connsiteX16" fmla="*/ 120534 w 295041"/>
                <a:gd name="connsiteY16" fmla="*/ 7991 h 250146"/>
                <a:gd name="connsiteX17" fmla="*/ 90434 w 295041"/>
                <a:gd name="connsiteY17" fmla="*/ 7991 h 250146"/>
                <a:gd name="connsiteX18" fmla="*/ 90434 w 295041"/>
                <a:gd name="connsiteY18" fmla="*/ 62294 h 250146"/>
                <a:gd name="connsiteX19" fmla="*/ 68637 w 295041"/>
                <a:gd name="connsiteY19" fmla="*/ 84074 h 250146"/>
                <a:gd name="connsiteX20" fmla="*/ 68637 w 295041"/>
                <a:gd name="connsiteY20" fmla="*/ 97626 h 250146"/>
                <a:gd name="connsiteX21" fmla="*/ 36444 w 295041"/>
                <a:gd name="connsiteY21" fmla="*/ 97626 h 250146"/>
                <a:gd name="connsiteX22" fmla="*/ 15800 w 295041"/>
                <a:gd name="connsiteY22" fmla="*/ 117264 h 250146"/>
                <a:gd name="connsiteX23" fmla="*/ 15800 w 295041"/>
                <a:gd name="connsiteY23" fmla="*/ 197985 h 250146"/>
                <a:gd name="connsiteX24" fmla="*/ 0 w 295041"/>
                <a:gd name="connsiteY24" fmla="*/ 213777 h 250146"/>
                <a:gd name="connsiteX25" fmla="*/ 0 w 295041"/>
                <a:gd name="connsiteY25" fmla="*/ 231530 h 250146"/>
                <a:gd name="connsiteX26" fmla="*/ 31863 w 295041"/>
                <a:gd name="connsiteY26" fmla="*/ 231530 h 250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95041" h="250146">
                  <a:moveTo>
                    <a:pt x="46955" y="216438"/>
                  </a:moveTo>
                  <a:lnTo>
                    <a:pt x="104932" y="216438"/>
                  </a:lnTo>
                  <a:lnTo>
                    <a:pt x="138641" y="250147"/>
                  </a:lnTo>
                  <a:lnTo>
                    <a:pt x="208414" y="250147"/>
                  </a:lnTo>
                  <a:lnTo>
                    <a:pt x="237181" y="221373"/>
                  </a:lnTo>
                  <a:lnTo>
                    <a:pt x="266754" y="192219"/>
                  </a:lnTo>
                  <a:lnTo>
                    <a:pt x="256242" y="181716"/>
                  </a:lnTo>
                  <a:lnTo>
                    <a:pt x="256242" y="150956"/>
                  </a:lnTo>
                  <a:lnTo>
                    <a:pt x="295042" y="150956"/>
                  </a:lnTo>
                  <a:lnTo>
                    <a:pt x="295042" y="132521"/>
                  </a:lnTo>
                  <a:lnTo>
                    <a:pt x="260361" y="97832"/>
                  </a:lnTo>
                  <a:lnTo>
                    <a:pt x="231496" y="68949"/>
                  </a:lnTo>
                  <a:lnTo>
                    <a:pt x="231496" y="17316"/>
                  </a:lnTo>
                  <a:lnTo>
                    <a:pt x="176584" y="17316"/>
                  </a:lnTo>
                  <a:lnTo>
                    <a:pt x="159268" y="0"/>
                  </a:lnTo>
                  <a:lnTo>
                    <a:pt x="151278" y="7991"/>
                  </a:lnTo>
                  <a:lnTo>
                    <a:pt x="120534" y="7991"/>
                  </a:lnTo>
                  <a:lnTo>
                    <a:pt x="90434" y="7991"/>
                  </a:lnTo>
                  <a:lnTo>
                    <a:pt x="90434" y="62294"/>
                  </a:lnTo>
                  <a:lnTo>
                    <a:pt x="68637" y="84074"/>
                  </a:lnTo>
                  <a:lnTo>
                    <a:pt x="68637" y="97626"/>
                  </a:lnTo>
                  <a:lnTo>
                    <a:pt x="36444" y="97626"/>
                  </a:lnTo>
                  <a:lnTo>
                    <a:pt x="15800" y="117264"/>
                  </a:lnTo>
                  <a:lnTo>
                    <a:pt x="15800" y="197985"/>
                  </a:lnTo>
                  <a:lnTo>
                    <a:pt x="0" y="213777"/>
                  </a:lnTo>
                  <a:lnTo>
                    <a:pt x="0" y="231530"/>
                  </a:lnTo>
                  <a:lnTo>
                    <a:pt x="31863" y="23153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4" name="Freeform: Shape 473">
              <a:extLst>
                <a:ext uri="{FF2B5EF4-FFF2-40B4-BE49-F238E27FC236}">
                  <a16:creationId xmlns:a16="http://schemas.microsoft.com/office/drawing/2014/main" id="{35E370DD-AE1B-179B-2947-07C741D5C6EA}"/>
                </a:ext>
              </a:extLst>
            </p:cNvPr>
            <p:cNvSpPr/>
            <p:nvPr/>
          </p:nvSpPr>
          <p:spPr>
            <a:xfrm>
              <a:off x="10104968" y="4770767"/>
              <a:ext cx="306855" cy="252691"/>
            </a:xfrm>
            <a:custGeom>
              <a:avLst/>
              <a:gdLst>
                <a:gd name="connsiteX0" fmla="*/ 200325 w 306855"/>
                <a:gd name="connsiteY0" fmla="*/ 146162 h 252691"/>
                <a:gd name="connsiteX1" fmla="*/ 200325 w 306855"/>
                <a:gd name="connsiteY1" fmla="*/ 125024 h 252691"/>
                <a:gd name="connsiteX2" fmla="*/ 217936 w 306855"/>
                <a:gd name="connsiteY2" fmla="*/ 125024 h 252691"/>
                <a:gd name="connsiteX3" fmla="*/ 217936 w 306855"/>
                <a:gd name="connsiteY3" fmla="*/ 103029 h 252691"/>
                <a:gd name="connsiteX4" fmla="*/ 169549 w 306855"/>
                <a:gd name="connsiteY4" fmla="*/ 103029 h 252691"/>
                <a:gd name="connsiteX5" fmla="*/ 115806 w 306855"/>
                <a:gd name="connsiteY5" fmla="*/ 49287 h 252691"/>
                <a:gd name="connsiteX6" fmla="*/ 115806 w 306855"/>
                <a:gd name="connsiteY6" fmla="*/ 22003 h 252691"/>
                <a:gd name="connsiteX7" fmla="*/ 32160 w 306855"/>
                <a:gd name="connsiteY7" fmla="*/ 22003 h 252691"/>
                <a:gd name="connsiteX8" fmla="*/ 10182 w 306855"/>
                <a:gd name="connsiteY8" fmla="*/ 0 h 252691"/>
                <a:gd name="connsiteX9" fmla="*/ 0 w 306855"/>
                <a:gd name="connsiteY9" fmla="*/ 0 h 252691"/>
                <a:gd name="connsiteX10" fmla="*/ 0 w 306855"/>
                <a:gd name="connsiteY10" fmla="*/ 183561 h 252691"/>
                <a:gd name="connsiteX11" fmla="*/ 26015 w 306855"/>
                <a:gd name="connsiteY11" fmla="*/ 209560 h 252691"/>
                <a:gd name="connsiteX12" fmla="*/ 79806 w 306855"/>
                <a:gd name="connsiteY12" fmla="*/ 209560 h 252691"/>
                <a:gd name="connsiteX13" fmla="*/ 79806 w 306855"/>
                <a:gd name="connsiteY13" fmla="*/ 184130 h 252691"/>
                <a:gd name="connsiteX14" fmla="*/ 92921 w 306855"/>
                <a:gd name="connsiteY14" fmla="*/ 171015 h 252691"/>
                <a:gd name="connsiteX15" fmla="*/ 171938 w 306855"/>
                <a:gd name="connsiteY15" fmla="*/ 171015 h 252691"/>
                <a:gd name="connsiteX16" fmla="*/ 233803 w 306855"/>
                <a:gd name="connsiteY16" fmla="*/ 232889 h 252691"/>
                <a:gd name="connsiteX17" fmla="*/ 265024 w 306855"/>
                <a:gd name="connsiteY17" fmla="*/ 232889 h 252691"/>
                <a:gd name="connsiteX18" fmla="*/ 284892 w 306855"/>
                <a:gd name="connsiteY18" fmla="*/ 252692 h 252691"/>
                <a:gd name="connsiteX19" fmla="*/ 306855 w 306855"/>
                <a:gd name="connsiteY19" fmla="*/ 252692 h 252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6855" h="252691">
                  <a:moveTo>
                    <a:pt x="200325" y="146162"/>
                  </a:moveTo>
                  <a:lnTo>
                    <a:pt x="200325" y="125024"/>
                  </a:lnTo>
                  <a:lnTo>
                    <a:pt x="217936" y="125024"/>
                  </a:lnTo>
                  <a:lnTo>
                    <a:pt x="217936" y="103029"/>
                  </a:lnTo>
                  <a:lnTo>
                    <a:pt x="169549" y="103029"/>
                  </a:lnTo>
                  <a:lnTo>
                    <a:pt x="115806" y="49287"/>
                  </a:lnTo>
                  <a:lnTo>
                    <a:pt x="115806" y="22003"/>
                  </a:lnTo>
                  <a:lnTo>
                    <a:pt x="32160" y="22003"/>
                  </a:lnTo>
                  <a:lnTo>
                    <a:pt x="10182" y="0"/>
                  </a:lnTo>
                  <a:lnTo>
                    <a:pt x="0" y="0"/>
                  </a:lnTo>
                  <a:lnTo>
                    <a:pt x="0" y="183561"/>
                  </a:lnTo>
                  <a:lnTo>
                    <a:pt x="26015" y="209560"/>
                  </a:lnTo>
                  <a:lnTo>
                    <a:pt x="79806" y="209560"/>
                  </a:lnTo>
                  <a:lnTo>
                    <a:pt x="79806" y="184130"/>
                  </a:lnTo>
                  <a:lnTo>
                    <a:pt x="92921" y="171015"/>
                  </a:lnTo>
                  <a:lnTo>
                    <a:pt x="171938" y="171015"/>
                  </a:lnTo>
                  <a:lnTo>
                    <a:pt x="233803" y="232889"/>
                  </a:lnTo>
                  <a:lnTo>
                    <a:pt x="265024" y="232889"/>
                  </a:lnTo>
                  <a:lnTo>
                    <a:pt x="284892" y="252692"/>
                  </a:lnTo>
                  <a:lnTo>
                    <a:pt x="306855" y="252692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5" name="Freeform: Shape 474">
              <a:extLst>
                <a:ext uri="{FF2B5EF4-FFF2-40B4-BE49-F238E27FC236}">
                  <a16:creationId xmlns:a16="http://schemas.microsoft.com/office/drawing/2014/main" id="{024D4F3A-32B1-161C-34D2-276F836B78C4}"/>
                </a:ext>
              </a:extLst>
            </p:cNvPr>
            <p:cNvSpPr/>
            <p:nvPr/>
          </p:nvSpPr>
          <p:spPr>
            <a:xfrm>
              <a:off x="9798146" y="4712617"/>
              <a:ext cx="306822" cy="241711"/>
            </a:xfrm>
            <a:custGeom>
              <a:avLst/>
              <a:gdLst>
                <a:gd name="connsiteX0" fmla="*/ 257099 w 306822"/>
                <a:gd name="connsiteY0" fmla="*/ 58150 h 241711"/>
                <a:gd name="connsiteX1" fmla="*/ 220969 w 306822"/>
                <a:gd name="connsiteY1" fmla="*/ 22044 h 241711"/>
                <a:gd name="connsiteX2" fmla="*/ 150569 w 306822"/>
                <a:gd name="connsiteY2" fmla="*/ 92477 h 241711"/>
                <a:gd name="connsiteX3" fmla="*/ 102131 w 306822"/>
                <a:gd name="connsiteY3" fmla="*/ 44055 h 241711"/>
                <a:gd name="connsiteX4" fmla="*/ 102131 w 306822"/>
                <a:gd name="connsiteY4" fmla="*/ 0 h 241711"/>
                <a:gd name="connsiteX5" fmla="*/ 38750 w 306822"/>
                <a:gd name="connsiteY5" fmla="*/ 0 h 241711"/>
                <a:gd name="connsiteX6" fmla="*/ 0 w 306822"/>
                <a:gd name="connsiteY6" fmla="*/ 22950 h 241711"/>
                <a:gd name="connsiteX7" fmla="*/ 40513 w 306822"/>
                <a:gd name="connsiteY7" fmla="*/ 22950 h 241711"/>
                <a:gd name="connsiteX8" fmla="*/ 40513 w 306822"/>
                <a:gd name="connsiteY8" fmla="*/ 45786 h 241711"/>
                <a:gd name="connsiteX9" fmla="*/ 82756 w 306822"/>
                <a:gd name="connsiteY9" fmla="*/ 45786 h 241711"/>
                <a:gd name="connsiteX10" fmla="*/ 82756 w 306822"/>
                <a:gd name="connsiteY10" fmla="*/ 63431 h 241711"/>
                <a:gd name="connsiteX11" fmla="*/ 49295 w 306822"/>
                <a:gd name="connsiteY11" fmla="*/ 63431 h 241711"/>
                <a:gd name="connsiteX12" fmla="*/ 49295 w 306822"/>
                <a:gd name="connsiteY12" fmla="*/ 93358 h 241711"/>
                <a:gd name="connsiteX13" fmla="*/ 74848 w 306822"/>
                <a:gd name="connsiteY13" fmla="*/ 118894 h 241711"/>
                <a:gd name="connsiteX14" fmla="*/ 88061 w 306822"/>
                <a:gd name="connsiteY14" fmla="*/ 105706 h 241711"/>
                <a:gd name="connsiteX15" fmla="*/ 88061 w 306822"/>
                <a:gd name="connsiteY15" fmla="*/ 77962 h 241711"/>
                <a:gd name="connsiteX16" fmla="*/ 106958 w 306822"/>
                <a:gd name="connsiteY16" fmla="*/ 77962 h 241711"/>
                <a:gd name="connsiteX17" fmla="*/ 165562 w 306822"/>
                <a:gd name="connsiteY17" fmla="*/ 136515 h 241711"/>
                <a:gd name="connsiteX18" fmla="*/ 224527 w 306822"/>
                <a:gd name="connsiteY18" fmla="*/ 136515 h 241711"/>
                <a:gd name="connsiteX19" fmla="*/ 255336 w 306822"/>
                <a:gd name="connsiteY19" fmla="*/ 167325 h 241711"/>
                <a:gd name="connsiteX20" fmla="*/ 255336 w 306822"/>
                <a:gd name="connsiteY20" fmla="*/ 202574 h 241711"/>
                <a:gd name="connsiteX21" fmla="*/ 234215 w 306822"/>
                <a:gd name="connsiteY21" fmla="*/ 202574 h 241711"/>
                <a:gd name="connsiteX22" fmla="*/ 234215 w 306822"/>
                <a:gd name="connsiteY22" fmla="*/ 224551 h 241711"/>
                <a:gd name="connsiteX23" fmla="*/ 289655 w 306822"/>
                <a:gd name="connsiteY23" fmla="*/ 224551 h 241711"/>
                <a:gd name="connsiteX24" fmla="*/ 306822 w 306822"/>
                <a:gd name="connsiteY24" fmla="*/ 241711 h 241711"/>
                <a:gd name="connsiteX25" fmla="*/ 306822 w 306822"/>
                <a:gd name="connsiteY25" fmla="*/ 58150 h 241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06822" h="241711">
                  <a:moveTo>
                    <a:pt x="257099" y="58150"/>
                  </a:moveTo>
                  <a:lnTo>
                    <a:pt x="220969" y="22044"/>
                  </a:lnTo>
                  <a:lnTo>
                    <a:pt x="150569" y="92477"/>
                  </a:lnTo>
                  <a:lnTo>
                    <a:pt x="102131" y="44055"/>
                  </a:lnTo>
                  <a:lnTo>
                    <a:pt x="102131" y="0"/>
                  </a:lnTo>
                  <a:lnTo>
                    <a:pt x="38750" y="0"/>
                  </a:lnTo>
                  <a:lnTo>
                    <a:pt x="0" y="22950"/>
                  </a:lnTo>
                  <a:lnTo>
                    <a:pt x="40513" y="22950"/>
                  </a:lnTo>
                  <a:lnTo>
                    <a:pt x="40513" y="45786"/>
                  </a:lnTo>
                  <a:lnTo>
                    <a:pt x="82756" y="45786"/>
                  </a:lnTo>
                  <a:lnTo>
                    <a:pt x="82756" y="63431"/>
                  </a:lnTo>
                  <a:lnTo>
                    <a:pt x="49295" y="63431"/>
                  </a:lnTo>
                  <a:lnTo>
                    <a:pt x="49295" y="93358"/>
                  </a:lnTo>
                  <a:lnTo>
                    <a:pt x="74848" y="118894"/>
                  </a:lnTo>
                  <a:lnTo>
                    <a:pt x="88061" y="105706"/>
                  </a:lnTo>
                  <a:lnTo>
                    <a:pt x="88061" y="77962"/>
                  </a:lnTo>
                  <a:lnTo>
                    <a:pt x="106958" y="77962"/>
                  </a:lnTo>
                  <a:lnTo>
                    <a:pt x="165562" y="136515"/>
                  </a:lnTo>
                  <a:lnTo>
                    <a:pt x="224527" y="136515"/>
                  </a:lnTo>
                  <a:lnTo>
                    <a:pt x="255336" y="167325"/>
                  </a:lnTo>
                  <a:lnTo>
                    <a:pt x="255336" y="202574"/>
                  </a:lnTo>
                  <a:lnTo>
                    <a:pt x="234215" y="202574"/>
                  </a:lnTo>
                  <a:lnTo>
                    <a:pt x="234215" y="224551"/>
                  </a:lnTo>
                  <a:lnTo>
                    <a:pt x="289655" y="224551"/>
                  </a:lnTo>
                  <a:lnTo>
                    <a:pt x="306822" y="241711"/>
                  </a:lnTo>
                  <a:lnTo>
                    <a:pt x="306822" y="5815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6" name="Freeform: Shape 475">
              <a:extLst>
                <a:ext uri="{FF2B5EF4-FFF2-40B4-BE49-F238E27FC236}">
                  <a16:creationId xmlns:a16="http://schemas.microsoft.com/office/drawing/2014/main" id="{8EFD07C0-296E-2541-6F33-050BD7782221}"/>
                </a:ext>
              </a:extLst>
            </p:cNvPr>
            <p:cNvSpPr/>
            <p:nvPr/>
          </p:nvSpPr>
          <p:spPr>
            <a:xfrm>
              <a:off x="3535308" y="4066475"/>
              <a:ext cx="169252" cy="81133"/>
            </a:xfrm>
            <a:custGeom>
              <a:avLst/>
              <a:gdLst>
                <a:gd name="connsiteX0" fmla="*/ 0 w 169252"/>
                <a:gd name="connsiteY0" fmla="*/ 48307 h 81133"/>
                <a:gd name="connsiteX1" fmla="*/ 55267 w 169252"/>
                <a:gd name="connsiteY1" fmla="*/ 48307 h 81133"/>
                <a:gd name="connsiteX2" fmla="*/ 88061 w 169252"/>
                <a:gd name="connsiteY2" fmla="*/ 81134 h 81133"/>
                <a:gd name="connsiteX3" fmla="*/ 108787 w 169252"/>
                <a:gd name="connsiteY3" fmla="*/ 60424 h 81133"/>
                <a:gd name="connsiteX4" fmla="*/ 169252 w 169252"/>
                <a:gd name="connsiteY4" fmla="*/ 60424 h 81133"/>
                <a:gd name="connsiteX5" fmla="*/ 169252 w 169252"/>
                <a:gd name="connsiteY5" fmla="*/ 25882 h 81133"/>
                <a:gd name="connsiteX6" fmla="*/ 126087 w 169252"/>
                <a:gd name="connsiteY6" fmla="*/ 25882 h 81133"/>
                <a:gd name="connsiteX7" fmla="*/ 126087 w 169252"/>
                <a:gd name="connsiteY7" fmla="*/ 0 h 81133"/>
                <a:gd name="connsiteX8" fmla="*/ 29351 w 169252"/>
                <a:gd name="connsiteY8" fmla="*/ 0 h 81133"/>
                <a:gd name="connsiteX9" fmla="*/ 32761 w 169252"/>
                <a:gd name="connsiteY9" fmla="*/ 27654 h 81133"/>
                <a:gd name="connsiteX10" fmla="*/ 0 w 169252"/>
                <a:gd name="connsiteY10" fmla="*/ 27654 h 81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9252" h="81133">
                  <a:moveTo>
                    <a:pt x="0" y="48307"/>
                  </a:moveTo>
                  <a:lnTo>
                    <a:pt x="55267" y="48307"/>
                  </a:lnTo>
                  <a:lnTo>
                    <a:pt x="88061" y="81134"/>
                  </a:lnTo>
                  <a:lnTo>
                    <a:pt x="108787" y="60424"/>
                  </a:lnTo>
                  <a:lnTo>
                    <a:pt x="169252" y="60424"/>
                  </a:lnTo>
                  <a:lnTo>
                    <a:pt x="169252" y="25882"/>
                  </a:lnTo>
                  <a:lnTo>
                    <a:pt x="126087" y="25882"/>
                  </a:lnTo>
                  <a:lnTo>
                    <a:pt x="126087" y="0"/>
                  </a:lnTo>
                  <a:lnTo>
                    <a:pt x="29351" y="0"/>
                  </a:lnTo>
                  <a:lnTo>
                    <a:pt x="32761" y="27654"/>
                  </a:lnTo>
                  <a:lnTo>
                    <a:pt x="0" y="27654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7" name="Freeform: Shape 476">
              <a:extLst>
                <a:ext uri="{FF2B5EF4-FFF2-40B4-BE49-F238E27FC236}">
                  <a16:creationId xmlns:a16="http://schemas.microsoft.com/office/drawing/2014/main" id="{A632EC09-DF42-D7C0-0DB8-43C87B12449E}"/>
                </a:ext>
              </a:extLst>
            </p:cNvPr>
            <p:cNvSpPr/>
            <p:nvPr/>
          </p:nvSpPr>
          <p:spPr>
            <a:xfrm>
              <a:off x="3229582" y="3959394"/>
              <a:ext cx="277223" cy="113119"/>
            </a:xfrm>
            <a:custGeom>
              <a:avLst/>
              <a:gdLst>
                <a:gd name="connsiteX0" fmla="*/ 176188 w 277223"/>
                <a:gd name="connsiteY0" fmla="*/ 46649 h 113119"/>
                <a:gd name="connsiteX1" fmla="*/ 129538 w 277223"/>
                <a:gd name="connsiteY1" fmla="*/ 0 h 113119"/>
                <a:gd name="connsiteX2" fmla="*/ 46625 w 277223"/>
                <a:gd name="connsiteY2" fmla="*/ 0 h 113119"/>
                <a:gd name="connsiteX3" fmla="*/ 32819 w 277223"/>
                <a:gd name="connsiteY3" fmla="*/ 15544 h 113119"/>
                <a:gd name="connsiteX4" fmla="*/ 0 w 277223"/>
                <a:gd name="connsiteY4" fmla="*/ 15544 h 113119"/>
                <a:gd name="connsiteX5" fmla="*/ 0 w 277223"/>
                <a:gd name="connsiteY5" fmla="*/ 33906 h 113119"/>
                <a:gd name="connsiteX6" fmla="*/ 74922 w 277223"/>
                <a:gd name="connsiteY6" fmla="*/ 33906 h 113119"/>
                <a:gd name="connsiteX7" fmla="*/ 100178 w 277223"/>
                <a:gd name="connsiteY7" fmla="*/ 59138 h 113119"/>
                <a:gd name="connsiteX8" fmla="*/ 149819 w 277223"/>
                <a:gd name="connsiteY8" fmla="*/ 59138 h 113119"/>
                <a:gd name="connsiteX9" fmla="*/ 203809 w 277223"/>
                <a:gd name="connsiteY9" fmla="*/ 113120 h 113119"/>
                <a:gd name="connsiteX10" fmla="*/ 277223 w 277223"/>
                <a:gd name="connsiteY10" fmla="*/ 113120 h 113119"/>
                <a:gd name="connsiteX11" fmla="*/ 210704 w 277223"/>
                <a:gd name="connsiteY11" fmla="*/ 46649 h 113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7223" h="113119">
                  <a:moveTo>
                    <a:pt x="176188" y="46649"/>
                  </a:moveTo>
                  <a:lnTo>
                    <a:pt x="129538" y="0"/>
                  </a:lnTo>
                  <a:lnTo>
                    <a:pt x="46625" y="0"/>
                  </a:lnTo>
                  <a:lnTo>
                    <a:pt x="32819" y="15544"/>
                  </a:lnTo>
                  <a:lnTo>
                    <a:pt x="0" y="15544"/>
                  </a:lnTo>
                  <a:lnTo>
                    <a:pt x="0" y="33906"/>
                  </a:lnTo>
                  <a:lnTo>
                    <a:pt x="74922" y="33906"/>
                  </a:lnTo>
                  <a:lnTo>
                    <a:pt x="100178" y="59138"/>
                  </a:lnTo>
                  <a:lnTo>
                    <a:pt x="149819" y="59138"/>
                  </a:lnTo>
                  <a:lnTo>
                    <a:pt x="203809" y="113120"/>
                  </a:lnTo>
                  <a:lnTo>
                    <a:pt x="277223" y="113120"/>
                  </a:lnTo>
                  <a:lnTo>
                    <a:pt x="210704" y="46649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8" name="Freeform: Shape 477">
              <a:extLst>
                <a:ext uri="{FF2B5EF4-FFF2-40B4-BE49-F238E27FC236}">
                  <a16:creationId xmlns:a16="http://schemas.microsoft.com/office/drawing/2014/main" id="{7A48F986-F5C2-0E48-E880-B418DF31B9C9}"/>
                </a:ext>
              </a:extLst>
            </p:cNvPr>
            <p:cNvSpPr/>
            <p:nvPr/>
          </p:nvSpPr>
          <p:spPr>
            <a:xfrm>
              <a:off x="5048265" y="1875835"/>
              <a:ext cx="266910" cy="139143"/>
            </a:xfrm>
            <a:custGeom>
              <a:avLst/>
              <a:gdLst>
                <a:gd name="connsiteX0" fmla="*/ 26781 w 266910"/>
                <a:gd name="connsiteY0" fmla="*/ 5939 h 139143"/>
                <a:gd name="connsiteX1" fmla="*/ 97493 w 266910"/>
                <a:gd name="connsiteY1" fmla="*/ 5939 h 139143"/>
                <a:gd name="connsiteX2" fmla="*/ 118063 w 266910"/>
                <a:gd name="connsiteY2" fmla="*/ 26517 h 139143"/>
                <a:gd name="connsiteX3" fmla="*/ 144580 w 266910"/>
                <a:gd name="connsiteY3" fmla="*/ 0 h 139143"/>
                <a:gd name="connsiteX4" fmla="*/ 236719 w 266910"/>
                <a:gd name="connsiteY4" fmla="*/ 0 h 139143"/>
                <a:gd name="connsiteX5" fmla="*/ 266910 w 266910"/>
                <a:gd name="connsiteY5" fmla="*/ 30200 h 139143"/>
                <a:gd name="connsiteX6" fmla="*/ 266910 w 266910"/>
                <a:gd name="connsiteY6" fmla="*/ 66561 h 139143"/>
                <a:gd name="connsiteX7" fmla="*/ 194335 w 266910"/>
                <a:gd name="connsiteY7" fmla="*/ 139143 h 139143"/>
                <a:gd name="connsiteX8" fmla="*/ 83349 w 266910"/>
                <a:gd name="connsiteY8" fmla="*/ 139143 h 139143"/>
                <a:gd name="connsiteX9" fmla="*/ 24078 w 266910"/>
                <a:gd name="connsiteY9" fmla="*/ 79872 h 139143"/>
                <a:gd name="connsiteX10" fmla="*/ 48182 w 266910"/>
                <a:gd name="connsiteY10" fmla="*/ 55761 h 139143"/>
                <a:gd name="connsiteX11" fmla="*/ 9621 w 266910"/>
                <a:gd name="connsiteY11" fmla="*/ 17208 h 139143"/>
                <a:gd name="connsiteX12" fmla="*/ 0 w 266910"/>
                <a:gd name="connsiteY12" fmla="*/ 7587 h 139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6910" h="139143">
                  <a:moveTo>
                    <a:pt x="26781" y="5939"/>
                  </a:moveTo>
                  <a:lnTo>
                    <a:pt x="97493" y="5939"/>
                  </a:lnTo>
                  <a:lnTo>
                    <a:pt x="118063" y="26517"/>
                  </a:lnTo>
                  <a:lnTo>
                    <a:pt x="144580" y="0"/>
                  </a:lnTo>
                  <a:lnTo>
                    <a:pt x="236719" y="0"/>
                  </a:lnTo>
                  <a:lnTo>
                    <a:pt x="266910" y="30200"/>
                  </a:lnTo>
                  <a:lnTo>
                    <a:pt x="266910" y="66561"/>
                  </a:lnTo>
                  <a:lnTo>
                    <a:pt x="194335" y="139143"/>
                  </a:lnTo>
                  <a:lnTo>
                    <a:pt x="83349" y="139143"/>
                  </a:lnTo>
                  <a:lnTo>
                    <a:pt x="24078" y="79872"/>
                  </a:lnTo>
                  <a:lnTo>
                    <a:pt x="48182" y="55761"/>
                  </a:lnTo>
                  <a:lnTo>
                    <a:pt x="9621" y="17208"/>
                  </a:lnTo>
                  <a:lnTo>
                    <a:pt x="0" y="7587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479" name="Graphic 6">
              <a:extLst>
                <a:ext uri="{FF2B5EF4-FFF2-40B4-BE49-F238E27FC236}">
                  <a16:creationId xmlns:a16="http://schemas.microsoft.com/office/drawing/2014/main" id="{4B06749F-3478-39FF-6404-B55E4D3CE380}"/>
                </a:ext>
              </a:extLst>
            </p:cNvPr>
            <p:cNvGrpSpPr/>
            <p:nvPr/>
          </p:nvGrpSpPr>
          <p:grpSpPr>
            <a:xfrm>
              <a:off x="6028491" y="812737"/>
              <a:ext cx="377930" cy="422636"/>
              <a:chOff x="6028491" y="812737"/>
              <a:chExt cx="377930" cy="422636"/>
            </a:xfrm>
            <a:grpFill/>
          </p:grpSpPr>
          <p:sp>
            <p:nvSpPr>
              <p:cNvPr id="880" name="Freeform: Shape 879">
                <a:extLst>
                  <a:ext uri="{FF2B5EF4-FFF2-40B4-BE49-F238E27FC236}">
                    <a16:creationId xmlns:a16="http://schemas.microsoft.com/office/drawing/2014/main" id="{A1E0C1BE-78D4-509A-DDE7-6EB153903B47}"/>
                  </a:ext>
                </a:extLst>
              </p:cNvPr>
              <p:cNvSpPr/>
              <p:nvPr/>
            </p:nvSpPr>
            <p:spPr>
              <a:xfrm>
                <a:off x="6255947" y="1042912"/>
                <a:ext cx="69250" cy="103251"/>
              </a:xfrm>
              <a:custGeom>
                <a:avLst/>
                <a:gdLst>
                  <a:gd name="connsiteX0" fmla="*/ 20228 w 69250"/>
                  <a:gd name="connsiteY0" fmla="*/ 103251 h 103251"/>
                  <a:gd name="connsiteX1" fmla="*/ 69251 w 69250"/>
                  <a:gd name="connsiteY1" fmla="*/ 54212 h 103251"/>
                  <a:gd name="connsiteX2" fmla="*/ 15035 w 69250"/>
                  <a:gd name="connsiteY2" fmla="*/ 0 h 103251"/>
                  <a:gd name="connsiteX3" fmla="*/ 0 w 69250"/>
                  <a:gd name="connsiteY3" fmla="*/ 15046 h 103251"/>
                  <a:gd name="connsiteX4" fmla="*/ 0 w 69250"/>
                  <a:gd name="connsiteY4" fmla="*/ 51621 h 103251"/>
                  <a:gd name="connsiteX5" fmla="*/ 17823 w 69250"/>
                  <a:gd name="connsiteY5" fmla="*/ 69452 h 103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9250" h="103251">
                    <a:moveTo>
                      <a:pt x="20228" y="103251"/>
                    </a:moveTo>
                    <a:lnTo>
                      <a:pt x="69251" y="54212"/>
                    </a:lnTo>
                    <a:lnTo>
                      <a:pt x="15035" y="0"/>
                    </a:lnTo>
                    <a:lnTo>
                      <a:pt x="0" y="15046"/>
                    </a:lnTo>
                    <a:lnTo>
                      <a:pt x="0" y="51621"/>
                    </a:lnTo>
                    <a:lnTo>
                      <a:pt x="17823" y="69452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1" name="Freeform: Shape 880">
                <a:extLst>
                  <a:ext uri="{FF2B5EF4-FFF2-40B4-BE49-F238E27FC236}">
                    <a16:creationId xmlns:a16="http://schemas.microsoft.com/office/drawing/2014/main" id="{3E3DDC11-5294-9ACC-F2DA-C16675A9AF7B}"/>
                  </a:ext>
                </a:extLst>
              </p:cNvPr>
              <p:cNvSpPr/>
              <p:nvPr/>
            </p:nvSpPr>
            <p:spPr>
              <a:xfrm>
                <a:off x="6028491" y="870928"/>
                <a:ext cx="247020" cy="364444"/>
              </a:xfrm>
              <a:custGeom>
                <a:avLst/>
                <a:gdLst>
                  <a:gd name="connsiteX0" fmla="*/ 151376 w 247020"/>
                  <a:gd name="connsiteY0" fmla="*/ 285947 h 364444"/>
                  <a:gd name="connsiteX1" fmla="*/ 151376 w 247020"/>
                  <a:gd name="connsiteY1" fmla="*/ 318062 h 364444"/>
                  <a:gd name="connsiteX2" fmla="*/ 127895 w 247020"/>
                  <a:gd name="connsiteY2" fmla="*/ 341552 h 364444"/>
                  <a:gd name="connsiteX3" fmla="*/ 127895 w 247020"/>
                  <a:gd name="connsiteY3" fmla="*/ 364445 h 364444"/>
                  <a:gd name="connsiteX4" fmla="*/ 100068 w 247020"/>
                  <a:gd name="connsiteY4" fmla="*/ 336606 h 364444"/>
                  <a:gd name="connsiteX5" fmla="*/ 100068 w 247020"/>
                  <a:gd name="connsiteY5" fmla="*/ 303168 h 364444"/>
                  <a:gd name="connsiteX6" fmla="*/ 82640 w 247020"/>
                  <a:gd name="connsiteY6" fmla="*/ 285759 h 364444"/>
                  <a:gd name="connsiteX7" fmla="*/ 97786 w 247020"/>
                  <a:gd name="connsiteY7" fmla="*/ 270613 h 364444"/>
                  <a:gd name="connsiteX8" fmla="*/ 97786 w 247020"/>
                  <a:gd name="connsiteY8" fmla="*/ 245529 h 364444"/>
                  <a:gd name="connsiteX9" fmla="*/ 68109 w 247020"/>
                  <a:gd name="connsiteY9" fmla="*/ 245529 h 364444"/>
                  <a:gd name="connsiteX10" fmla="*/ 68109 w 247020"/>
                  <a:gd name="connsiteY10" fmla="*/ 215964 h 364444"/>
                  <a:gd name="connsiteX11" fmla="*/ 122223 w 247020"/>
                  <a:gd name="connsiteY11" fmla="*/ 161859 h 364444"/>
                  <a:gd name="connsiteX12" fmla="*/ 122223 w 247020"/>
                  <a:gd name="connsiteY12" fmla="*/ 144477 h 364444"/>
                  <a:gd name="connsiteX13" fmla="*/ 81879 w 247020"/>
                  <a:gd name="connsiteY13" fmla="*/ 184838 h 364444"/>
                  <a:gd name="connsiteX14" fmla="*/ 68616 w 247020"/>
                  <a:gd name="connsiteY14" fmla="*/ 171566 h 364444"/>
                  <a:gd name="connsiteX15" fmla="*/ 43619 w 247020"/>
                  <a:gd name="connsiteY15" fmla="*/ 196564 h 364444"/>
                  <a:gd name="connsiteX16" fmla="*/ 0 w 247020"/>
                  <a:gd name="connsiteY16" fmla="*/ 152938 h 364444"/>
                  <a:gd name="connsiteX17" fmla="*/ 0 w 247020"/>
                  <a:gd name="connsiteY17" fmla="*/ 128245 h 364444"/>
                  <a:gd name="connsiteX18" fmla="*/ 21938 w 247020"/>
                  <a:gd name="connsiteY18" fmla="*/ 106296 h 364444"/>
                  <a:gd name="connsiteX19" fmla="*/ 3258 w 247020"/>
                  <a:gd name="connsiteY19" fmla="*/ 87620 h 364444"/>
                  <a:gd name="connsiteX20" fmla="*/ 3258 w 247020"/>
                  <a:gd name="connsiteY20" fmla="*/ 48388 h 364444"/>
                  <a:gd name="connsiteX21" fmla="*/ 25298 w 247020"/>
                  <a:gd name="connsiteY21" fmla="*/ 26340 h 364444"/>
                  <a:gd name="connsiteX22" fmla="*/ 40154 w 247020"/>
                  <a:gd name="connsiteY22" fmla="*/ 41193 h 364444"/>
                  <a:gd name="connsiteX23" fmla="*/ 57886 w 247020"/>
                  <a:gd name="connsiteY23" fmla="*/ 23473 h 364444"/>
                  <a:gd name="connsiteX24" fmla="*/ 77862 w 247020"/>
                  <a:gd name="connsiteY24" fmla="*/ 43442 h 364444"/>
                  <a:gd name="connsiteX25" fmla="*/ 77862 w 247020"/>
                  <a:gd name="connsiteY25" fmla="*/ 62825 h 364444"/>
                  <a:gd name="connsiteX26" fmla="*/ 91847 w 247020"/>
                  <a:gd name="connsiteY26" fmla="*/ 48833 h 364444"/>
                  <a:gd name="connsiteX27" fmla="*/ 111304 w 247020"/>
                  <a:gd name="connsiteY27" fmla="*/ 68282 h 364444"/>
                  <a:gd name="connsiteX28" fmla="*/ 111304 w 247020"/>
                  <a:gd name="connsiteY28" fmla="*/ 0 h 364444"/>
                  <a:gd name="connsiteX29" fmla="*/ 140997 w 247020"/>
                  <a:gd name="connsiteY29" fmla="*/ 0 h 364444"/>
                  <a:gd name="connsiteX30" fmla="*/ 140997 w 247020"/>
                  <a:gd name="connsiteY30" fmla="*/ 19824 h 364444"/>
                  <a:gd name="connsiteX31" fmla="*/ 157435 w 247020"/>
                  <a:gd name="connsiteY31" fmla="*/ 36254 h 364444"/>
                  <a:gd name="connsiteX32" fmla="*/ 157435 w 247020"/>
                  <a:gd name="connsiteY32" fmla="*/ 55481 h 364444"/>
                  <a:gd name="connsiteX33" fmla="*/ 174191 w 247020"/>
                  <a:gd name="connsiteY33" fmla="*/ 55481 h 364444"/>
                  <a:gd name="connsiteX34" fmla="*/ 174191 w 247020"/>
                  <a:gd name="connsiteY34" fmla="*/ 87612 h 364444"/>
                  <a:gd name="connsiteX35" fmla="*/ 208731 w 247020"/>
                  <a:gd name="connsiteY35" fmla="*/ 87612 h 364444"/>
                  <a:gd name="connsiteX36" fmla="*/ 226710 w 247020"/>
                  <a:gd name="connsiteY36" fmla="*/ 105599 h 364444"/>
                  <a:gd name="connsiteX37" fmla="*/ 247021 w 247020"/>
                  <a:gd name="connsiteY37" fmla="*/ 125893 h 364444"/>
                  <a:gd name="connsiteX38" fmla="*/ 230701 w 247020"/>
                  <a:gd name="connsiteY38" fmla="*/ 142204 h 364444"/>
                  <a:gd name="connsiteX39" fmla="*/ 211248 w 247020"/>
                  <a:gd name="connsiteY39" fmla="*/ 142204 h 364444"/>
                  <a:gd name="connsiteX40" fmla="*/ 183338 w 247020"/>
                  <a:gd name="connsiteY40" fmla="*/ 170117 h 364444"/>
                  <a:gd name="connsiteX41" fmla="*/ 183338 w 247020"/>
                  <a:gd name="connsiteY41" fmla="*/ 200535 h 364444"/>
                  <a:gd name="connsiteX42" fmla="*/ 165216 w 247020"/>
                  <a:gd name="connsiteY42" fmla="*/ 218654 h 364444"/>
                  <a:gd name="connsiteX43" fmla="*/ 165216 w 247020"/>
                  <a:gd name="connsiteY43" fmla="*/ 249203 h 364444"/>
                  <a:gd name="connsiteX44" fmla="*/ 150581 w 247020"/>
                  <a:gd name="connsiteY44" fmla="*/ 263837 h 364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247020" h="364444">
                    <a:moveTo>
                      <a:pt x="151376" y="285947"/>
                    </a:moveTo>
                    <a:lnTo>
                      <a:pt x="151376" y="318062"/>
                    </a:lnTo>
                    <a:lnTo>
                      <a:pt x="127895" y="341552"/>
                    </a:lnTo>
                    <a:lnTo>
                      <a:pt x="127895" y="364445"/>
                    </a:lnTo>
                    <a:lnTo>
                      <a:pt x="100068" y="336606"/>
                    </a:lnTo>
                    <a:lnTo>
                      <a:pt x="100068" y="303168"/>
                    </a:lnTo>
                    <a:lnTo>
                      <a:pt x="82640" y="285759"/>
                    </a:lnTo>
                    <a:lnTo>
                      <a:pt x="97786" y="270613"/>
                    </a:lnTo>
                    <a:lnTo>
                      <a:pt x="97786" y="245529"/>
                    </a:lnTo>
                    <a:lnTo>
                      <a:pt x="68109" y="245529"/>
                    </a:lnTo>
                    <a:lnTo>
                      <a:pt x="68109" y="215964"/>
                    </a:lnTo>
                    <a:lnTo>
                      <a:pt x="122223" y="161859"/>
                    </a:lnTo>
                    <a:lnTo>
                      <a:pt x="122223" y="144477"/>
                    </a:lnTo>
                    <a:lnTo>
                      <a:pt x="81879" y="184838"/>
                    </a:lnTo>
                    <a:lnTo>
                      <a:pt x="68616" y="171566"/>
                    </a:lnTo>
                    <a:lnTo>
                      <a:pt x="43619" y="196564"/>
                    </a:lnTo>
                    <a:lnTo>
                      <a:pt x="0" y="152938"/>
                    </a:lnTo>
                    <a:lnTo>
                      <a:pt x="0" y="128245"/>
                    </a:lnTo>
                    <a:lnTo>
                      <a:pt x="21938" y="106296"/>
                    </a:lnTo>
                    <a:lnTo>
                      <a:pt x="3258" y="87620"/>
                    </a:lnTo>
                    <a:lnTo>
                      <a:pt x="3258" y="48388"/>
                    </a:lnTo>
                    <a:lnTo>
                      <a:pt x="25298" y="26340"/>
                    </a:lnTo>
                    <a:lnTo>
                      <a:pt x="40154" y="41193"/>
                    </a:lnTo>
                    <a:lnTo>
                      <a:pt x="57886" y="23473"/>
                    </a:lnTo>
                    <a:lnTo>
                      <a:pt x="77862" y="43442"/>
                    </a:lnTo>
                    <a:lnTo>
                      <a:pt x="77862" y="62825"/>
                    </a:lnTo>
                    <a:lnTo>
                      <a:pt x="91847" y="48833"/>
                    </a:lnTo>
                    <a:lnTo>
                      <a:pt x="111304" y="68282"/>
                    </a:lnTo>
                    <a:lnTo>
                      <a:pt x="111304" y="0"/>
                    </a:lnTo>
                    <a:lnTo>
                      <a:pt x="140997" y="0"/>
                    </a:lnTo>
                    <a:lnTo>
                      <a:pt x="140997" y="19824"/>
                    </a:lnTo>
                    <a:lnTo>
                      <a:pt x="157435" y="36254"/>
                    </a:lnTo>
                    <a:lnTo>
                      <a:pt x="157435" y="55481"/>
                    </a:lnTo>
                    <a:lnTo>
                      <a:pt x="174191" y="55481"/>
                    </a:lnTo>
                    <a:lnTo>
                      <a:pt x="174191" y="87612"/>
                    </a:lnTo>
                    <a:lnTo>
                      <a:pt x="208731" y="87612"/>
                    </a:lnTo>
                    <a:lnTo>
                      <a:pt x="226710" y="105599"/>
                    </a:lnTo>
                    <a:lnTo>
                      <a:pt x="247021" y="125893"/>
                    </a:lnTo>
                    <a:lnTo>
                      <a:pt x="230701" y="142204"/>
                    </a:lnTo>
                    <a:lnTo>
                      <a:pt x="211248" y="142204"/>
                    </a:lnTo>
                    <a:lnTo>
                      <a:pt x="183338" y="170117"/>
                    </a:lnTo>
                    <a:lnTo>
                      <a:pt x="183338" y="200535"/>
                    </a:lnTo>
                    <a:lnTo>
                      <a:pt x="165216" y="218654"/>
                    </a:lnTo>
                    <a:lnTo>
                      <a:pt x="165216" y="249203"/>
                    </a:lnTo>
                    <a:lnTo>
                      <a:pt x="150581" y="263837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2" name="Freeform: Shape 881">
                <a:extLst>
                  <a:ext uri="{FF2B5EF4-FFF2-40B4-BE49-F238E27FC236}">
                    <a16:creationId xmlns:a16="http://schemas.microsoft.com/office/drawing/2014/main" id="{4E24991F-EA4A-8428-6061-EDFB9516E8C8}"/>
                  </a:ext>
                </a:extLst>
              </p:cNvPr>
              <p:cNvSpPr/>
              <p:nvPr/>
            </p:nvSpPr>
            <p:spPr>
              <a:xfrm>
                <a:off x="6195153" y="812737"/>
                <a:ext cx="211268" cy="141244"/>
              </a:xfrm>
              <a:custGeom>
                <a:avLst/>
                <a:gdLst>
                  <a:gd name="connsiteX0" fmla="*/ 152081 w 211268"/>
                  <a:gd name="connsiteY0" fmla="*/ 129963 h 141244"/>
                  <a:gd name="connsiteX1" fmla="*/ 186037 w 211268"/>
                  <a:gd name="connsiteY1" fmla="*/ 95999 h 141244"/>
                  <a:gd name="connsiteX2" fmla="*/ 186037 w 211268"/>
                  <a:gd name="connsiteY2" fmla="*/ 76026 h 141244"/>
                  <a:gd name="connsiteX3" fmla="*/ 194744 w 211268"/>
                  <a:gd name="connsiteY3" fmla="*/ 67323 h 141244"/>
                  <a:gd name="connsiteX4" fmla="*/ 194744 w 211268"/>
                  <a:gd name="connsiteY4" fmla="*/ 52355 h 141244"/>
                  <a:gd name="connsiteX5" fmla="*/ 211269 w 211268"/>
                  <a:gd name="connsiteY5" fmla="*/ 35826 h 141244"/>
                  <a:gd name="connsiteX6" fmla="*/ 171686 w 211268"/>
                  <a:gd name="connsiteY6" fmla="*/ 35826 h 141244"/>
                  <a:gd name="connsiteX7" fmla="*/ 156703 w 211268"/>
                  <a:gd name="connsiteY7" fmla="*/ 20867 h 141244"/>
                  <a:gd name="connsiteX8" fmla="*/ 128734 w 211268"/>
                  <a:gd name="connsiteY8" fmla="*/ 20867 h 141244"/>
                  <a:gd name="connsiteX9" fmla="*/ 114245 w 211268"/>
                  <a:gd name="connsiteY9" fmla="*/ 35349 h 141244"/>
                  <a:gd name="connsiteX10" fmla="*/ 97753 w 211268"/>
                  <a:gd name="connsiteY10" fmla="*/ 35349 h 141244"/>
                  <a:gd name="connsiteX11" fmla="*/ 97753 w 211268"/>
                  <a:gd name="connsiteY11" fmla="*/ 0 h 141244"/>
                  <a:gd name="connsiteX12" fmla="*/ 82834 w 211268"/>
                  <a:gd name="connsiteY12" fmla="*/ 0 h 141244"/>
                  <a:gd name="connsiteX13" fmla="*/ 82834 w 211268"/>
                  <a:gd name="connsiteY13" fmla="*/ 21851 h 141244"/>
                  <a:gd name="connsiteX14" fmla="*/ 65337 w 211268"/>
                  <a:gd name="connsiteY14" fmla="*/ 21851 h 141244"/>
                  <a:gd name="connsiteX15" fmla="*/ 51535 w 211268"/>
                  <a:gd name="connsiteY15" fmla="*/ 21851 h 141244"/>
                  <a:gd name="connsiteX16" fmla="*/ 34223 w 211268"/>
                  <a:gd name="connsiteY16" fmla="*/ 4543 h 141244"/>
                  <a:gd name="connsiteX17" fmla="*/ 19989 w 211268"/>
                  <a:gd name="connsiteY17" fmla="*/ 18774 h 141244"/>
                  <a:gd name="connsiteX18" fmla="*/ 0 w 211268"/>
                  <a:gd name="connsiteY18" fmla="*/ 38759 h 141244"/>
                  <a:gd name="connsiteX19" fmla="*/ 16916 w 211268"/>
                  <a:gd name="connsiteY19" fmla="*/ 55671 h 141244"/>
                  <a:gd name="connsiteX20" fmla="*/ 3130 w 211268"/>
                  <a:gd name="connsiteY20" fmla="*/ 69473 h 141244"/>
                  <a:gd name="connsiteX21" fmla="*/ 3130 w 211268"/>
                  <a:gd name="connsiteY21" fmla="*/ 86876 h 141244"/>
                  <a:gd name="connsiteX22" fmla="*/ 29063 w 211268"/>
                  <a:gd name="connsiteY22" fmla="*/ 86876 h 141244"/>
                  <a:gd name="connsiteX23" fmla="*/ 48380 w 211268"/>
                  <a:gd name="connsiteY23" fmla="*/ 67570 h 141244"/>
                  <a:gd name="connsiteX24" fmla="*/ 73995 w 211268"/>
                  <a:gd name="connsiteY24" fmla="*/ 67570 h 141244"/>
                  <a:gd name="connsiteX25" fmla="*/ 73995 w 211268"/>
                  <a:gd name="connsiteY25" fmla="*/ 86113 h 141244"/>
                  <a:gd name="connsiteX26" fmla="*/ 56737 w 211268"/>
                  <a:gd name="connsiteY26" fmla="*/ 86113 h 141244"/>
                  <a:gd name="connsiteX27" fmla="*/ 56737 w 211268"/>
                  <a:gd name="connsiteY27" fmla="*/ 97527 h 141244"/>
                  <a:gd name="connsiteX28" fmla="*/ 43107 w 211268"/>
                  <a:gd name="connsiteY28" fmla="*/ 97527 h 141244"/>
                  <a:gd name="connsiteX29" fmla="*/ 32646 w 211268"/>
                  <a:gd name="connsiteY29" fmla="*/ 107997 h 141244"/>
                  <a:gd name="connsiteX30" fmla="*/ 41630 w 211268"/>
                  <a:gd name="connsiteY30" fmla="*/ 116976 h 141244"/>
                  <a:gd name="connsiteX31" fmla="*/ 73995 w 211268"/>
                  <a:gd name="connsiteY31" fmla="*/ 116976 h 141244"/>
                  <a:gd name="connsiteX32" fmla="*/ 86138 w 211268"/>
                  <a:gd name="connsiteY32" fmla="*/ 129123 h 141244"/>
                  <a:gd name="connsiteX33" fmla="*/ 117458 w 211268"/>
                  <a:gd name="connsiteY33" fmla="*/ 129123 h 141244"/>
                  <a:gd name="connsiteX34" fmla="*/ 129583 w 211268"/>
                  <a:gd name="connsiteY34" fmla="*/ 141244 h 141244"/>
                  <a:gd name="connsiteX35" fmla="*/ 148884 w 211268"/>
                  <a:gd name="connsiteY35" fmla="*/ 141244 h 141244"/>
                  <a:gd name="connsiteX36" fmla="*/ 152081 w 211268"/>
                  <a:gd name="connsiteY36" fmla="*/ 141244 h 141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11268" h="141244">
                    <a:moveTo>
                      <a:pt x="152081" y="129963"/>
                    </a:moveTo>
                    <a:lnTo>
                      <a:pt x="186037" y="95999"/>
                    </a:lnTo>
                    <a:lnTo>
                      <a:pt x="186037" y="76026"/>
                    </a:lnTo>
                    <a:lnTo>
                      <a:pt x="194744" y="67323"/>
                    </a:lnTo>
                    <a:lnTo>
                      <a:pt x="194744" y="52355"/>
                    </a:lnTo>
                    <a:lnTo>
                      <a:pt x="211269" y="35826"/>
                    </a:lnTo>
                    <a:lnTo>
                      <a:pt x="171686" y="35826"/>
                    </a:lnTo>
                    <a:lnTo>
                      <a:pt x="156703" y="20867"/>
                    </a:lnTo>
                    <a:lnTo>
                      <a:pt x="128734" y="20867"/>
                    </a:lnTo>
                    <a:lnTo>
                      <a:pt x="114245" y="35349"/>
                    </a:lnTo>
                    <a:lnTo>
                      <a:pt x="97753" y="35349"/>
                    </a:lnTo>
                    <a:lnTo>
                      <a:pt x="97753" y="0"/>
                    </a:lnTo>
                    <a:lnTo>
                      <a:pt x="82834" y="0"/>
                    </a:lnTo>
                    <a:lnTo>
                      <a:pt x="82834" y="21851"/>
                    </a:lnTo>
                    <a:lnTo>
                      <a:pt x="65337" y="21851"/>
                    </a:lnTo>
                    <a:lnTo>
                      <a:pt x="51535" y="21851"/>
                    </a:lnTo>
                    <a:lnTo>
                      <a:pt x="34223" y="4543"/>
                    </a:lnTo>
                    <a:lnTo>
                      <a:pt x="19989" y="18774"/>
                    </a:lnTo>
                    <a:lnTo>
                      <a:pt x="0" y="38759"/>
                    </a:lnTo>
                    <a:lnTo>
                      <a:pt x="16916" y="55671"/>
                    </a:lnTo>
                    <a:lnTo>
                      <a:pt x="3130" y="69473"/>
                    </a:lnTo>
                    <a:lnTo>
                      <a:pt x="3130" y="86876"/>
                    </a:lnTo>
                    <a:lnTo>
                      <a:pt x="29063" y="86876"/>
                    </a:lnTo>
                    <a:lnTo>
                      <a:pt x="48380" y="67570"/>
                    </a:lnTo>
                    <a:lnTo>
                      <a:pt x="73995" y="67570"/>
                    </a:lnTo>
                    <a:lnTo>
                      <a:pt x="73995" y="86113"/>
                    </a:lnTo>
                    <a:lnTo>
                      <a:pt x="56737" y="86113"/>
                    </a:lnTo>
                    <a:lnTo>
                      <a:pt x="56737" y="97527"/>
                    </a:lnTo>
                    <a:lnTo>
                      <a:pt x="43107" y="97527"/>
                    </a:lnTo>
                    <a:lnTo>
                      <a:pt x="32646" y="107997"/>
                    </a:lnTo>
                    <a:lnTo>
                      <a:pt x="41630" y="116976"/>
                    </a:lnTo>
                    <a:lnTo>
                      <a:pt x="73995" y="116976"/>
                    </a:lnTo>
                    <a:lnTo>
                      <a:pt x="86138" y="129123"/>
                    </a:lnTo>
                    <a:lnTo>
                      <a:pt x="117458" y="129123"/>
                    </a:lnTo>
                    <a:lnTo>
                      <a:pt x="129583" y="141244"/>
                    </a:lnTo>
                    <a:lnTo>
                      <a:pt x="148884" y="141244"/>
                    </a:lnTo>
                    <a:lnTo>
                      <a:pt x="152081" y="141244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80" name="Freeform: Shape 479">
              <a:extLst>
                <a:ext uri="{FF2B5EF4-FFF2-40B4-BE49-F238E27FC236}">
                  <a16:creationId xmlns:a16="http://schemas.microsoft.com/office/drawing/2014/main" id="{4BD521B4-15CD-B8F5-2D82-12320AA6B937}"/>
                </a:ext>
              </a:extLst>
            </p:cNvPr>
            <p:cNvSpPr/>
            <p:nvPr/>
          </p:nvSpPr>
          <p:spPr>
            <a:xfrm>
              <a:off x="2205840" y="3611333"/>
              <a:ext cx="942584" cy="606345"/>
            </a:xfrm>
            <a:custGeom>
              <a:avLst/>
              <a:gdLst>
                <a:gd name="connsiteX0" fmla="*/ 875200 w 942584"/>
                <a:gd name="connsiteY0" fmla="*/ 524735 h 606345"/>
                <a:gd name="connsiteX1" fmla="*/ 875200 w 942584"/>
                <a:gd name="connsiteY1" fmla="*/ 506941 h 606345"/>
                <a:gd name="connsiteX2" fmla="*/ 904575 w 942584"/>
                <a:gd name="connsiteY2" fmla="*/ 506941 h 606345"/>
                <a:gd name="connsiteX3" fmla="*/ 904575 w 942584"/>
                <a:gd name="connsiteY3" fmla="*/ 462038 h 606345"/>
                <a:gd name="connsiteX4" fmla="*/ 942585 w 942584"/>
                <a:gd name="connsiteY4" fmla="*/ 424029 h 606345"/>
                <a:gd name="connsiteX5" fmla="*/ 942585 w 942584"/>
                <a:gd name="connsiteY5" fmla="*/ 403360 h 606345"/>
                <a:gd name="connsiteX6" fmla="*/ 851038 w 942584"/>
                <a:gd name="connsiteY6" fmla="*/ 403360 h 606345"/>
                <a:gd name="connsiteX7" fmla="*/ 831218 w 942584"/>
                <a:gd name="connsiteY7" fmla="*/ 410032 h 606345"/>
                <a:gd name="connsiteX8" fmla="*/ 831218 w 942584"/>
                <a:gd name="connsiteY8" fmla="*/ 475193 h 606345"/>
                <a:gd name="connsiteX9" fmla="*/ 800401 w 942584"/>
                <a:gd name="connsiteY9" fmla="*/ 505994 h 606345"/>
                <a:gd name="connsiteX10" fmla="*/ 656868 w 942584"/>
                <a:gd name="connsiteY10" fmla="*/ 505994 h 606345"/>
                <a:gd name="connsiteX11" fmla="*/ 635317 w 942584"/>
                <a:gd name="connsiteY11" fmla="*/ 484428 h 606345"/>
                <a:gd name="connsiteX12" fmla="*/ 635317 w 942584"/>
                <a:gd name="connsiteY12" fmla="*/ 408262 h 606345"/>
                <a:gd name="connsiteX13" fmla="*/ 608224 w 942584"/>
                <a:gd name="connsiteY13" fmla="*/ 381209 h 606345"/>
                <a:gd name="connsiteX14" fmla="*/ 608224 w 942584"/>
                <a:gd name="connsiteY14" fmla="*/ 297308 h 606345"/>
                <a:gd name="connsiteX15" fmla="*/ 629914 w 942584"/>
                <a:gd name="connsiteY15" fmla="*/ 275643 h 606345"/>
                <a:gd name="connsiteX16" fmla="*/ 629914 w 942584"/>
                <a:gd name="connsiteY16" fmla="*/ 226669 h 606345"/>
                <a:gd name="connsiteX17" fmla="*/ 542198 w 942584"/>
                <a:gd name="connsiteY17" fmla="*/ 226669 h 606345"/>
                <a:gd name="connsiteX18" fmla="*/ 542198 w 942584"/>
                <a:gd name="connsiteY18" fmla="*/ 177911 h 606345"/>
                <a:gd name="connsiteX19" fmla="*/ 487508 w 942584"/>
                <a:gd name="connsiteY19" fmla="*/ 123204 h 606345"/>
                <a:gd name="connsiteX20" fmla="*/ 445734 w 942584"/>
                <a:gd name="connsiteY20" fmla="*/ 123204 h 606345"/>
                <a:gd name="connsiteX21" fmla="*/ 424102 w 942584"/>
                <a:gd name="connsiteY21" fmla="*/ 144852 h 606345"/>
                <a:gd name="connsiteX22" fmla="*/ 400773 w 942584"/>
                <a:gd name="connsiteY22" fmla="*/ 121523 h 606345"/>
                <a:gd name="connsiteX23" fmla="*/ 400773 w 942584"/>
                <a:gd name="connsiteY23" fmla="*/ 92214 h 606345"/>
                <a:gd name="connsiteX24" fmla="*/ 341709 w 942584"/>
                <a:gd name="connsiteY24" fmla="*/ 33133 h 606345"/>
                <a:gd name="connsiteX25" fmla="*/ 274727 w 942584"/>
                <a:gd name="connsiteY25" fmla="*/ 33133 h 606345"/>
                <a:gd name="connsiteX26" fmla="*/ 274727 w 942584"/>
                <a:gd name="connsiteY26" fmla="*/ 46988 h 606345"/>
                <a:gd name="connsiteX27" fmla="*/ 214411 w 942584"/>
                <a:gd name="connsiteY27" fmla="*/ 46988 h 606345"/>
                <a:gd name="connsiteX28" fmla="*/ 196980 w 942584"/>
                <a:gd name="connsiteY28" fmla="*/ 29565 h 606345"/>
                <a:gd name="connsiteX29" fmla="*/ 112675 w 942584"/>
                <a:gd name="connsiteY29" fmla="*/ 29565 h 606345"/>
                <a:gd name="connsiteX30" fmla="*/ 83118 w 942584"/>
                <a:gd name="connsiteY30" fmla="*/ 0 h 606345"/>
                <a:gd name="connsiteX31" fmla="*/ 0 w 942584"/>
                <a:gd name="connsiteY31" fmla="*/ 0 h 606345"/>
                <a:gd name="connsiteX32" fmla="*/ 0 w 942584"/>
                <a:gd name="connsiteY32" fmla="*/ 15586 h 606345"/>
                <a:gd name="connsiteX33" fmla="*/ 18485 w 942584"/>
                <a:gd name="connsiteY33" fmla="*/ 34063 h 606345"/>
                <a:gd name="connsiteX34" fmla="*/ 18485 w 942584"/>
                <a:gd name="connsiteY34" fmla="*/ 100113 h 606345"/>
                <a:gd name="connsiteX35" fmla="*/ 54155 w 942584"/>
                <a:gd name="connsiteY35" fmla="*/ 135750 h 606345"/>
                <a:gd name="connsiteX36" fmla="*/ 88061 w 942584"/>
                <a:gd name="connsiteY36" fmla="*/ 135750 h 606345"/>
                <a:gd name="connsiteX37" fmla="*/ 88061 w 942584"/>
                <a:gd name="connsiteY37" fmla="*/ 189913 h 606345"/>
                <a:gd name="connsiteX38" fmla="*/ 73077 w 942584"/>
                <a:gd name="connsiteY38" fmla="*/ 204872 h 606345"/>
                <a:gd name="connsiteX39" fmla="*/ 104776 w 942584"/>
                <a:gd name="connsiteY39" fmla="*/ 236563 h 606345"/>
                <a:gd name="connsiteX40" fmla="*/ 120625 w 942584"/>
                <a:gd name="connsiteY40" fmla="*/ 220755 h 606345"/>
                <a:gd name="connsiteX41" fmla="*/ 158486 w 942584"/>
                <a:gd name="connsiteY41" fmla="*/ 258582 h 606345"/>
                <a:gd name="connsiteX42" fmla="*/ 158486 w 942584"/>
                <a:gd name="connsiteY42" fmla="*/ 295578 h 606345"/>
                <a:gd name="connsiteX43" fmla="*/ 224535 w 942584"/>
                <a:gd name="connsiteY43" fmla="*/ 361611 h 606345"/>
                <a:gd name="connsiteX44" fmla="*/ 243013 w 942584"/>
                <a:gd name="connsiteY44" fmla="*/ 343117 h 606345"/>
                <a:gd name="connsiteX45" fmla="*/ 198990 w 942584"/>
                <a:gd name="connsiteY45" fmla="*/ 299096 h 606345"/>
                <a:gd name="connsiteX46" fmla="*/ 198990 w 942584"/>
                <a:gd name="connsiteY46" fmla="*/ 256853 h 606345"/>
                <a:gd name="connsiteX47" fmla="*/ 144407 w 942584"/>
                <a:gd name="connsiteY47" fmla="*/ 202261 h 606345"/>
                <a:gd name="connsiteX48" fmla="*/ 144407 w 942584"/>
                <a:gd name="connsiteY48" fmla="*/ 175826 h 606345"/>
                <a:gd name="connsiteX49" fmla="*/ 81883 w 942584"/>
                <a:gd name="connsiteY49" fmla="*/ 113311 h 606345"/>
                <a:gd name="connsiteX50" fmla="*/ 81883 w 942584"/>
                <a:gd name="connsiteY50" fmla="*/ 56050 h 606345"/>
                <a:gd name="connsiteX51" fmla="*/ 135601 w 942584"/>
                <a:gd name="connsiteY51" fmla="*/ 56050 h 606345"/>
                <a:gd name="connsiteX52" fmla="*/ 135601 w 942584"/>
                <a:gd name="connsiteY52" fmla="*/ 112437 h 606345"/>
                <a:gd name="connsiteX53" fmla="*/ 243877 w 942584"/>
                <a:gd name="connsiteY53" fmla="*/ 220755 h 606345"/>
                <a:gd name="connsiteX54" fmla="*/ 243877 w 942584"/>
                <a:gd name="connsiteY54" fmla="*/ 269168 h 606345"/>
                <a:gd name="connsiteX55" fmla="*/ 292785 w 942584"/>
                <a:gd name="connsiteY55" fmla="*/ 318017 h 606345"/>
                <a:gd name="connsiteX56" fmla="*/ 320505 w 942584"/>
                <a:gd name="connsiteY56" fmla="*/ 318017 h 606345"/>
                <a:gd name="connsiteX57" fmla="*/ 395584 w 942584"/>
                <a:gd name="connsiteY57" fmla="*/ 393080 h 606345"/>
                <a:gd name="connsiteX58" fmla="*/ 359247 w 942584"/>
                <a:gd name="connsiteY58" fmla="*/ 429383 h 606345"/>
                <a:gd name="connsiteX59" fmla="*/ 439391 w 942584"/>
                <a:gd name="connsiteY59" fmla="*/ 509520 h 606345"/>
                <a:gd name="connsiteX60" fmla="*/ 471971 w 942584"/>
                <a:gd name="connsiteY60" fmla="*/ 509520 h 606345"/>
                <a:gd name="connsiteX61" fmla="*/ 508530 w 942584"/>
                <a:gd name="connsiteY61" fmla="*/ 546038 h 606345"/>
                <a:gd name="connsiteX62" fmla="*/ 549447 w 942584"/>
                <a:gd name="connsiteY62" fmla="*/ 546038 h 606345"/>
                <a:gd name="connsiteX63" fmla="*/ 549447 w 942584"/>
                <a:gd name="connsiteY63" fmla="*/ 561467 h 606345"/>
                <a:gd name="connsiteX64" fmla="*/ 593494 w 942584"/>
                <a:gd name="connsiteY64" fmla="*/ 561467 h 606345"/>
                <a:gd name="connsiteX65" fmla="*/ 638391 w 942584"/>
                <a:gd name="connsiteY65" fmla="*/ 606346 h 606345"/>
                <a:gd name="connsiteX66" fmla="*/ 680649 w 942584"/>
                <a:gd name="connsiteY66" fmla="*/ 564095 h 606345"/>
                <a:gd name="connsiteX67" fmla="*/ 720289 w 942584"/>
                <a:gd name="connsiteY67" fmla="*/ 603718 h 606345"/>
                <a:gd name="connsiteX68" fmla="*/ 739648 w 942584"/>
                <a:gd name="connsiteY68" fmla="*/ 603718 h 606345"/>
                <a:gd name="connsiteX69" fmla="*/ 740802 w 942584"/>
                <a:gd name="connsiteY69" fmla="*/ 604863 h 606345"/>
                <a:gd name="connsiteX70" fmla="*/ 820913 w 942584"/>
                <a:gd name="connsiteY70" fmla="*/ 524735 h 606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942584" h="606345">
                  <a:moveTo>
                    <a:pt x="875200" y="524735"/>
                  </a:moveTo>
                  <a:lnTo>
                    <a:pt x="875200" y="506941"/>
                  </a:lnTo>
                  <a:lnTo>
                    <a:pt x="904575" y="506941"/>
                  </a:lnTo>
                  <a:lnTo>
                    <a:pt x="904575" y="462038"/>
                  </a:lnTo>
                  <a:lnTo>
                    <a:pt x="942585" y="424029"/>
                  </a:lnTo>
                  <a:lnTo>
                    <a:pt x="942585" y="403360"/>
                  </a:lnTo>
                  <a:lnTo>
                    <a:pt x="851038" y="403360"/>
                  </a:lnTo>
                  <a:lnTo>
                    <a:pt x="831218" y="410032"/>
                  </a:lnTo>
                  <a:lnTo>
                    <a:pt x="831218" y="475193"/>
                  </a:lnTo>
                  <a:lnTo>
                    <a:pt x="800401" y="505994"/>
                  </a:lnTo>
                  <a:lnTo>
                    <a:pt x="656868" y="505994"/>
                  </a:lnTo>
                  <a:lnTo>
                    <a:pt x="635317" y="484428"/>
                  </a:lnTo>
                  <a:lnTo>
                    <a:pt x="635317" y="408262"/>
                  </a:lnTo>
                  <a:lnTo>
                    <a:pt x="608224" y="381209"/>
                  </a:lnTo>
                  <a:lnTo>
                    <a:pt x="608224" y="297308"/>
                  </a:lnTo>
                  <a:lnTo>
                    <a:pt x="629914" y="275643"/>
                  </a:lnTo>
                  <a:lnTo>
                    <a:pt x="629914" y="226669"/>
                  </a:lnTo>
                  <a:lnTo>
                    <a:pt x="542198" y="226669"/>
                  </a:lnTo>
                  <a:lnTo>
                    <a:pt x="542198" y="177911"/>
                  </a:lnTo>
                  <a:lnTo>
                    <a:pt x="487508" y="123204"/>
                  </a:lnTo>
                  <a:lnTo>
                    <a:pt x="445734" y="123204"/>
                  </a:lnTo>
                  <a:lnTo>
                    <a:pt x="424102" y="144852"/>
                  </a:lnTo>
                  <a:lnTo>
                    <a:pt x="400773" y="121523"/>
                  </a:lnTo>
                  <a:lnTo>
                    <a:pt x="400773" y="92214"/>
                  </a:lnTo>
                  <a:lnTo>
                    <a:pt x="341709" y="33133"/>
                  </a:lnTo>
                  <a:lnTo>
                    <a:pt x="274727" y="33133"/>
                  </a:lnTo>
                  <a:lnTo>
                    <a:pt x="274727" y="46988"/>
                  </a:lnTo>
                  <a:lnTo>
                    <a:pt x="214411" y="46988"/>
                  </a:lnTo>
                  <a:lnTo>
                    <a:pt x="196980" y="29565"/>
                  </a:lnTo>
                  <a:lnTo>
                    <a:pt x="112675" y="29565"/>
                  </a:lnTo>
                  <a:lnTo>
                    <a:pt x="83118" y="0"/>
                  </a:lnTo>
                  <a:lnTo>
                    <a:pt x="0" y="0"/>
                  </a:lnTo>
                  <a:lnTo>
                    <a:pt x="0" y="15586"/>
                  </a:lnTo>
                  <a:lnTo>
                    <a:pt x="18485" y="34063"/>
                  </a:lnTo>
                  <a:lnTo>
                    <a:pt x="18485" y="100113"/>
                  </a:lnTo>
                  <a:lnTo>
                    <a:pt x="54155" y="135750"/>
                  </a:lnTo>
                  <a:lnTo>
                    <a:pt x="88061" y="135750"/>
                  </a:lnTo>
                  <a:lnTo>
                    <a:pt x="88061" y="189913"/>
                  </a:lnTo>
                  <a:lnTo>
                    <a:pt x="73077" y="204872"/>
                  </a:lnTo>
                  <a:lnTo>
                    <a:pt x="104776" y="236563"/>
                  </a:lnTo>
                  <a:lnTo>
                    <a:pt x="120625" y="220755"/>
                  </a:lnTo>
                  <a:lnTo>
                    <a:pt x="158486" y="258582"/>
                  </a:lnTo>
                  <a:lnTo>
                    <a:pt x="158486" y="295578"/>
                  </a:lnTo>
                  <a:lnTo>
                    <a:pt x="224535" y="361611"/>
                  </a:lnTo>
                  <a:lnTo>
                    <a:pt x="243013" y="343117"/>
                  </a:lnTo>
                  <a:lnTo>
                    <a:pt x="198990" y="299096"/>
                  </a:lnTo>
                  <a:lnTo>
                    <a:pt x="198990" y="256853"/>
                  </a:lnTo>
                  <a:lnTo>
                    <a:pt x="144407" y="202261"/>
                  </a:lnTo>
                  <a:lnTo>
                    <a:pt x="144407" y="175826"/>
                  </a:lnTo>
                  <a:lnTo>
                    <a:pt x="81883" y="113311"/>
                  </a:lnTo>
                  <a:lnTo>
                    <a:pt x="81883" y="56050"/>
                  </a:lnTo>
                  <a:lnTo>
                    <a:pt x="135601" y="56050"/>
                  </a:lnTo>
                  <a:lnTo>
                    <a:pt x="135601" y="112437"/>
                  </a:lnTo>
                  <a:lnTo>
                    <a:pt x="243877" y="220755"/>
                  </a:lnTo>
                  <a:lnTo>
                    <a:pt x="243877" y="269168"/>
                  </a:lnTo>
                  <a:lnTo>
                    <a:pt x="292785" y="318017"/>
                  </a:lnTo>
                  <a:lnTo>
                    <a:pt x="320505" y="318017"/>
                  </a:lnTo>
                  <a:lnTo>
                    <a:pt x="395584" y="393080"/>
                  </a:lnTo>
                  <a:lnTo>
                    <a:pt x="359247" y="429383"/>
                  </a:lnTo>
                  <a:lnTo>
                    <a:pt x="439391" y="509520"/>
                  </a:lnTo>
                  <a:lnTo>
                    <a:pt x="471971" y="509520"/>
                  </a:lnTo>
                  <a:lnTo>
                    <a:pt x="508530" y="546038"/>
                  </a:lnTo>
                  <a:lnTo>
                    <a:pt x="549447" y="546038"/>
                  </a:lnTo>
                  <a:lnTo>
                    <a:pt x="549447" y="561467"/>
                  </a:lnTo>
                  <a:lnTo>
                    <a:pt x="593494" y="561467"/>
                  </a:lnTo>
                  <a:lnTo>
                    <a:pt x="638391" y="606346"/>
                  </a:lnTo>
                  <a:lnTo>
                    <a:pt x="680649" y="564095"/>
                  </a:lnTo>
                  <a:lnTo>
                    <a:pt x="720289" y="603718"/>
                  </a:lnTo>
                  <a:lnTo>
                    <a:pt x="739648" y="603718"/>
                  </a:lnTo>
                  <a:lnTo>
                    <a:pt x="740802" y="604863"/>
                  </a:lnTo>
                  <a:lnTo>
                    <a:pt x="820913" y="524735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1" name="Freeform: Shape 480">
              <a:extLst>
                <a:ext uri="{FF2B5EF4-FFF2-40B4-BE49-F238E27FC236}">
                  <a16:creationId xmlns:a16="http://schemas.microsoft.com/office/drawing/2014/main" id="{EDBC2761-AE80-E668-6334-E1997B0DB1E2}"/>
                </a:ext>
              </a:extLst>
            </p:cNvPr>
            <p:cNvSpPr/>
            <p:nvPr/>
          </p:nvSpPr>
          <p:spPr>
            <a:xfrm>
              <a:off x="2946642" y="4136068"/>
              <a:ext cx="140320" cy="129183"/>
            </a:xfrm>
            <a:custGeom>
              <a:avLst/>
              <a:gdLst>
                <a:gd name="connsiteX0" fmla="*/ 134398 w 140320"/>
                <a:gd name="connsiteY0" fmla="*/ 64633 h 129183"/>
                <a:gd name="connsiteX1" fmla="*/ 134398 w 140320"/>
                <a:gd name="connsiteY1" fmla="*/ 0 h 129183"/>
                <a:gd name="connsiteX2" fmla="*/ 80111 w 140320"/>
                <a:gd name="connsiteY2" fmla="*/ 0 h 129183"/>
                <a:gd name="connsiteX3" fmla="*/ 0 w 140320"/>
                <a:gd name="connsiteY3" fmla="*/ 80128 h 129183"/>
                <a:gd name="connsiteX4" fmla="*/ 49064 w 140320"/>
                <a:gd name="connsiteY4" fmla="*/ 129184 h 129183"/>
                <a:gd name="connsiteX5" fmla="*/ 75795 w 140320"/>
                <a:gd name="connsiteY5" fmla="*/ 129184 h 129183"/>
                <a:gd name="connsiteX6" fmla="*/ 140321 w 140320"/>
                <a:gd name="connsiteY6" fmla="*/ 64633 h 129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320" h="129183">
                  <a:moveTo>
                    <a:pt x="134398" y="64633"/>
                  </a:moveTo>
                  <a:lnTo>
                    <a:pt x="134398" y="0"/>
                  </a:lnTo>
                  <a:lnTo>
                    <a:pt x="80111" y="0"/>
                  </a:lnTo>
                  <a:lnTo>
                    <a:pt x="0" y="80128"/>
                  </a:lnTo>
                  <a:lnTo>
                    <a:pt x="49064" y="129184"/>
                  </a:lnTo>
                  <a:lnTo>
                    <a:pt x="75795" y="129184"/>
                  </a:lnTo>
                  <a:lnTo>
                    <a:pt x="140321" y="64633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2" name="Freeform: Shape 481">
              <a:extLst>
                <a:ext uri="{FF2B5EF4-FFF2-40B4-BE49-F238E27FC236}">
                  <a16:creationId xmlns:a16="http://schemas.microsoft.com/office/drawing/2014/main" id="{A59943D0-F15B-A42A-D524-C39DEF69C5F8}"/>
                </a:ext>
              </a:extLst>
            </p:cNvPr>
            <p:cNvSpPr/>
            <p:nvPr/>
          </p:nvSpPr>
          <p:spPr>
            <a:xfrm>
              <a:off x="3022436" y="4200701"/>
              <a:ext cx="223547" cy="90985"/>
            </a:xfrm>
            <a:custGeom>
              <a:avLst/>
              <a:gdLst>
                <a:gd name="connsiteX0" fmla="*/ 223547 w 223547"/>
                <a:gd name="connsiteY0" fmla="*/ 42111 h 90985"/>
                <a:gd name="connsiteX1" fmla="*/ 223547 w 223547"/>
                <a:gd name="connsiteY1" fmla="*/ 24622 h 90985"/>
                <a:gd name="connsiteX2" fmla="*/ 198966 w 223547"/>
                <a:gd name="connsiteY2" fmla="*/ 0 h 90985"/>
                <a:gd name="connsiteX3" fmla="*/ 64526 w 223547"/>
                <a:gd name="connsiteY3" fmla="*/ 0 h 90985"/>
                <a:gd name="connsiteX4" fmla="*/ 0 w 223547"/>
                <a:gd name="connsiteY4" fmla="*/ 64551 h 90985"/>
                <a:gd name="connsiteX5" fmla="*/ 81554 w 223547"/>
                <a:gd name="connsiteY5" fmla="*/ 64551 h 90985"/>
                <a:gd name="connsiteX6" fmla="*/ 108013 w 223547"/>
                <a:gd name="connsiteY6" fmla="*/ 90985 h 90985"/>
                <a:gd name="connsiteX7" fmla="*/ 156896 w 223547"/>
                <a:gd name="connsiteY7" fmla="*/ 42111 h 9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3547" h="90985">
                  <a:moveTo>
                    <a:pt x="223547" y="42111"/>
                  </a:moveTo>
                  <a:lnTo>
                    <a:pt x="223547" y="24622"/>
                  </a:lnTo>
                  <a:lnTo>
                    <a:pt x="198966" y="0"/>
                  </a:lnTo>
                  <a:lnTo>
                    <a:pt x="64526" y="0"/>
                  </a:lnTo>
                  <a:lnTo>
                    <a:pt x="0" y="64551"/>
                  </a:lnTo>
                  <a:lnTo>
                    <a:pt x="81554" y="64551"/>
                  </a:lnTo>
                  <a:lnTo>
                    <a:pt x="108013" y="90985"/>
                  </a:lnTo>
                  <a:lnTo>
                    <a:pt x="156896" y="42111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3" name="Freeform: Shape 482">
              <a:extLst>
                <a:ext uri="{FF2B5EF4-FFF2-40B4-BE49-F238E27FC236}">
                  <a16:creationId xmlns:a16="http://schemas.microsoft.com/office/drawing/2014/main" id="{87941B76-AE9E-D3E4-83B0-E3C071287C08}"/>
                </a:ext>
              </a:extLst>
            </p:cNvPr>
            <p:cNvSpPr/>
            <p:nvPr/>
          </p:nvSpPr>
          <p:spPr>
            <a:xfrm>
              <a:off x="3235044" y="4384237"/>
              <a:ext cx="209708" cy="104652"/>
            </a:xfrm>
            <a:custGeom>
              <a:avLst/>
              <a:gdLst>
                <a:gd name="connsiteX0" fmla="*/ 172449 w 209708"/>
                <a:gd name="connsiteY0" fmla="*/ 12036 h 104652"/>
                <a:gd name="connsiteX1" fmla="*/ 141343 w 209708"/>
                <a:gd name="connsiteY1" fmla="*/ 12036 h 104652"/>
                <a:gd name="connsiteX2" fmla="*/ 129259 w 209708"/>
                <a:gd name="connsiteY2" fmla="*/ 0 h 104652"/>
                <a:gd name="connsiteX3" fmla="*/ 96447 w 209708"/>
                <a:gd name="connsiteY3" fmla="*/ 32794 h 104652"/>
                <a:gd name="connsiteX4" fmla="*/ 51568 w 209708"/>
                <a:gd name="connsiteY4" fmla="*/ 32794 h 104652"/>
                <a:gd name="connsiteX5" fmla="*/ 33091 w 209708"/>
                <a:gd name="connsiteY5" fmla="*/ 14326 h 104652"/>
                <a:gd name="connsiteX6" fmla="*/ 0 w 209708"/>
                <a:gd name="connsiteY6" fmla="*/ 47408 h 104652"/>
                <a:gd name="connsiteX7" fmla="*/ 69708 w 209708"/>
                <a:gd name="connsiteY7" fmla="*/ 47408 h 104652"/>
                <a:gd name="connsiteX8" fmla="*/ 101431 w 209708"/>
                <a:gd name="connsiteY8" fmla="*/ 79106 h 104652"/>
                <a:gd name="connsiteX9" fmla="*/ 112865 w 209708"/>
                <a:gd name="connsiteY9" fmla="*/ 67648 h 104652"/>
                <a:gd name="connsiteX10" fmla="*/ 112865 w 209708"/>
                <a:gd name="connsiteY10" fmla="*/ 49155 h 104652"/>
                <a:gd name="connsiteX11" fmla="*/ 133534 w 209708"/>
                <a:gd name="connsiteY11" fmla="*/ 28487 h 104652"/>
                <a:gd name="connsiteX12" fmla="*/ 209708 w 209708"/>
                <a:gd name="connsiteY12" fmla="*/ 104653 h 104652"/>
                <a:gd name="connsiteX13" fmla="*/ 209708 w 209708"/>
                <a:gd name="connsiteY13" fmla="*/ 49335 h 104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9708" h="104652">
                  <a:moveTo>
                    <a:pt x="172449" y="12036"/>
                  </a:moveTo>
                  <a:lnTo>
                    <a:pt x="141343" y="12036"/>
                  </a:lnTo>
                  <a:lnTo>
                    <a:pt x="129259" y="0"/>
                  </a:lnTo>
                  <a:lnTo>
                    <a:pt x="96447" y="32794"/>
                  </a:lnTo>
                  <a:lnTo>
                    <a:pt x="51568" y="32794"/>
                  </a:lnTo>
                  <a:lnTo>
                    <a:pt x="33091" y="14326"/>
                  </a:lnTo>
                  <a:lnTo>
                    <a:pt x="0" y="47408"/>
                  </a:lnTo>
                  <a:lnTo>
                    <a:pt x="69708" y="47408"/>
                  </a:lnTo>
                  <a:lnTo>
                    <a:pt x="101431" y="79106"/>
                  </a:lnTo>
                  <a:lnTo>
                    <a:pt x="112865" y="67648"/>
                  </a:lnTo>
                  <a:lnTo>
                    <a:pt x="112865" y="49155"/>
                  </a:lnTo>
                  <a:lnTo>
                    <a:pt x="133534" y="28487"/>
                  </a:lnTo>
                  <a:lnTo>
                    <a:pt x="209708" y="104653"/>
                  </a:lnTo>
                  <a:lnTo>
                    <a:pt x="209708" y="49335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4" name="Freeform: Shape 483">
              <a:extLst>
                <a:ext uri="{FF2B5EF4-FFF2-40B4-BE49-F238E27FC236}">
                  <a16:creationId xmlns:a16="http://schemas.microsoft.com/office/drawing/2014/main" id="{E68083D7-40AA-0494-7DF3-578C9B132986}"/>
                </a:ext>
              </a:extLst>
            </p:cNvPr>
            <p:cNvSpPr/>
            <p:nvPr/>
          </p:nvSpPr>
          <p:spPr>
            <a:xfrm>
              <a:off x="3130449" y="4242812"/>
              <a:ext cx="137685" cy="188833"/>
            </a:xfrm>
            <a:custGeom>
              <a:avLst/>
              <a:gdLst>
                <a:gd name="connsiteX0" fmla="*/ 96546 w 137685"/>
                <a:gd name="connsiteY0" fmla="*/ 114636 h 188833"/>
                <a:gd name="connsiteX1" fmla="*/ 115534 w 137685"/>
                <a:gd name="connsiteY1" fmla="*/ 95665 h 188833"/>
                <a:gd name="connsiteX2" fmla="*/ 115534 w 137685"/>
                <a:gd name="connsiteY2" fmla="*/ 0 h 188833"/>
                <a:gd name="connsiteX3" fmla="*/ 48883 w 137685"/>
                <a:gd name="connsiteY3" fmla="*/ 0 h 188833"/>
                <a:gd name="connsiteX4" fmla="*/ 0 w 137685"/>
                <a:gd name="connsiteY4" fmla="*/ 48874 h 188833"/>
                <a:gd name="connsiteX5" fmla="*/ 52343 w 137685"/>
                <a:gd name="connsiteY5" fmla="*/ 101225 h 188833"/>
                <a:gd name="connsiteX6" fmla="*/ 52343 w 137685"/>
                <a:gd name="connsiteY6" fmla="*/ 136030 h 188833"/>
                <a:gd name="connsiteX7" fmla="*/ 77262 w 137685"/>
                <a:gd name="connsiteY7" fmla="*/ 160874 h 188833"/>
                <a:gd name="connsiteX8" fmla="*/ 100328 w 137685"/>
                <a:gd name="connsiteY8" fmla="*/ 160874 h 188833"/>
                <a:gd name="connsiteX9" fmla="*/ 100328 w 137685"/>
                <a:gd name="connsiteY9" fmla="*/ 188833 h 188833"/>
                <a:gd name="connsiteX10" fmla="*/ 104594 w 137685"/>
                <a:gd name="connsiteY10" fmla="*/ 188833 h 188833"/>
                <a:gd name="connsiteX11" fmla="*/ 137686 w 137685"/>
                <a:gd name="connsiteY11" fmla="*/ 155751 h 188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7685" h="188833">
                  <a:moveTo>
                    <a:pt x="96546" y="114636"/>
                  </a:moveTo>
                  <a:lnTo>
                    <a:pt x="115534" y="95665"/>
                  </a:lnTo>
                  <a:lnTo>
                    <a:pt x="115534" y="0"/>
                  </a:lnTo>
                  <a:lnTo>
                    <a:pt x="48883" y="0"/>
                  </a:lnTo>
                  <a:lnTo>
                    <a:pt x="0" y="48874"/>
                  </a:lnTo>
                  <a:lnTo>
                    <a:pt x="52343" y="101225"/>
                  </a:lnTo>
                  <a:lnTo>
                    <a:pt x="52343" y="136030"/>
                  </a:lnTo>
                  <a:lnTo>
                    <a:pt x="77262" y="160874"/>
                  </a:lnTo>
                  <a:lnTo>
                    <a:pt x="100328" y="160874"/>
                  </a:lnTo>
                  <a:lnTo>
                    <a:pt x="100328" y="188833"/>
                  </a:lnTo>
                  <a:lnTo>
                    <a:pt x="104594" y="188833"/>
                  </a:lnTo>
                  <a:lnTo>
                    <a:pt x="137686" y="155751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5" name="Freeform: Shape 484">
              <a:extLst>
                <a:ext uri="{FF2B5EF4-FFF2-40B4-BE49-F238E27FC236}">
                  <a16:creationId xmlns:a16="http://schemas.microsoft.com/office/drawing/2014/main" id="{F0BE4348-4B55-ADF3-5F00-45777700C29A}"/>
                </a:ext>
              </a:extLst>
            </p:cNvPr>
            <p:cNvSpPr/>
            <p:nvPr/>
          </p:nvSpPr>
          <p:spPr>
            <a:xfrm>
              <a:off x="3294240" y="4693753"/>
              <a:ext cx="393903" cy="622515"/>
            </a:xfrm>
            <a:custGeom>
              <a:avLst/>
              <a:gdLst>
                <a:gd name="connsiteX0" fmla="*/ 393903 w 393903"/>
                <a:gd name="connsiteY0" fmla="*/ 539069 h 622515"/>
                <a:gd name="connsiteX1" fmla="*/ 373169 w 393903"/>
                <a:gd name="connsiteY1" fmla="*/ 518334 h 622515"/>
                <a:gd name="connsiteX2" fmla="*/ 373169 w 393903"/>
                <a:gd name="connsiteY2" fmla="*/ 499107 h 622515"/>
                <a:gd name="connsiteX3" fmla="*/ 390723 w 393903"/>
                <a:gd name="connsiteY3" fmla="*/ 481544 h 622515"/>
                <a:gd name="connsiteX4" fmla="*/ 390723 w 393903"/>
                <a:gd name="connsiteY4" fmla="*/ 458149 h 622515"/>
                <a:gd name="connsiteX5" fmla="*/ 390723 w 393903"/>
                <a:gd name="connsiteY5" fmla="*/ 425759 h 622515"/>
                <a:gd name="connsiteX6" fmla="*/ 364198 w 393903"/>
                <a:gd name="connsiteY6" fmla="*/ 399249 h 622515"/>
                <a:gd name="connsiteX7" fmla="*/ 364198 w 393903"/>
                <a:gd name="connsiteY7" fmla="*/ 371760 h 622515"/>
                <a:gd name="connsiteX8" fmla="*/ 329336 w 393903"/>
                <a:gd name="connsiteY8" fmla="*/ 371760 h 622515"/>
                <a:gd name="connsiteX9" fmla="*/ 329336 w 393903"/>
                <a:gd name="connsiteY9" fmla="*/ 325654 h 622515"/>
                <a:gd name="connsiteX10" fmla="*/ 313338 w 393903"/>
                <a:gd name="connsiteY10" fmla="*/ 341659 h 622515"/>
                <a:gd name="connsiteX11" fmla="*/ 268715 w 393903"/>
                <a:gd name="connsiteY11" fmla="*/ 341659 h 622515"/>
                <a:gd name="connsiteX12" fmla="*/ 268715 w 393903"/>
                <a:gd name="connsiteY12" fmla="*/ 316138 h 622515"/>
                <a:gd name="connsiteX13" fmla="*/ 248442 w 393903"/>
                <a:gd name="connsiteY13" fmla="*/ 295857 h 622515"/>
                <a:gd name="connsiteX14" fmla="*/ 219815 w 393903"/>
                <a:gd name="connsiteY14" fmla="*/ 295857 h 622515"/>
                <a:gd name="connsiteX15" fmla="*/ 219815 w 393903"/>
                <a:gd name="connsiteY15" fmla="*/ 238449 h 622515"/>
                <a:gd name="connsiteX16" fmla="*/ 231751 w 393903"/>
                <a:gd name="connsiteY16" fmla="*/ 226496 h 622515"/>
                <a:gd name="connsiteX17" fmla="*/ 231751 w 393903"/>
                <a:gd name="connsiteY17" fmla="*/ 189913 h 622515"/>
                <a:gd name="connsiteX18" fmla="*/ 264151 w 393903"/>
                <a:gd name="connsiteY18" fmla="*/ 157522 h 622515"/>
                <a:gd name="connsiteX19" fmla="*/ 290692 w 393903"/>
                <a:gd name="connsiteY19" fmla="*/ 157522 h 622515"/>
                <a:gd name="connsiteX20" fmla="*/ 313338 w 393903"/>
                <a:gd name="connsiteY20" fmla="*/ 134893 h 622515"/>
                <a:gd name="connsiteX21" fmla="*/ 313338 w 393903"/>
                <a:gd name="connsiteY21" fmla="*/ 100335 h 622515"/>
                <a:gd name="connsiteX22" fmla="*/ 281903 w 393903"/>
                <a:gd name="connsiteY22" fmla="*/ 68908 h 622515"/>
                <a:gd name="connsiteX23" fmla="*/ 262800 w 393903"/>
                <a:gd name="connsiteY23" fmla="*/ 88012 h 622515"/>
                <a:gd name="connsiteX24" fmla="*/ 233787 w 393903"/>
                <a:gd name="connsiteY24" fmla="*/ 58991 h 622515"/>
                <a:gd name="connsiteX25" fmla="*/ 233787 w 393903"/>
                <a:gd name="connsiteY25" fmla="*/ 39615 h 622515"/>
                <a:gd name="connsiteX26" fmla="*/ 194172 w 393903"/>
                <a:gd name="connsiteY26" fmla="*/ 0 h 622515"/>
                <a:gd name="connsiteX27" fmla="*/ 174178 w 393903"/>
                <a:gd name="connsiteY27" fmla="*/ 0 h 622515"/>
                <a:gd name="connsiteX28" fmla="*/ 174178 w 393903"/>
                <a:gd name="connsiteY28" fmla="*/ 41980 h 622515"/>
                <a:gd name="connsiteX29" fmla="*/ 154506 w 393903"/>
                <a:gd name="connsiteY29" fmla="*/ 41980 h 622515"/>
                <a:gd name="connsiteX30" fmla="*/ 154506 w 393903"/>
                <a:gd name="connsiteY30" fmla="*/ 75655 h 622515"/>
                <a:gd name="connsiteX31" fmla="*/ 115591 w 393903"/>
                <a:gd name="connsiteY31" fmla="*/ 114570 h 622515"/>
                <a:gd name="connsiteX32" fmla="*/ 54204 w 393903"/>
                <a:gd name="connsiteY32" fmla="*/ 175958 h 622515"/>
                <a:gd name="connsiteX33" fmla="*/ 21080 w 393903"/>
                <a:gd name="connsiteY33" fmla="*/ 142818 h 622515"/>
                <a:gd name="connsiteX34" fmla="*/ 21080 w 393903"/>
                <a:gd name="connsiteY34" fmla="*/ 126292 h 622515"/>
                <a:gd name="connsiteX35" fmla="*/ 0 w 393903"/>
                <a:gd name="connsiteY35" fmla="*/ 147390 h 622515"/>
                <a:gd name="connsiteX36" fmla="*/ 0 w 393903"/>
                <a:gd name="connsiteY36" fmla="*/ 203233 h 622515"/>
                <a:gd name="connsiteX37" fmla="*/ 29211 w 393903"/>
                <a:gd name="connsiteY37" fmla="*/ 203233 h 622515"/>
                <a:gd name="connsiteX38" fmla="*/ 29211 w 393903"/>
                <a:gd name="connsiteY38" fmla="*/ 233045 h 622515"/>
                <a:gd name="connsiteX39" fmla="*/ 77113 w 393903"/>
                <a:gd name="connsiteY39" fmla="*/ 280964 h 622515"/>
                <a:gd name="connsiteX40" fmla="*/ 77113 w 393903"/>
                <a:gd name="connsiteY40" fmla="*/ 320719 h 622515"/>
                <a:gd name="connsiteX41" fmla="*/ 139876 w 393903"/>
                <a:gd name="connsiteY41" fmla="*/ 383491 h 622515"/>
                <a:gd name="connsiteX42" fmla="*/ 139876 w 393903"/>
                <a:gd name="connsiteY42" fmla="*/ 417562 h 622515"/>
                <a:gd name="connsiteX43" fmla="*/ 139876 w 393903"/>
                <a:gd name="connsiteY43" fmla="*/ 443741 h 622515"/>
                <a:gd name="connsiteX44" fmla="*/ 180620 w 393903"/>
                <a:gd name="connsiteY44" fmla="*/ 484477 h 622515"/>
                <a:gd name="connsiteX45" fmla="*/ 221167 w 393903"/>
                <a:gd name="connsiteY45" fmla="*/ 524998 h 622515"/>
                <a:gd name="connsiteX46" fmla="*/ 254134 w 393903"/>
                <a:gd name="connsiteY46" fmla="*/ 557974 h 622515"/>
                <a:gd name="connsiteX47" fmla="*/ 292340 w 393903"/>
                <a:gd name="connsiteY47" fmla="*/ 557974 h 622515"/>
                <a:gd name="connsiteX48" fmla="*/ 352122 w 393903"/>
                <a:gd name="connsiteY48" fmla="*/ 617755 h 622515"/>
                <a:gd name="connsiteX49" fmla="*/ 352122 w 393903"/>
                <a:gd name="connsiteY49" fmla="*/ 622516 h 622515"/>
                <a:gd name="connsiteX50" fmla="*/ 393903 w 393903"/>
                <a:gd name="connsiteY50" fmla="*/ 580710 h 622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393903" h="622515">
                  <a:moveTo>
                    <a:pt x="393903" y="539069"/>
                  </a:moveTo>
                  <a:lnTo>
                    <a:pt x="373169" y="518334"/>
                  </a:lnTo>
                  <a:lnTo>
                    <a:pt x="373169" y="499107"/>
                  </a:lnTo>
                  <a:lnTo>
                    <a:pt x="390723" y="481544"/>
                  </a:lnTo>
                  <a:lnTo>
                    <a:pt x="390723" y="458149"/>
                  </a:lnTo>
                  <a:lnTo>
                    <a:pt x="390723" y="425759"/>
                  </a:lnTo>
                  <a:lnTo>
                    <a:pt x="364198" y="399249"/>
                  </a:lnTo>
                  <a:lnTo>
                    <a:pt x="364198" y="371760"/>
                  </a:lnTo>
                  <a:lnTo>
                    <a:pt x="329336" y="371760"/>
                  </a:lnTo>
                  <a:lnTo>
                    <a:pt x="329336" y="325654"/>
                  </a:lnTo>
                  <a:lnTo>
                    <a:pt x="313338" y="341659"/>
                  </a:lnTo>
                  <a:lnTo>
                    <a:pt x="268715" y="341659"/>
                  </a:lnTo>
                  <a:lnTo>
                    <a:pt x="268715" y="316138"/>
                  </a:lnTo>
                  <a:lnTo>
                    <a:pt x="248442" y="295857"/>
                  </a:lnTo>
                  <a:lnTo>
                    <a:pt x="219815" y="295857"/>
                  </a:lnTo>
                  <a:lnTo>
                    <a:pt x="219815" y="238449"/>
                  </a:lnTo>
                  <a:lnTo>
                    <a:pt x="231751" y="226496"/>
                  </a:lnTo>
                  <a:lnTo>
                    <a:pt x="231751" y="189913"/>
                  </a:lnTo>
                  <a:lnTo>
                    <a:pt x="264151" y="157522"/>
                  </a:lnTo>
                  <a:lnTo>
                    <a:pt x="290692" y="157522"/>
                  </a:lnTo>
                  <a:lnTo>
                    <a:pt x="313338" y="134893"/>
                  </a:lnTo>
                  <a:lnTo>
                    <a:pt x="313338" y="100335"/>
                  </a:lnTo>
                  <a:lnTo>
                    <a:pt x="281903" y="68908"/>
                  </a:lnTo>
                  <a:lnTo>
                    <a:pt x="262800" y="88012"/>
                  </a:lnTo>
                  <a:lnTo>
                    <a:pt x="233787" y="58991"/>
                  </a:lnTo>
                  <a:lnTo>
                    <a:pt x="233787" y="39615"/>
                  </a:lnTo>
                  <a:lnTo>
                    <a:pt x="194172" y="0"/>
                  </a:lnTo>
                  <a:lnTo>
                    <a:pt x="174178" y="0"/>
                  </a:lnTo>
                  <a:lnTo>
                    <a:pt x="174178" y="41980"/>
                  </a:lnTo>
                  <a:lnTo>
                    <a:pt x="154506" y="41980"/>
                  </a:lnTo>
                  <a:lnTo>
                    <a:pt x="154506" y="75655"/>
                  </a:lnTo>
                  <a:lnTo>
                    <a:pt x="115591" y="114570"/>
                  </a:lnTo>
                  <a:lnTo>
                    <a:pt x="54204" y="175958"/>
                  </a:lnTo>
                  <a:lnTo>
                    <a:pt x="21080" y="142818"/>
                  </a:lnTo>
                  <a:lnTo>
                    <a:pt x="21080" y="126292"/>
                  </a:lnTo>
                  <a:lnTo>
                    <a:pt x="0" y="147390"/>
                  </a:lnTo>
                  <a:lnTo>
                    <a:pt x="0" y="203233"/>
                  </a:lnTo>
                  <a:lnTo>
                    <a:pt x="29211" y="203233"/>
                  </a:lnTo>
                  <a:lnTo>
                    <a:pt x="29211" y="233045"/>
                  </a:lnTo>
                  <a:lnTo>
                    <a:pt x="77113" y="280964"/>
                  </a:lnTo>
                  <a:lnTo>
                    <a:pt x="77113" y="320719"/>
                  </a:lnTo>
                  <a:lnTo>
                    <a:pt x="139876" y="383491"/>
                  </a:lnTo>
                  <a:lnTo>
                    <a:pt x="139876" y="417562"/>
                  </a:lnTo>
                  <a:lnTo>
                    <a:pt x="139876" y="443741"/>
                  </a:lnTo>
                  <a:lnTo>
                    <a:pt x="180620" y="484477"/>
                  </a:lnTo>
                  <a:lnTo>
                    <a:pt x="221167" y="524998"/>
                  </a:lnTo>
                  <a:lnTo>
                    <a:pt x="254134" y="557974"/>
                  </a:lnTo>
                  <a:lnTo>
                    <a:pt x="292340" y="557974"/>
                  </a:lnTo>
                  <a:lnTo>
                    <a:pt x="352122" y="617755"/>
                  </a:lnTo>
                  <a:lnTo>
                    <a:pt x="352122" y="622516"/>
                  </a:lnTo>
                  <a:lnTo>
                    <a:pt x="393903" y="580710"/>
                  </a:lnTo>
                  <a:close/>
                </a:path>
              </a:pathLst>
            </a:custGeom>
            <a:solidFill>
              <a:schemeClr val="accent1"/>
            </a:solidFill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6" name="Freeform: Shape 485">
              <a:extLst>
                <a:ext uri="{FF2B5EF4-FFF2-40B4-BE49-F238E27FC236}">
                  <a16:creationId xmlns:a16="http://schemas.microsoft.com/office/drawing/2014/main" id="{A2972828-FE6E-1CC3-C38D-D02FAF9C8F0F}"/>
                </a:ext>
              </a:extLst>
            </p:cNvPr>
            <p:cNvSpPr/>
            <p:nvPr/>
          </p:nvSpPr>
          <p:spPr>
            <a:xfrm>
              <a:off x="3294034" y="4627003"/>
              <a:ext cx="174383" cy="242708"/>
            </a:xfrm>
            <a:custGeom>
              <a:avLst/>
              <a:gdLst>
                <a:gd name="connsiteX0" fmla="*/ 118426 w 174383"/>
                <a:gd name="connsiteY0" fmla="*/ 48808 h 242708"/>
                <a:gd name="connsiteX1" fmla="*/ 69625 w 174383"/>
                <a:gd name="connsiteY1" fmla="*/ 0 h 242708"/>
                <a:gd name="connsiteX2" fmla="*/ 58834 w 174383"/>
                <a:gd name="connsiteY2" fmla="*/ 10783 h 242708"/>
                <a:gd name="connsiteX3" fmla="*/ 58834 w 174383"/>
                <a:gd name="connsiteY3" fmla="*/ 30199 h 242708"/>
                <a:gd name="connsiteX4" fmla="*/ 31040 w 174383"/>
                <a:gd name="connsiteY4" fmla="*/ 30199 h 242708"/>
                <a:gd name="connsiteX5" fmla="*/ 31040 w 174383"/>
                <a:gd name="connsiteY5" fmla="*/ 61404 h 242708"/>
                <a:gd name="connsiteX6" fmla="*/ 0 w 174383"/>
                <a:gd name="connsiteY6" fmla="*/ 92460 h 242708"/>
                <a:gd name="connsiteX7" fmla="*/ 0 w 174383"/>
                <a:gd name="connsiteY7" fmla="*/ 139876 h 242708"/>
                <a:gd name="connsiteX8" fmla="*/ 40159 w 174383"/>
                <a:gd name="connsiteY8" fmla="*/ 139876 h 242708"/>
                <a:gd name="connsiteX9" fmla="*/ 40159 w 174383"/>
                <a:gd name="connsiteY9" fmla="*/ 174145 h 242708"/>
                <a:gd name="connsiteX10" fmla="*/ 21286 w 174383"/>
                <a:gd name="connsiteY10" fmla="*/ 193043 h 242708"/>
                <a:gd name="connsiteX11" fmla="*/ 21286 w 174383"/>
                <a:gd name="connsiteY11" fmla="*/ 209568 h 242708"/>
                <a:gd name="connsiteX12" fmla="*/ 54410 w 174383"/>
                <a:gd name="connsiteY12" fmla="*/ 242708 h 242708"/>
                <a:gd name="connsiteX13" fmla="*/ 115797 w 174383"/>
                <a:gd name="connsiteY13" fmla="*/ 181320 h 242708"/>
                <a:gd name="connsiteX14" fmla="*/ 154712 w 174383"/>
                <a:gd name="connsiteY14" fmla="*/ 142405 h 242708"/>
                <a:gd name="connsiteX15" fmla="*/ 154712 w 174383"/>
                <a:gd name="connsiteY15" fmla="*/ 108730 h 242708"/>
                <a:gd name="connsiteX16" fmla="*/ 174384 w 174383"/>
                <a:gd name="connsiteY16" fmla="*/ 108730 h 242708"/>
                <a:gd name="connsiteX17" fmla="*/ 174384 w 174383"/>
                <a:gd name="connsiteY17" fmla="*/ 66750 h 242708"/>
                <a:gd name="connsiteX18" fmla="*/ 156418 w 174383"/>
                <a:gd name="connsiteY18" fmla="*/ 48808 h 242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4383" h="242708">
                  <a:moveTo>
                    <a:pt x="118426" y="48808"/>
                  </a:moveTo>
                  <a:lnTo>
                    <a:pt x="69625" y="0"/>
                  </a:lnTo>
                  <a:lnTo>
                    <a:pt x="58834" y="10783"/>
                  </a:lnTo>
                  <a:lnTo>
                    <a:pt x="58834" y="30199"/>
                  </a:lnTo>
                  <a:lnTo>
                    <a:pt x="31040" y="30199"/>
                  </a:lnTo>
                  <a:lnTo>
                    <a:pt x="31040" y="61404"/>
                  </a:lnTo>
                  <a:lnTo>
                    <a:pt x="0" y="92460"/>
                  </a:lnTo>
                  <a:lnTo>
                    <a:pt x="0" y="139876"/>
                  </a:lnTo>
                  <a:lnTo>
                    <a:pt x="40159" y="139876"/>
                  </a:lnTo>
                  <a:lnTo>
                    <a:pt x="40159" y="174145"/>
                  </a:lnTo>
                  <a:lnTo>
                    <a:pt x="21286" y="193043"/>
                  </a:lnTo>
                  <a:lnTo>
                    <a:pt x="21286" y="209568"/>
                  </a:lnTo>
                  <a:lnTo>
                    <a:pt x="54410" y="242708"/>
                  </a:lnTo>
                  <a:lnTo>
                    <a:pt x="115797" y="181320"/>
                  </a:lnTo>
                  <a:lnTo>
                    <a:pt x="154712" y="142405"/>
                  </a:lnTo>
                  <a:lnTo>
                    <a:pt x="154712" y="108730"/>
                  </a:lnTo>
                  <a:lnTo>
                    <a:pt x="174384" y="108730"/>
                  </a:lnTo>
                  <a:lnTo>
                    <a:pt x="174384" y="66750"/>
                  </a:lnTo>
                  <a:lnTo>
                    <a:pt x="156418" y="48808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7" name="Freeform: Shape 486">
              <a:extLst>
                <a:ext uri="{FF2B5EF4-FFF2-40B4-BE49-F238E27FC236}">
                  <a16:creationId xmlns:a16="http://schemas.microsoft.com/office/drawing/2014/main" id="{98695A75-9CDC-DCE8-DEB9-862771653888}"/>
                </a:ext>
              </a:extLst>
            </p:cNvPr>
            <p:cNvSpPr/>
            <p:nvPr/>
          </p:nvSpPr>
          <p:spPr>
            <a:xfrm>
              <a:off x="3363659" y="4275375"/>
              <a:ext cx="361957" cy="566302"/>
            </a:xfrm>
            <a:custGeom>
              <a:avLst/>
              <a:gdLst>
                <a:gd name="connsiteX0" fmla="*/ 350260 w 361957"/>
                <a:gd name="connsiteY0" fmla="*/ 298552 h 566302"/>
                <a:gd name="connsiteX1" fmla="*/ 350260 w 361957"/>
                <a:gd name="connsiteY1" fmla="*/ 278205 h 566302"/>
                <a:gd name="connsiteX2" fmla="*/ 336568 w 361957"/>
                <a:gd name="connsiteY2" fmla="*/ 264514 h 566302"/>
                <a:gd name="connsiteX3" fmla="*/ 336568 w 361957"/>
                <a:gd name="connsiteY3" fmla="*/ 230352 h 566302"/>
                <a:gd name="connsiteX4" fmla="*/ 361957 w 361957"/>
                <a:gd name="connsiteY4" fmla="*/ 204979 h 566302"/>
                <a:gd name="connsiteX5" fmla="*/ 302934 w 361957"/>
                <a:gd name="connsiteY5" fmla="*/ 204979 h 566302"/>
                <a:gd name="connsiteX6" fmla="*/ 277380 w 361957"/>
                <a:gd name="connsiteY6" fmla="*/ 179434 h 566302"/>
                <a:gd name="connsiteX7" fmla="*/ 247074 w 361957"/>
                <a:gd name="connsiteY7" fmla="*/ 179434 h 566302"/>
                <a:gd name="connsiteX8" fmla="*/ 226455 w 361957"/>
                <a:gd name="connsiteY8" fmla="*/ 179434 h 566302"/>
                <a:gd name="connsiteX9" fmla="*/ 200877 w 361957"/>
                <a:gd name="connsiteY9" fmla="*/ 153856 h 566302"/>
                <a:gd name="connsiteX10" fmla="*/ 200877 w 361957"/>
                <a:gd name="connsiteY10" fmla="*/ 121416 h 566302"/>
                <a:gd name="connsiteX11" fmla="*/ 200877 w 361957"/>
                <a:gd name="connsiteY11" fmla="*/ 87057 h 566302"/>
                <a:gd name="connsiteX12" fmla="*/ 200877 w 361957"/>
                <a:gd name="connsiteY12" fmla="*/ 57343 h 566302"/>
                <a:gd name="connsiteX13" fmla="*/ 240377 w 361957"/>
                <a:gd name="connsiteY13" fmla="*/ 17843 h 566302"/>
                <a:gd name="connsiteX14" fmla="*/ 240377 w 361957"/>
                <a:gd name="connsiteY14" fmla="*/ 0 h 566302"/>
                <a:gd name="connsiteX15" fmla="*/ 205119 w 361957"/>
                <a:gd name="connsiteY15" fmla="*/ 35266 h 566302"/>
                <a:gd name="connsiteX16" fmla="*/ 181271 w 361957"/>
                <a:gd name="connsiteY16" fmla="*/ 11410 h 566302"/>
                <a:gd name="connsiteX17" fmla="*/ 152076 w 361957"/>
                <a:gd name="connsiteY17" fmla="*/ 40612 h 566302"/>
                <a:gd name="connsiteX18" fmla="*/ 124077 w 361957"/>
                <a:gd name="connsiteY18" fmla="*/ 40612 h 566302"/>
                <a:gd name="connsiteX19" fmla="*/ 106547 w 361957"/>
                <a:gd name="connsiteY19" fmla="*/ 58150 h 566302"/>
                <a:gd name="connsiteX20" fmla="*/ 106547 w 361957"/>
                <a:gd name="connsiteY20" fmla="*/ 99809 h 566302"/>
                <a:gd name="connsiteX21" fmla="*/ 83522 w 361957"/>
                <a:gd name="connsiteY21" fmla="*/ 122849 h 566302"/>
                <a:gd name="connsiteX22" fmla="*/ 81092 w 361957"/>
                <a:gd name="connsiteY22" fmla="*/ 158197 h 566302"/>
                <a:gd name="connsiteX23" fmla="*/ 81092 w 361957"/>
                <a:gd name="connsiteY23" fmla="*/ 213514 h 566302"/>
                <a:gd name="connsiteX24" fmla="*/ 36542 w 361957"/>
                <a:gd name="connsiteY24" fmla="*/ 258080 h 566302"/>
                <a:gd name="connsiteX25" fmla="*/ 36542 w 361957"/>
                <a:gd name="connsiteY25" fmla="*/ 315077 h 566302"/>
                <a:gd name="connsiteX26" fmla="*/ 13320 w 361957"/>
                <a:gd name="connsiteY26" fmla="*/ 338324 h 566302"/>
                <a:gd name="connsiteX27" fmla="*/ 0 w 361957"/>
                <a:gd name="connsiteY27" fmla="*/ 351627 h 566302"/>
                <a:gd name="connsiteX28" fmla="*/ 48801 w 361957"/>
                <a:gd name="connsiteY28" fmla="*/ 400435 h 566302"/>
                <a:gd name="connsiteX29" fmla="*/ 86793 w 361957"/>
                <a:gd name="connsiteY29" fmla="*/ 400435 h 566302"/>
                <a:gd name="connsiteX30" fmla="*/ 104759 w 361957"/>
                <a:gd name="connsiteY30" fmla="*/ 418378 h 566302"/>
                <a:gd name="connsiteX31" fmla="*/ 124752 w 361957"/>
                <a:gd name="connsiteY31" fmla="*/ 418378 h 566302"/>
                <a:gd name="connsiteX32" fmla="*/ 164368 w 361957"/>
                <a:gd name="connsiteY32" fmla="*/ 457993 h 566302"/>
                <a:gd name="connsiteX33" fmla="*/ 164368 w 361957"/>
                <a:gd name="connsiteY33" fmla="*/ 477368 h 566302"/>
                <a:gd name="connsiteX34" fmla="*/ 193380 w 361957"/>
                <a:gd name="connsiteY34" fmla="*/ 506389 h 566302"/>
                <a:gd name="connsiteX35" fmla="*/ 212484 w 361957"/>
                <a:gd name="connsiteY35" fmla="*/ 487286 h 566302"/>
                <a:gd name="connsiteX36" fmla="*/ 243919 w 361957"/>
                <a:gd name="connsiteY36" fmla="*/ 518713 h 566302"/>
                <a:gd name="connsiteX37" fmla="*/ 243919 w 361957"/>
                <a:gd name="connsiteY37" fmla="*/ 553270 h 566302"/>
                <a:gd name="connsiteX38" fmla="*/ 256967 w 361957"/>
                <a:gd name="connsiteY38" fmla="*/ 566302 h 566302"/>
                <a:gd name="connsiteX39" fmla="*/ 256967 w 361957"/>
                <a:gd name="connsiteY39" fmla="*/ 514000 h 566302"/>
                <a:gd name="connsiteX40" fmla="*/ 278476 w 361957"/>
                <a:gd name="connsiteY40" fmla="*/ 514000 h 566302"/>
                <a:gd name="connsiteX41" fmla="*/ 298716 w 361957"/>
                <a:gd name="connsiteY41" fmla="*/ 493777 h 566302"/>
                <a:gd name="connsiteX42" fmla="*/ 298716 w 361957"/>
                <a:gd name="connsiteY42" fmla="*/ 444334 h 566302"/>
                <a:gd name="connsiteX43" fmla="*/ 270601 w 361957"/>
                <a:gd name="connsiteY43" fmla="*/ 416203 h 566302"/>
                <a:gd name="connsiteX44" fmla="*/ 270601 w 361957"/>
                <a:gd name="connsiteY44" fmla="*/ 388368 h 566302"/>
                <a:gd name="connsiteX45" fmla="*/ 287307 w 361957"/>
                <a:gd name="connsiteY45" fmla="*/ 388368 h 566302"/>
                <a:gd name="connsiteX46" fmla="*/ 268656 w 361957"/>
                <a:gd name="connsiteY46" fmla="*/ 369734 h 566302"/>
                <a:gd name="connsiteX47" fmla="*/ 268656 w 361957"/>
                <a:gd name="connsiteY47" fmla="*/ 348588 h 566302"/>
                <a:gd name="connsiteX48" fmla="*/ 307917 w 361957"/>
                <a:gd name="connsiteY48" fmla="*/ 348588 h 566302"/>
                <a:gd name="connsiteX49" fmla="*/ 321139 w 361957"/>
                <a:gd name="connsiteY49" fmla="*/ 335375 h 566302"/>
                <a:gd name="connsiteX50" fmla="*/ 359222 w 361957"/>
                <a:gd name="connsiteY50" fmla="*/ 335375 h 566302"/>
                <a:gd name="connsiteX51" fmla="*/ 336330 w 361957"/>
                <a:gd name="connsiteY51" fmla="*/ 312482 h 566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61957" h="566302">
                  <a:moveTo>
                    <a:pt x="350260" y="298552"/>
                  </a:moveTo>
                  <a:lnTo>
                    <a:pt x="350260" y="278205"/>
                  </a:lnTo>
                  <a:lnTo>
                    <a:pt x="336568" y="264514"/>
                  </a:lnTo>
                  <a:lnTo>
                    <a:pt x="336568" y="230352"/>
                  </a:lnTo>
                  <a:lnTo>
                    <a:pt x="361957" y="204979"/>
                  </a:lnTo>
                  <a:lnTo>
                    <a:pt x="302934" y="204979"/>
                  </a:lnTo>
                  <a:lnTo>
                    <a:pt x="277380" y="179434"/>
                  </a:lnTo>
                  <a:lnTo>
                    <a:pt x="247074" y="179434"/>
                  </a:lnTo>
                  <a:lnTo>
                    <a:pt x="226455" y="179434"/>
                  </a:lnTo>
                  <a:lnTo>
                    <a:pt x="200877" y="153856"/>
                  </a:lnTo>
                  <a:lnTo>
                    <a:pt x="200877" y="121416"/>
                  </a:lnTo>
                  <a:lnTo>
                    <a:pt x="200877" y="87057"/>
                  </a:lnTo>
                  <a:lnTo>
                    <a:pt x="200877" y="57343"/>
                  </a:lnTo>
                  <a:lnTo>
                    <a:pt x="240377" y="17843"/>
                  </a:lnTo>
                  <a:lnTo>
                    <a:pt x="240377" y="0"/>
                  </a:lnTo>
                  <a:lnTo>
                    <a:pt x="205119" y="35266"/>
                  </a:lnTo>
                  <a:lnTo>
                    <a:pt x="181271" y="11410"/>
                  </a:lnTo>
                  <a:lnTo>
                    <a:pt x="152076" y="40612"/>
                  </a:lnTo>
                  <a:lnTo>
                    <a:pt x="124077" y="40612"/>
                  </a:lnTo>
                  <a:lnTo>
                    <a:pt x="106547" y="58150"/>
                  </a:lnTo>
                  <a:lnTo>
                    <a:pt x="106547" y="99809"/>
                  </a:lnTo>
                  <a:lnTo>
                    <a:pt x="83522" y="122849"/>
                  </a:lnTo>
                  <a:lnTo>
                    <a:pt x="81092" y="158197"/>
                  </a:lnTo>
                  <a:lnTo>
                    <a:pt x="81092" y="213514"/>
                  </a:lnTo>
                  <a:lnTo>
                    <a:pt x="36542" y="258080"/>
                  </a:lnTo>
                  <a:lnTo>
                    <a:pt x="36542" y="315077"/>
                  </a:lnTo>
                  <a:lnTo>
                    <a:pt x="13320" y="338324"/>
                  </a:lnTo>
                  <a:lnTo>
                    <a:pt x="0" y="351627"/>
                  </a:lnTo>
                  <a:lnTo>
                    <a:pt x="48801" y="400435"/>
                  </a:lnTo>
                  <a:lnTo>
                    <a:pt x="86793" y="400435"/>
                  </a:lnTo>
                  <a:lnTo>
                    <a:pt x="104759" y="418378"/>
                  </a:lnTo>
                  <a:lnTo>
                    <a:pt x="124752" y="418378"/>
                  </a:lnTo>
                  <a:lnTo>
                    <a:pt x="164368" y="457993"/>
                  </a:lnTo>
                  <a:lnTo>
                    <a:pt x="164368" y="477368"/>
                  </a:lnTo>
                  <a:lnTo>
                    <a:pt x="193380" y="506389"/>
                  </a:lnTo>
                  <a:lnTo>
                    <a:pt x="212484" y="487286"/>
                  </a:lnTo>
                  <a:lnTo>
                    <a:pt x="243919" y="518713"/>
                  </a:lnTo>
                  <a:lnTo>
                    <a:pt x="243919" y="553270"/>
                  </a:lnTo>
                  <a:lnTo>
                    <a:pt x="256967" y="566302"/>
                  </a:lnTo>
                  <a:lnTo>
                    <a:pt x="256967" y="514000"/>
                  </a:lnTo>
                  <a:lnTo>
                    <a:pt x="278476" y="514000"/>
                  </a:lnTo>
                  <a:lnTo>
                    <a:pt x="298716" y="493777"/>
                  </a:lnTo>
                  <a:lnTo>
                    <a:pt x="298716" y="444334"/>
                  </a:lnTo>
                  <a:lnTo>
                    <a:pt x="270601" y="416203"/>
                  </a:lnTo>
                  <a:lnTo>
                    <a:pt x="270601" y="388368"/>
                  </a:lnTo>
                  <a:lnTo>
                    <a:pt x="287307" y="388368"/>
                  </a:lnTo>
                  <a:lnTo>
                    <a:pt x="268656" y="369734"/>
                  </a:lnTo>
                  <a:lnTo>
                    <a:pt x="268656" y="348588"/>
                  </a:lnTo>
                  <a:lnTo>
                    <a:pt x="307917" y="348588"/>
                  </a:lnTo>
                  <a:lnTo>
                    <a:pt x="321139" y="335375"/>
                  </a:lnTo>
                  <a:lnTo>
                    <a:pt x="359222" y="335375"/>
                  </a:lnTo>
                  <a:lnTo>
                    <a:pt x="336330" y="312482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8" name="Freeform: Shape 487">
              <a:extLst>
                <a:ext uri="{FF2B5EF4-FFF2-40B4-BE49-F238E27FC236}">
                  <a16:creationId xmlns:a16="http://schemas.microsoft.com/office/drawing/2014/main" id="{8CC630D8-980E-6A47-224E-E2C061694712}"/>
                </a:ext>
              </a:extLst>
            </p:cNvPr>
            <p:cNvSpPr/>
            <p:nvPr/>
          </p:nvSpPr>
          <p:spPr>
            <a:xfrm>
              <a:off x="3564536" y="4293219"/>
              <a:ext cx="386686" cy="382526"/>
            </a:xfrm>
            <a:custGeom>
              <a:avLst/>
              <a:gdLst>
                <a:gd name="connsiteX0" fmla="*/ 175430 w 386686"/>
                <a:gd name="connsiteY0" fmla="*/ 366858 h 382526"/>
                <a:gd name="connsiteX1" fmla="*/ 191107 w 386686"/>
                <a:gd name="connsiteY1" fmla="*/ 382526 h 382526"/>
                <a:gd name="connsiteX2" fmla="*/ 215433 w 386686"/>
                <a:gd name="connsiteY2" fmla="*/ 358200 h 382526"/>
                <a:gd name="connsiteX3" fmla="*/ 245434 w 386686"/>
                <a:gd name="connsiteY3" fmla="*/ 358200 h 382526"/>
                <a:gd name="connsiteX4" fmla="*/ 267025 w 386686"/>
                <a:gd name="connsiteY4" fmla="*/ 336626 h 382526"/>
                <a:gd name="connsiteX5" fmla="*/ 267025 w 386686"/>
                <a:gd name="connsiteY5" fmla="*/ 313610 h 382526"/>
                <a:gd name="connsiteX6" fmla="*/ 250344 w 386686"/>
                <a:gd name="connsiteY6" fmla="*/ 313610 h 382526"/>
                <a:gd name="connsiteX7" fmla="*/ 250344 w 386686"/>
                <a:gd name="connsiteY7" fmla="*/ 276309 h 382526"/>
                <a:gd name="connsiteX8" fmla="*/ 233556 w 386686"/>
                <a:gd name="connsiteY8" fmla="*/ 259513 h 382526"/>
                <a:gd name="connsiteX9" fmla="*/ 286928 w 386686"/>
                <a:gd name="connsiteY9" fmla="*/ 259513 h 382526"/>
                <a:gd name="connsiteX10" fmla="*/ 305702 w 386686"/>
                <a:gd name="connsiteY10" fmla="*/ 240738 h 382526"/>
                <a:gd name="connsiteX11" fmla="*/ 339080 w 386686"/>
                <a:gd name="connsiteY11" fmla="*/ 240738 h 382526"/>
                <a:gd name="connsiteX12" fmla="*/ 359205 w 386686"/>
                <a:gd name="connsiteY12" fmla="*/ 220606 h 382526"/>
                <a:gd name="connsiteX13" fmla="*/ 334163 w 386686"/>
                <a:gd name="connsiteY13" fmla="*/ 195555 h 382526"/>
                <a:gd name="connsiteX14" fmla="*/ 334163 w 386686"/>
                <a:gd name="connsiteY14" fmla="*/ 165701 h 382526"/>
                <a:gd name="connsiteX15" fmla="*/ 346750 w 386686"/>
                <a:gd name="connsiteY15" fmla="*/ 165701 h 382526"/>
                <a:gd name="connsiteX16" fmla="*/ 386687 w 386686"/>
                <a:gd name="connsiteY16" fmla="*/ 125766 h 382526"/>
                <a:gd name="connsiteX17" fmla="*/ 380063 w 386686"/>
                <a:gd name="connsiteY17" fmla="*/ 119142 h 382526"/>
                <a:gd name="connsiteX18" fmla="*/ 343776 w 386686"/>
                <a:gd name="connsiteY18" fmla="*/ 119142 h 382526"/>
                <a:gd name="connsiteX19" fmla="*/ 329870 w 386686"/>
                <a:gd name="connsiteY19" fmla="*/ 105228 h 382526"/>
                <a:gd name="connsiteX20" fmla="*/ 354749 w 386686"/>
                <a:gd name="connsiteY20" fmla="*/ 80367 h 382526"/>
                <a:gd name="connsiteX21" fmla="*/ 333158 w 386686"/>
                <a:gd name="connsiteY21" fmla="*/ 58784 h 382526"/>
                <a:gd name="connsiteX22" fmla="*/ 305660 w 386686"/>
                <a:gd name="connsiteY22" fmla="*/ 58784 h 382526"/>
                <a:gd name="connsiteX23" fmla="*/ 277397 w 386686"/>
                <a:gd name="connsiteY23" fmla="*/ 30513 h 382526"/>
                <a:gd name="connsiteX24" fmla="*/ 246406 w 386686"/>
                <a:gd name="connsiteY24" fmla="*/ 30513 h 382526"/>
                <a:gd name="connsiteX25" fmla="*/ 207434 w 386686"/>
                <a:gd name="connsiteY25" fmla="*/ 69485 h 382526"/>
                <a:gd name="connsiteX26" fmla="*/ 179005 w 386686"/>
                <a:gd name="connsiteY26" fmla="*/ 41064 h 382526"/>
                <a:gd name="connsiteX27" fmla="*/ 140140 w 386686"/>
                <a:gd name="connsiteY27" fmla="*/ 41064 h 382526"/>
                <a:gd name="connsiteX28" fmla="*/ 110171 w 386686"/>
                <a:gd name="connsiteY28" fmla="*/ 11087 h 382526"/>
                <a:gd name="connsiteX29" fmla="*/ 89618 w 386686"/>
                <a:gd name="connsiteY29" fmla="*/ 11087 h 382526"/>
                <a:gd name="connsiteX30" fmla="*/ 39500 w 386686"/>
                <a:gd name="connsiteY30" fmla="*/ 11087 h 382526"/>
                <a:gd name="connsiteX31" fmla="*/ 39500 w 386686"/>
                <a:gd name="connsiteY31" fmla="*/ 0 h 382526"/>
                <a:gd name="connsiteX32" fmla="*/ 0 w 386686"/>
                <a:gd name="connsiteY32" fmla="*/ 39500 h 382526"/>
                <a:gd name="connsiteX33" fmla="*/ 0 w 386686"/>
                <a:gd name="connsiteY33" fmla="*/ 69214 h 382526"/>
                <a:gd name="connsiteX34" fmla="*/ 0 w 386686"/>
                <a:gd name="connsiteY34" fmla="*/ 103573 h 382526"/>
                <a:gd name="connsiteX35" fmla="*/ 0 w 386686"/>
                <a:gd name="connsiteY35" fmla="*/ 136013 h 382526"/>
                <a:gd name="connsiteX36" fmla="*/ 25578 w 386686"/>
                <a:gd name="connsiteY36" fmla="*/ 161591 h 382526"/>
                <a:gd name="connsiteX37" fmla="*/ 46197 w 386686"/>
                <a:gd name="connsiteY37" fmla="*/ 161591 h 382526"/>
                <a:gd name="connsiteX38" fmla="*/ 76503 w 386686"/>
                <a:gd name="connsiteY38" fmla="*/ 161591 h 382526"/>
                <a:gd name="connsiteX39" fmla="*/ 102057 w 386686"/>
                <a:gd name="connsiteY39" fmla="*/ 187136 h 382526"/>
                <a:gd name="connsiteX40" fmla="*/ 161080 w 386686"/>
                <a:gd name="connsiteY40" fmla="*/ 187136 h 382526"/>
                <a:gd name="connsiteX41" fmla="*/ 135691 w 386686"/>
                <a:gd name="connsiteY41" fmla="*/ 212509 h 382526"/>
                <a:gd name="connsiteX42" fmla="*/ 135691 w 386686"/>
                <a:gd name="connsiteY42" fmla="*/ 246671 h 382526"/>
                <a:gd name="connsiteX43" fmla="*/ 149383 w 386686"/>
                <a:gd name="connsiteY43" fmla="*/ 260361 h 382526"/>
                <a:gd name="connsiteX44" fmla="*/ 149383 w 386686"/>
                <a:gd name="connsiteY44" fmla="*/ 280708 h 382526"/>
                <a:gd name="connsiteX45" fmla="*/ 135453 w 386686"/>
                <a:gd name="connsiteY45" fmla="*/ 294638 h 382526"/>
                <a:gd name="connsiteX46" fmla="*/ 158345 w 386686"/>
                <a:gd name="connsiteY46" fmla="*/ 317531 h 382526"/>
                <a:gd name="connsiteX47" fmla="*/ 158345 w 386686"/>
                <a:gd name="connsiteY47" fmla="*/ 349757 h 382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86686" h="382526">
                  <a:moveTo>
                    <a:pt x="175430" y="366858"/>
                  </a:moveTo>
                  <a:lnTo>
                    <a:pt x="191107" y="382526"/>
                  </a:lnTo>
                  <a:lnTo>
                    <a:pt x="215433" y="358200"/>
                  </a:lnTo>
                  <a:lnTo>
                    <a:pt x="245434" y="358200"/>
                  </a:lnTo>
                  <a:lnTo>
                    <a:pt x="267025" y="336626"/>
                  </a:lnTo>
                  <a:lnTo>
                    <a:pt x="267025" y="313610"/>
                  </a:lnTo>
                  <a:lnTo>
                    <a:pt x="250344" y="313610"/>
                  </a:lnTo>
                  <a:lnTo>
                    <a:pt x="250344" y="276309"/>
                  </a:lnTo>
                  <a:lnTo>
                    <a:pt x="233556" y="259513"/>
                  </a:lnTo>
                  <a:lnTo>
                    <a:pt x="286928" y="259513"/>
                  </a:lnTo>
                  <a:lnTo>
                    <a:pt x="305702" y="240738"/>
                  </a:lnTo>
                  <a:lnTo>
                    <a:pt x="339080" y="240738"/>
                  </a:lnTo>
                  <a:lnTo>
                    <a:pt x="359205" y="220606"/>
                  </a:lnTo>
                  <a:lnTo>
                    <a:pt x="334163" y="195555"/>
                  </a:lnTo>
                  <a:lnTo>
                    <a:pt x="334163" y="165701"/>
                  </a:lnTo>
                  <a:lnTo>
                    <a:pt x="346750" y="165701"/>
                  </a:lnTo>
                  <a:lnTo>
                    <a:pt x="386687" y="125766"/>
                  </a:lnTo>
                  <a:lnTo>
                    <a:pt x="380063" y="119142"/>
                  </a:lnTo>
                  <a:lnTo>
                    <a:pt x="343776" y="119142"/>
                  </a:lnTo>
                  <a:lnTo>
                    <a:pt x="329870" y="105228"/>
                  </a:lnTo>
                  <a:lnTo>
                    <a:pt x="354749" y="80367"/>
                  </a:lnTo>
                  <a:lnTo>
                    <a:pt x="333158" y="58784"/>
                  </a:lnTo>
                  <a:lnTo>
                    <a:pt x="305660" y="58784"/>
                  </a:lnTo>
                  <a:lnTo>
                    <a:pt x="277397" y="30513"/>
                  </a:lnTo>
                  <a:lnTo>
                    <a:pt x="246406" y="30513"/>
                  </a:lnTo>
                  <a:lnTo>
                    <a:pt x="207434" y="69485"/>
                  </a:lnTo>
                  <a:lnTo>
                    <a:pt x="179005" y="41064"/>
                  </a:lnTo>
                  <a:lnTo>
                    <a:pt x="140140" y="41064"/>
                  </a:lnTo>
                  <a:lnTo>
                    <a:pt x="110171" y="11087"/>
                  </a:lnTo>
                  <a:lnTo>
                    <a:pt x="89618" y="11087"/>
                  </a:lnTo>
                  <a:lnTo>
                    <a:pt x="39500" y="11087"/>
                  </a:lnTo>
                  <a:lnTo>
                    <a:pt x="39500" y="0"/>
                  </a:lnTo>
                  <a:lnTo>
                    <a:pt x="0" y="39500"/>
                  </a:lnTo>
                  <a:lnTo>
                    <a:pt x="0" y="69214"/>
                  </a:lnTo>
                  <a:lnTo>
                    <a:pt x="0" y="103573"/>
                  </a:lnTo>
                  <a:lnTo>
                    <a:pt x="0" y="136013"/>
                  </a:lnTo>
                  <a:lnTo>
                    <a:pt x="25578" y="161591"/>
                  </a:lnTo>
                  <a:lnTo>
                    <a:pt x="46197" y="161591"/>
                  </a:lnTo>
                  <a:lnTo>
                    <a:pt x="76503" y="161591"/>
                  </a:lnTo>
                  <a:lnTo>
                    <a:pt x="102057" y="187136"/>
                  </a:lnTo>
                  <a:lnTo>
                    <a:pt x="161080" y="187136"/>
                  </a:lnTo>
                  <a:lnTo>
                    <a:pt x="135691" y="212509"/>
                  </a:lnTo>
                  <a:lnTo>
                    <a:pt x="135691" y="246671"/>
                  </a:lnTo>
                  <a:lnTo>
                    <a:pt x="149383" y="260361"/>
                  </a:lnTo>
                  <a:lnTo>
                    <a:pt x="149383" y="280708"/>
                  </a:lnTo>
                  <a:lnTo>
                    <a:pt x="135453" y="294638"/>
                  </a:lnTo>
                  <a:lnTo>
                    <a:pt x="158345" y="317531"/>
                  </a:lnTo>
                  <a:lnTo>
                    <a:pt x="158345" y="349757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9" name="Freeform: Shape 488">
              <a:extLst>
                <a:ext uri="{FF2B5EF4-FFF2-40B4-BE49-F238E27FC236}">
                  <a16:creationId xmlns:a16="http://schemas.microsoft.com/office/drawing/2014/main" id="{66D29C08-532C-87CC-500D-A263E9FD51B1}"/>
                </a:ext>
              </a:extLst>
            </p:cNvPr>
            <p:cNvSpPr/>
            <p:nvPr/>
          </p:nvSpPr>
          <p:spPr>
            <a:xfrm>
              <a:off x="4099527" y="4488864"/>
              <a:ext cx="96306" cy="122569"/>
            </a:xfrm>
            <a:custGeom>
              <a:avLst/>
              <a:gdLst>
                <a:gd name="connsiteX0" fmla="*/ 40463 w 96306"/>
                <a:gd name="connsiteY0" fmla="*/ 0 h 122569"/>
                <a:gd name="connsiteX1" fmla="*/ 0 w 96306"/>
                <a:gd name="connsiteY1" fmla="*/ 0 h 122569"/>
                <a:gd name="connsiteX2" fmla="*/ 0 w 96306"/>
                <a:gd name="connsiteY2" fmla="*/ 33454 h 122569"/>
                <a:gd name="connsiteX3" fmla="*/ 15824 w 96306"/>
                <a:gd name="connsiteY3" fmla="*/ 33454 h 122569"/>
                <a:gd name="connsiteX4" fmla="*/ 15824 w 96306"/>
                <a:gd name="connsiteY4" fmla="*/ 78597 h 122569"/>
                <a:gd name="connsiteX5" fmla="*/ 2685 w 96306"/>
                <a:gd name="connsiteY5" fmla="*/ 91735 h 122569"/>
                <a:gd name="connsiteX6" fmla="*/ 2685 w 96306"/>
                <a:gd name="connsiteY6" fmla="*/ 122570 h 122569"/>
                <a:gd name="connsiteX7" fmla="*/ 15922 w 96306"/>
                <a:gd name="connsiteY7" fmla="*/ 122570 h 122569"/>
                <a:gd name="connsiteX8" fmla="*/ 52993 w 96306"/>
                <a:gd name="connsiteY8" fmla="*/ 122570 h 122569"/>
                <a:gd name="connsiteX9" fmla="*/ 74443 w 96306"/>
                <a:gd name="connsiteY9" fmla="*/ 101127 h 122569"/>
                <a:gd name="connsiteX10" fmla="*/ 74443 w 96306"/>
                <a:gd name="connsiteY10" fmla="*/ 77715 h 122569"/>
                <a:gd name="connsiteX11" fmla="*/ 96306 w 96306"/>
                <a:gd name="connsiteY11" fmla="*/ 55843 h 122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306" h="122569">
                  <a:moveTo>
                    <a:pt x="40463" y="0"/>
                  </a:moveTo>
                  <a:lnTo>
                    <a:pt x="0" y="0"/>
                  </a:lnTo>
                  <a:lnTo>
                    <a:pt x="0" y="33454"/>
                  </a:lnTo>
                  <a:lnTo>
                    <a:pt x="15824" y="33454"/>
                  </a:lnTo>
                  <a:lnTo>
                    <a:pt x="15824" y="78597"/>
                  </a:lnTo>
                  <a:lnTo>
                    <a:pt x="2685" y="91735"/>
                  </a:lnTo>
                  <a:lnTo>
                    <a:pt x="2685" y="122570"/>
                  </a:lnTo>
                  <a:lnTo>
                    <a:pt x="15922" y="122570"/>
                  </a:lnTo>
                  <a:lnTo>
                    <a:pt x="52993" y="122570"/>
                  </a:lnTo>
                  <a:lnTo>
                    <a:pt x="74443" y="101127"/>
                  </a:lnTo>
                  <a:lnTo>
                    <a:pt x="74443" y="77715"/>
                  </a:lnTo>
                  <a:lnTo>
                    <a:pt x="96306" y="55843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0" name="Freeform: Shape 489">
              <a:extLst>
                <a:ext uri="{FF2B5EF4-FFF2-40B4-BE49-F238E27FC236}">
                  <a16:creationId xmlns:a16="http://schemas.microsoft.com/office/drawing/2014/main" id="{4B156F54-86B7-D1ED-29A5-F66122CEE0F6}"/>
                </a:ext>
              </a:extLst>
            </p:cNvPr>
            <p:cNvSpPr/>
            <p:nvPr/>
          </p:nvSpPr>
          <p:spPr>
            <a:xfrm>
              <a:off x="3898699" y="4418984"/>
              <a:ext cx="121712" cy="228389"/>
            </a:xfrm>
            <a:custGeom>
              <a:avLst/>
              <a:gdLst>
                <a:gd name="connsiteX0" fmla="*/ 107700 w 121712"/>
                <a:gd name="connsiteY0" fmla="*/ 157143 h 228389"/>
                <a:gd name="connsiteX1" fmla="*/ 107700 w 121712"/>
                <a:gd name="connsiteY1" fmla="*/ 129785 h 228389"/>
                <a:gd name="connsiteX2" fmla="*/ 91851 w 121712"/>
                <a:gd name="connsiteY2" fmla="*/ 129785 h 228389"/>
                <a:gd name="connsiteX3" fmla="*/ 91851 w 121712"/>
                <a:gd name="connsiteY3" fmla="*/ 103334 h 228389"/>
                <a:gd name="connsiteX4" fmla="*/ 112923 w 121712"/>
                <a:gd name="connsiteY4" fmla="*/ 82270 h 228389"/>
                <a:gd name="connsiteX5" fmla="*/ 112923 w 121712"/>
                <a:gd name="connsiteY5" fmla="*/ 60398 h 228389"/>
                <a:gd name="connsiteX6" fmla="*/ 52524 w 121712"/>
                <a:gd name="connsiteY6" fmla="*/ 0 h 228389"/>
                <a:gd name="connsiteX7" fmla="*/ 12587 w 121712"/>
                <a:gd name="connsiteY7" fmla="*/ 39936 h 228389"/>
                <a:gd name="connsiteX8" fmla="*/ 0 w 121712"/>
                <a:gd name="connsiteY8" fmla="*/ 39936 h 228389"/>
                <a:gd name="connsiteX9" fmla="*/ 0 w 121712"/>
                <a:gd name="connsiteY9" fmla="*/ 69789 h 228389"/>
                <a:gd name="connsiteX10" fmla="*/ 25043 w 121712"/>
                <a:gd name="connsiteY10" fmla="*/ 94840 h 228389"/>
                <a:gd name="connsiteX11" fmla="*/ 44344 w 121712"/>
                <a:gd name="connsiteY11" fmla="*/ 94840 h 228389"/>
                <a:gd name="connsiteX12" fmla="*/ 44344 w 121712"/>
                <a:gd name="connsiteY12" fmla="*/ 112000 h 228389"/>
                <a:gd name="connsiteX13" fmla="*/ 30637 w 121712"/>
                <a:gd name="connsiteY13" fmla="*/ 125715 h 228389"/>
                <a:gd name="connsiteX14" fmla="*/ 47449 w 121712"/>
                <a:gd name="connsiteY14" fmla="*/ 142512 h 228389"/>
                <a:gd name="connsiteX15" fmla="*/ 30324 w 121712"/>
                <a:gd name="connsiteY15" fmla="*/ 159639 h 228389"/>
                <a:gd name="connsiteX16" fmla="*/ 30324 w 121712"/>
                <a:gd name="connsiteY16" fmla="*/ 197565 h 228389"/>
                <a:gd name="connsiteX17" fmla="*/ 61141 w 121712"/>
                <a:gd name="connsiteY17" fmla="*/ 228390 h 228389"/>
                <a:gd name="connsiteX18" fmla="*/ 102165 w 121712"/>
                <a:gd name="connsiteY18" fmla="*/ 228390 h 228389"/>
                <a:gd name="connsiteX19" fmla="*/ 121712 w 121712"/>
                <a:gd name="connsiteY19" fmla="*/ 208859 h 228389"/>
                <a:gd name="connsiteX20" fmla="*/ 121712 w 121712"/>
                <a:gd name="connsiteY20" fmla="*/ 171146 h 228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712" h="228389">
                  <a:moveTo>
                    <a:pt x="107700" y="157143"/>
                  </a:moveTo>
                  <a:lnTo>
                    <a:pt x="107700" y="129785"/>
                  </a:lnTo>
                  <a:lnTo>
                    <a:pt x="91851" y="129785"/>
                  </a:lnTo>
                  <a:lnTo>
                    <a:pt x="91851" y="103334"/>
                  </a:lnTo>
                  <a:lnTo>
                    <a:pt x="112923" y="82270"/>
                  </a:lnTo>
                  <a:lnTo>
                    <a:pt x="112923" y="60398"/>
                  </a:lnTo>
                  <a:lnTo>
                    <a:pt x="52524" y="0"/>
                  </a:lnTo>
                  <a:lnTo>
                    <a:pt x="12587" y="39936"/>
                  </a:lnTo>
                  <a:lnTo>
                    <a:pt x="0" y="39936"/>
                  </a:lnTo>
                  <a:lnTo>
                    <a:pt x="0" y="69789"/>
                  </a:lnTo>
                  <a:lnTo>
                    <a:pt x="25043" y="94840"/>
                  </a:lnTo>
                  <a:lnTo>
                    <a:pt x="44344" y="94840"/>
                  </a:lnTo>
                  <a:lnTo>
                    <a:pt x="44344" y="112000"/>
                  </a:lnTo>
                  <a:lnTo>
                    <a:pt x="30637" y="125715"/>
                  </a:lnTo>
                  <a:lnTo>
                    <a:pt x="47449" y="142512"/>
                  </a:lnTo>
                  <a:lnTo>
                    <a:pt x="30324" y="159639"/>
                  </a:lnTo>
                  <a:lnTo>
                    <a:pt x="30324" y="197565"/>
                  </a:lnTo>
                  <a:lnTo>
                    <a:pt x="61141" y="228390"/>
                  </a:lnTo>
                  <a:lnTo>
                    <a:pt x="102165" y="228390"/>
                  </a:lnTo>
                  <a:lnTo>
                    <a:pt x="121712" y="208859"/>
                  </a:lnTo>
                  <a:lnTo>
                    <a:pt x="121712" y="171146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1" name="Freeform: Shape 490">
              <a:extLst>
                <a:ext uri="{FF2B5EF4-FFF2-40B4-BE49-F238E27FC236}">
                  <a16:creationId xmlns:a16="http://schemas.microsoft.com/office/drawing/2014/main" id="{0B00353C-C3E6-6910-EB80-72FE36F64C2E}"/>
                </a:ext>
              </a:extLst>
            </p:cNvPr>
            <p:cNvSpPr/>
            <p:nvPr/>
          </p:nvSpPr>
          <p:spPr>
            <a:xfrm>
              <a:off x="3990550" y="4479383"/>
              <a:ext cx="124801" cy="148460"/>
            </a:xfrm>
            <a:custGeom>
              <a:avLst/>
              <a:gdLst>
                <a:gd name="connsiteX0" fmla="*/ 124801 w 124801"/>
                <a:gd name="connsiteY0" fmla="*/ 88078 h 148460"/>
                <a:gd name="connsiteX1" fmla="*/ 124801 w 124801"/>
                <a:gd name="connsiteY1" fmla="*/ 42936 h 148460"/>
                <a:gd name="connsiteX2" fmla="*/ 108977 w 124801"/>
                <a:gd name="connsiteY2" fmla="*/ 42936 h 148460"/>
                <a:gd name="connsiteX3" fmla="*/ 108977 w 124801"/>
                <a:gd name="connsiteY3" fmla="*/ 9481 h 148460"/>
                <a:gd name="connsiteX4" fmla="*/ 86562 w 124801"/>
                <a:gd name="connsiteY4" fmla="*/ 9481 h 148460"/>
                <a:gd name="connsiteX5" fmla="*/ 30545 w 124801"/>
                <a:gd name="connsiteY5" fmla="*/ 9481 h 148460"/>
                <a:gd name="connsiteX6" fmla="*/ 21072 w 124801"/>
                <a:gd name="connsiteY6" fmla="*/ 0 h 148460"/>
                <a:gd name="connsiteX7" fmla="*/ 21072 w 124801"/>
                <a:gd name="connsiteY7" fmla="*/ 21871 h 148460"/>
                <a:gd name="connsiteX8" fmla="*/ 0 w 124801"/>
                <a:gd name="connsiteY8" fmla="*/ 42936 h 148460"/>
                <a:gd name="connsiteX9" fmla="*/ 0 w 124801"/>
                <a:gd name="connsiteY9" fmla="*/ 69386 h 148460"/>
                <a:gd name="connsiteX10" fmla="*/ 15849 w 124801"/>
                <a:gd name="connsiteY10" fmla="*/ 69386 h 148460"/>
                <a:gd name="connsiteX11" fmla="*/ 15849 w 124801"/>
                <a:gd name="connsiteY11" fmla="*/ 96744 h 148460"/>
                <a:gd name="connsiteX12" fmla="*/ 29861 w 124801"/>
                <a:gd name="connsiteY12" fmla="*/ 110748 h 148460"/>
                <a:gd name="connsiteX13" fmla="*/ 29861 w 124801"/>
                <a:gd name="connsiteY13" fmla="*/ 148460 h 148460"/>
                <a:gd name="connsiteX14" fmla="*/ 66759 w 124801"/>
                <a:gd name="connsiteY14" fmla="*/ 148460 h 148460"/>
                <a:gd name="connsiteX15" fmla="*/ 83160 w 124801"/>
                <a:gd name="connsiteY15" fmla="*/ 132051 h 148460"/>
                <a:gd name="connsiteX16" fmla="*/ 103078 w 124801"/>
                <a:gd name="connsiteY16" fmla="*/ 132051 h 148460"/>
                <a:gd name="connsiteX17" fmla="*/ 111662 w 124801"/>
                <a:gd name="connsiteY17" fmla="*/ 132051 h 148460"/>
                <a:gd name="connsiteX18" fmla="*/ 111662 w 124801"/>
                <a:gd name="connsiteY18" fmla="*/ 101216 h 148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4801" h="148460">
                  <a:moveTo>
                    <a:pt x="124801" y="88078"/>
                  </a:moveTo>
                  <a:lnTo>
                    <a:pt x="124801" y="42936"/>
                  </a:lnTo>
                  <a:lnTo>
                    <a:pt x="108977" y="42936"/>
                  </a:lnTo>
                  <a:lnTo>
                    <a:pt x="108977" y="9481"/>
                  </a:lnTo>
                  <a:lnTo>
                    <a:pt x="86562" y="9481"/>
                  </a:lnTo>
                  <a:lnTo>
                    <a:pt x="30545" y="9481"/>
                  </a:lnTo>
                  <a:lnTo>
                    <a:pt x="21072" y="0"/>
                  </a:lnTo>
                  <a:lnTo>
                    <a:pt x="21072" y="21871"/>
                  </a:lnTo>
                  <a:lnTo>
                    <a:pt x="0" y="42936"/>
                  </a:lnTo>
                  <a:lnTo>
                    <a:pt x="0" y="69386"/>
                  </a:lnTo>
                  <a:lnTo>
                    <a:pt x="15849" y="69386"/>
                  </a:lnTo>
                  <a:lnTo>
                    <a:pt x="15849" y="96744"/>
                  </a:lnTo>
                  <a:lnTo>
                    <a:pt x="29861" y="110748"/>
                  </a:lnTo>
                  <a:lnTo>
                    <a:pt x="29861" y="148460"/>
                  </a:lnTo>
                  <a:lnTo>
                    <a:pt x="66759" y="148460"/>
                  </a:lnTo>
                  <a:lnTo>
                    <a:pt x="83160" y="132051"/>
                  </a:lnTo>
                  <a:lnTo>
                    <a:pt x="103078" y="132051"/>
                  </a:lnTo>
                  <a:lnTo>
                    <a:pt x="111662" y="132051"/>
                  </a:lnTo>
                  <a:lnTo>
                    <a:pt x="111662" y="101216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2" name="Freeform: Shape 491">
              <a:extLst>
                <a:ext uri="{FF2B5EF4-FFF2-40B4-BE49-F238E27FC236}">
                  <a16:creationId xmlns:a16="http://schemas.microsoft.com/office/drawing/2014/main" id="{D2AC06EF-5491-09D1-084B-304DFD160CE4}"/>
                </a:ext>
              </a:extLst>
            </p:cNvPr>
            <p:cNvSpPr/>
            <p:nvPr/>
          </p:nvSpPr>
          <p:spPr>
            <a:xfrm>
              <a:off x="3514055" y="4513825"/>
              <a:ext cx="1185391" cy="1332484"/>
            </a:xfrm>
            <a:custGeom>
              <a:avLst/>
              <a:gdLst>
                <a:gd name="connsiteX0" fmla="*/ 1156922 w 1185391"/>
                <a:gd name="connsiteY0" fmla="*/ 381554 h 1332484"/>
                <a:gd name="connsiteX1" fmla="*/ 1156922 w 1185391"/>
                <a:gd name="connsiteY1" fmla="*/ 341322 h 1332484"/>
                <a:gd name="connsiteX2" fmla="*/ 1104835 w 1185391"/>
                <a:gd name="connsiteY2" fmla="*/ 341322 h 1332484"/>
                <a:gd name="connsiteX3" fmla="*/ 1029896 w 1185391"/>
                <a:gd name="connsiteY3" fmla="*/ 266358 h 1332484"/>
                <a:gd name="connsiteX4" fmla="*/ 921142 w 1185391"/>
                <a:gd name="connsiteY4" fmla="*/ 266358 h 1332484"/>
                <a:gd name="connsiteX5" fmla="*/ 882457 w 1185391"/>
                <a:gd name="connsiteY5" fmla="*/ 266358 h 1332484"/>
                <a:gd name="connsiteX6" fmla="*/ 908003 w 1185391"/>
                <a:gd name="connsiteY6" fmla="*/ 240830 h 1332484"/>
                <a:gd name="connsiteX7" fmla="*/ 868626 w 1185391"/>
                <a:gd name="connsiteY7" fmla="*/ 201445 h 1332484"/>
                <a:gd name="connsiteX8" fmla="*/ 784717 w 1185391"/>
                <a:gd name="connsiteY8" fmla="*/ 201445 h 1332484"/>
                <a:gd name="connsiteX9" fmla="*/ 765705 w 1185391"/>
                <a:gd name="connsiteY9" fmla="*/ 182449 h 1332484"/>
                <a:gd name="connsiteX10" fmla="*/ 704168 w 1185391"/>
                <a:gd name="connsiteY10" fmla="*/ 182449 h 1332484"/>
                <a:gd name="connsiteX11" fmla="*/ 682701 w 1185391"/>
                <a:gd name="connsiteY11" fmla="*/ 203909 h 1332484"/>
                <a:gd name="connsiteX12" fmla="*/ 670139 w 1185391"/>
                <a:gd name="connsiteY12" fmla="*/ 203909 h 1332484"/>
                <a:gd name="connsiteX13" fmla="*/ 660179 w 1185391"/>
                <a:gd name="connsiteY13" fmla="*/ 203909 h 1332484"/>
                <a:gd name="connsiteX14" fmla="*/ 730290 w 1185391"/>
                <a:gd name="connsiteY14" fmla="*/ 133781 h 1332484"/>
                <a:gd name="connsiteX15" fmla="*/ 685823 w 1185391"/>
                <a:gd name="connsiteY15" fmla="*/ 89313 h 1332484"/>
                <a:gd name="connsiteX16" fmla="*/ 685823 w 1185391"/>
                <a:gd name="connsiteY16" fmla="*/ 34920 h 1332484"/>
                <a:gd name="connsiteX17" fmla="*/ 681778 w 1185391"/>
                <a:gd name="connsiteY17" fmla="*/ 30883 h 1332484"/>
                <a:gd name="connsiteX18" fmla="*/ 659915 w 1185391"/>
                <a:gd name="connsiteY18" fmla="*/ 52754 h 1332484"/>
                <a:gd name="connsiteX19" fmla="*/ 659915 w 1185391"/>
                <a:gd name="connsiteY19" fmla="*/ 76166 h 1332484"/>
                <a:gd name="connsiteX20" fmla="*/ 638465 w 1185391"/>
                <a:gd name="connsiteY20" fmla="*/ 97609 h 1332484"/>
                <a:gd name="connsiteX21" fmla="*/ 601394 w 1185391"/>
                <a:gd name="connsiteY21" fmla="*/ 97609 h 1332484"/>
                <a:gd name="connsiteX22" fmla="*/ 579573 w 1185391"/>
                <a:gd name="connsiteY22" fmla="*/ 97609 h 1332484"/>
                <a:gd name="connsiteX23" fmla="*/ 559654 w 1185391"/>
                <a:gd name="connsiteY23" fmla="*/ 97609 h 1332484"/>
                <a:gd name="connsiteX24" fmla="*/ 543253 w 1185391"/>
                <a:gd name="connsiteY24" fmla="*/ 114018 h 1332484"/>
                <a:gd name="connsiteX25" fmla="*/ 506356 w 1185391"/>
                <a:gd name="connsiteY25" fmla="*/ 114018 h 1332484"/>
                <a:gd name="connsiteX26" fmla="*/ 486808 w 1185391"/>
                <a:gd name="connsiteY26" fmla="*/ 133549 h 1332484"/>
                <a:gd name="connsiteX27" fmla="*/ 445784 w 1185391"/>
                <a:gd name="connsiteY27" fmla="*/ 133549 h 1332484"/>
                <a:gd name="connsiteX28" fmla="*/ 414967 w 1185391"/>
                <a:gd name="connsiteY28" fmla="*/ 102725 h 1332484"/>
                <a:gd name="connsiteX29" fmla="*/ 414967 w 1185391"/>
                <a:gd name="connsiteY29" fmla="*/ 64798 h 1332484"/>
                <a:gd name="connsiteX30" fmla="*/ 432093 w 1185391"/>
                <a:gd name="connsiteY30" fmla="*/ 47672 h 1332484"/>
                <a:gd name="connsiteX31" fmla="*/ 415280 w 1185391"/>
                <a:gd name="connsiteY31" fmla="*/ 30875 h 1332484"/>
                <a:gd name="connsiteX32" fmla="*/ 428988 w 1185391"/>
                <a:gd name="connsiteY32" fmla="*/ 17159 h 1332484"/>
                <a:gd name="connsiteX33" fmla="*/ 428988 w 1185391"/>
                <a:gd name="connsiteY33" fmla="*/ 0 h 1332484"/>
                <a:gd name="connsiteX34" fmla="*/ 409686 w 1185391"/>
                <a:gd name="connsiteY34" fmla="*/ 0 h 1332484"/>
                <a:gd name="connsiteX35" fmla="*/ 389561 w 1185391"/>
                <a:gd name="connsiteY35" fmla="*/ 20132 h 1332484"/>
                <a:gd name="connsiteX36" fmla="*/ 356183 w 1185391"/>
                <a:gd name="connsiteY36" fmla="*/ 20132 h 1332484"/>
                <a:gd name="connsiteX37" fmla="*/ 337409 w 1185391"/>
                <a:gd name="connsiteY37" fmla="*/ 38907 h 1332484"/>
                <a:gd name="connsiteX38" fmla="*/ 284037 w 1185391"/>
                <a:gd name="connsiteY38" fmla="*/ 38907 h 1332484"/>
                <a:gd name="connsiteX39" fmla="*/ 300825 w 1185391"/>
                <a:gd name="connsiteY39" fmla="*/ 55703 h 1332484"/>
                <a:gd name="connsiteX40" fmla="*/ 300825 w 1185391"/>
                <a:gd name="connsiteY40" fmla="*/ 93004 h 1332484"/>
                <a:gd name="connsiteX41" fmla="*/ 317506 w 1185391"/>
                <a:gd name="connsiteY41" fmla="*/ 93004 h 1332484"/>
                <a:gd name="connsiteX42" fmla="*/ 317506 w 1185391"/>
                <a:gd name="connsiteY42" fmla="*/ 116020 h 1332484"/>
                <a:gd name="connsiteX43" fmla="*/ 295915 w 1185391"/>
                <a:gd name="connsiteY43" fmla="*/ 137594 h 1332484"/>
                <a:gd name="connsiteX44" fmla="*/ 265914 w 1185391"/>
                <a:gd name="connsiteY44" fmla="*/ 137594 h 1332484"/>
                <a:gd name="connsiteX45" fmla="*/ 241588 w 1185391"/>
                <a:gd name="connsiteY45" fmla="*/ 161921 h 1332484"/>
                <a:gd name="connsiteX46" fmla="*/ 225911 w 1185391"/>
                <a:gd name="connsiteY46" fmla="*/ 146252 h 1332484"/>
                <a:gd name="connsiteX47" fmla="*/ 208826 w 1185391"/>
                <a:gd name="connsiteY47" fmla="*/ 129151 h 1332484"/>
                <a:gd name="connsiteX48" fmla="*/ 208826 w 1185391"/>
                <a:gd name="connsiteY48" fmla="*/ 96926 h 1332484"/>
                <a:gd name="connsiteX49" fmla="*/ 170743 w 1185391"/>
                <a:gd name="connsiteY49" fmla="*/ 96926 h 1332484"/>
                <a:gd name="connsiteX50" fmla="*/ 157521 w 1185391"/>
                <a:gd name="connsiteY50" fmla="*/ 110139 h 1332484"/>
                <a:gd name="connsiteX51" fmla="*/ 118260 w 1185391"/>
                <a:gd name="connsiteY51" fmla="*/ 110139 h 1332484"/>
                <a:gd name="connsiteX52" fmla="*/ 118260 w 1185391"/>
                <a:gd name="connsiteY52" fmla="*/ 131285 h 1332484"/>
                <a:gd name="connsiteX53" fmla="*/ 136911 w 1185391"/>
                <a:gd name="connsiteY53" fmla="*/ 149918 h 1332484"/>
                <a:gd name="connsiteX54" fmla="*/ 120205 w 1185391"/>
                <a:gd name="connsiteY54" fmla="*/ 149918 h 1332484"/>
                <a:gd name="connsiteX55" fmla="*/ 120205 w 1185391"/>
                <a:gd name="connsiteY55" fmla="*/ 177754 h 1332484"/>
                <a:gd name="connsiteX56" fmla="*/ 148320 w 1185391"/>
                <a:gd name="connsiteY56" fmla="*/ 205885 h 1332484"/>
                <a:gd name="connsiteX57" fmla="*/ 148320 w 1185391"/>
                <a:gd name="connsiteY57" fmla="*/ 255328 h 1332484"/>
                <a:gd name="connsiteX58" fmla="*/ 128080 w 1185391"/>
                <a:gd name="connsiteY58" fmla="*/ 275551 h 1332484"/>
                <a:gd name="connsiteX59" fmla="*/ 106571 w 1185391"/>
                <a:gd name="connsiteY59" fmla="*/ 275551 h 1332484"/>
                <a:gd name="connsiteX60" fmla="*/ 106571 w 1185391"/>
                <a:gd name="connsiteY60" fmla="*/ 327853 h 1332484"/>
                <a:gd name="connsiteX61" fmla="*/ 93523 w 1185391"/>
                <a:gd name="connsiteY61" fmla="*/ 314821 h 1332484"/>
                <a:gd name="connsiteX62" fmla="*/ 70877 w 1185391"/>
                <a:gd name="connsiteY62" fmla="*/ 337450 h 1332484"/>
                <a:gd name="connsiteX63" fmla="*/ 44336 w 1185391"/>
                <a:gd name="connsiteY63" fmla="*/ 337450 h 1332484"/>
                <a:gd name="connsiteX64" fmla="*/ 11936 w 1185391"/>
                <a:gd name="connsiteY64" fmla="*/ 369841 h 1332484"/>
                <a:gd name="connsiteX65" fmla="*/ 11936 w 1185391"/>
                <a:gd name="connsiteY65" fmla="*/ 406424 h 1332484"/>
                <a:gd name="connsiteX66" fmla="*/ 0 w 1185391"/>
                <a:gd name="connsiteY66" fmla="*/ 418377 h 1332484"/>
                <a:gd name="connsiteX67" fmla="*/ 0 w 1185391"/>
                <a:gd name="connsiteY67" fmla="*/ 475785 h 1332484"/>
                <a:gd name="connsiteX68" fmla="*/ 28626 w 1185391"/>
                <a:gd name="connsiteY68" fmla="*/ 475785 h 1332484"/>
                <a:gd name="connsiteX69" fmla="*/ 48899 w 1185391"/>
                <a:gd name="connsiteY69" fmla="*/ 496067 h 1332484"/>
                <a:gd name="connsiteX70" fmla="*/ 48899 w 1185391"/>
                <a:gd name="connsiteY70" fmla="*/ 521588 h 1332484"/>
                <a:gd name="connsiteX71" fmla="*/ 93523 w 1185391"/>
                <a:gd name="connsiteY71" fmla="*/ 521588 h 1332484"/>
                <a:gd name="connsiteX72" fmla="*/ 109520 w 1185391"/>
                <a:gd name="connsiteY72" fmla="*/ 505582 h 1332484"/>
                <a:gd name="connsiteX73" fmla="*/ 109520 w 1185391"/>
                <a:gd name="connsiteY73" fmla="*/ 551688 h 1332484"/>
                <a:gd name="connsiteX74" fmla="*/ 144383 w 1185391"/>
                <a:gd name="connsiteY74" fmla="*/ 551688 h 1332484"/>
                <a:gd name="connsiteX75" fmla="*/ 158156 w 1185391"/>
                <a:gd name="connsiteY75" fmla="*/ 537931 h 1332484"/>
                <a:gd name="connsiteX76" fmla="*/ 174541 w 1185391"/>
                <a:gd name="connsiteY76" fmla="*/ 554308 h 1332484"/>
                <a:gd name="connsiteX77" fmla="*/ 186971 w 1185391"/>
                <a:gd name="connsiteY77" fmla="*/ 554308 h 1332484"/>
                <a:gd name="connsiteX78" fmla="*/ 203686 w 1185391"/>
                <a:gd name="connsiteY78" fmla="*/ 537585 h 1332484"/>
                <a:gd name="connsiteX79" fmla="*/ 228852 w 1185391"/>
                <a:gd name="connsiteY79" fmla="*/ 512427 h 1332484"/>
                <a:gd name="connsiteX80" fmla="*/ 255023 w 1185391"/>
                <a:gd name="connsiteY80" fmla="*/ 512427 h 1332484"/>
                <a:gd name="connsiteX81" fmla="*/ 271054 w 1185391"/>
                <a:gd name="connsiteY81" fmla="*/ 528450 h 1332484"/>
                <a:gd name="connsiteX82" fmla="*/ 271054 w 1185391"/>
                <a:gd name="connsiteY82" fmla="*/ 552356 h 1332484"/>
                <a:gd name="connsiteX83" fmla="*/ 271054 w 1185391"/>
                <a:gd name="connsiteY83" fmla="*/ 574597 h 1332484"/>
                <a:gd name="connsiteX84" fmla="*/ 291508 w 1185391"/>
                <a:gd name="connsiteY84" fmla="*/ 595036 h 1332484"/>
                <a:gd name="connsiteX85" fmla="*/ 316790 w 1185391"/>
                <a:gd name="connsiteY85" fmla="*/ 595036 h 1332484"/>
                <a:gd name="connsiteX86" fmla="*/ 337845 w 1185391"/>
                <a:gd name="connsiteY86" fmla="*/ 616099 h 1332484"/>
                <a:gd name="connsiteX87" fmla="*/ 361734 w 1185391"/>
                <a:gd name="connsiteY87" fmla="*/ 639989 h 1332484"/>
                <a:gd name="connsiteX88" fmla="*/ 401589 w 1185391"/>
                <a:gd name="connsiteY88" fmla="*/ 639989 h 1332484"/>
                <a:gd name="connsiteX89" fmla="*/ 422554 w 1185391"/>
                <a:gd name="connsiteY89" fmla="*/ 660962 h 1332484"/>
                <a:gd name="connsiteX90" fmla="*/ 422554 w 1185391"/>
                <a:gd name="connsiteY90" fmla="*/ 689769 h 1332484"/>
                <a:gd name="connsiteX91" fmla="*/ 415996 w 1185391"/>
                <a:gd name="connsiteY91" fmla="*/ 696310 h 1332484"/>
                <a:gd name="connsiteX92" fmla="*/ 415996 w 1185391"/>
                <a:gd name="connsiteY92" fmla="*/ 731608 h 1332484"/>
                <a:gd name="connsiteX93" fmla="*/ 489930 w 1185391"/>
                <a:gd name="connsiteY93" fmla="*/ 731608 h 1332484"/>
                <a:gd name="connsiteX94" fmla="*/ 489930 w 1185391"/>
                <a:gd name="connsiteY94" fmla="*/ 760638 h 1332484"/>
                <a:gd name="connsiteX95" fmla="*/ 511743 w 1185391"/>
                <a:gd name="connsiteY95" fmla="*/ 782460 h 1332484"/>
                <a:gd name="connsiteX96" fmla="*/ 511743 w 1185391"/>
                <a:gd name="connsiteY96" fmla="*/ 838303 h 1332484"/>
                <a:gd name="connsiteX97" fmla="*/ 499856 w 1185391"/>
                <a:gd name="connsiteY97" fmla="*/ 850190 h 1332484"/>
                <a:gd name="connsiteX98" fmla="*/ 520294 w 1185391"/>
                <a:gd name="connsiteY98" fmla="*/ 870629 h 1332484"/>
                <a:gd name="connsiteX99" fmla="*/ 520294 w 1185391"/>
                <a:gd name="connsiteY99" fmla="*/ 927930 h 1332484"/>
                <a:gd name="connsiteX100" fmla="*/ 552397 w 1185391"/>
                <a:gd name="connsiteY100" fmla="*/ 927930 h 1332484"/>
                <a:gd name="connsiteX101" fmla="*/ 569918 w 1185391"/>
                <a:gd name="connsiteY101" fmla="*/ 945443 h 1332484"/>
                <a:gd name="connsiteX102" fmla="*/ 593610 w 1185391"/>
                <a:gd name="connsiteY102" fmla="*/ 945443 h 1332484"/>
                <a:gd name="connsiteX103" fmla="*/ 593610 w 1185391"/>
                <a:gd name="connsiteY103" fmla="*/ 995331 h 1332484"/>
                <a:gd name="connsiteX104" fmla="*/ 610324 w 1185391"/>
                <a:gd name="connsiteY104" fmla="*/ 995331 h 1332484"/>
                <a:gd name="connsiteX105" fmla="*/ 626026 w 1185391"/>
                <a:gd name="connsiteY105" fmla="*/ 979630 h 1332484"/>
                <a:gd name="connsiteX106" fmla="*/ 642394 w 1185391"/>
                <a:gd name="connsiteY106" fmla="*/ 979630 h 1332484"/>
                <a:gd name="connsiteX107" fmla="*/ 642394 w 1185391"/>
                <a:gd name="connsiteY107" fmla="*/ 1047031 h 1332484"/>
                <a:gd name="connsiteX108" fmla="*/ 654495 w 1185391"/>
                <a:gd name="connsiteY108" fmla="*/ 1059124 h 1332484"/>
                <a:gd name="connsiteX109" fmla="*/ 654495 w 1185391"/>
                <a:gd name="connsiteY109" fmla="*/ 1094133 h 1332484"/>
                <a:gd name="connsiteX110" fmla="*/ 629246 w 1185391"/>
                <a:gd name="connsiteY110" fmla="*/ 1119383 h 1332484"/>
                <a:gd name="connsiteX111" fmla="*/ 565997 w 1185391"/>
                <a:gd name="connsiteY111" fmla="*/ 1182656 h 1332484"/>
                <a:gd name="connsiteX112" fmla="*/ 565997 w 1185391"/>
                <a:gd name="connsiteY112" fmla="*/ 1200681 h 1332484"/>
                <a:gd name="connsiteX113" fmla="*/ 594763 w 1185391"/>
                <a:gd name="connsiteY113" fmla="*/ 1229447 h 1332484"/>
                <a:gd name="connsiteX114" fmla="*/ 626248 w 1185391"/>
                <a:gd name="connsiteY114" fmla="*/ 1229447 h 1332484"/>
                <a:gd name="connsiteX115" fmla="*/ 654017 w 1185391"/>
                <a:gd name="connsiteY115" fmla="*/ 1257224 h 1332484"/>
                <a:gd name="connsiteX116" fmla="*/ 681655 w 1185391"/>
                <a:gd name="connsiteY116" fmla="*/ 1257224 h 1332484"/>
                <a:gd name="connsiteX117" fmla="*/ 706442 w 1185391"/>
                <a:gd name="connsiteY117" fmla="*/ 1282003 h 1332484"/>
                <a:gd name="connsiteX118" fmla="*/ 706442 w 1185391"/>
                <a:gd name="connsiteY118" fmla="*/ 1303528 h 1332484"/>
                <a:gd name="connsiteX119" fmla="*/ 706442 w 1185391"/>
                <a:gd name="connsiteY119" fmla="*/ 1332484 h 1332484"/>
                <a:gd name="connsiteX120" fmla="*/ 707101 w 1185391"/>
                <a:gd name="connsiteY120" fmla="*/ 1331825 h 1332484"/>
                <a:gd name="connsiteX121" fmla="*/ 727333 w 1185391"/>
                <a:gd name="connsiteY121" fmla="*/ 1311585 h 1332484"/>
                <a:gd name="connsiteX122" fmla="*/ 727333 w 1185391"/>
                <a:gd name="connsiteY122" fmla="*/ 1267868 h 1332484"/>
                <a:gd name="connsiteX123" fmla="*/ 727333 w 1185391"/>
                <a:gd name="connsiteY123" fmla="*/ 1239167 h 1332484"/>
                <a:gd name="connsiteX124" fmla="*/ 758431 w 1185391"/>
                <a:gd name="connsiteY124" fmla="*/ 1208079 h 1332484"/>
                <a:gd name="connsiteX125" fmla="*/ 758431 w 1185391"/>
                <a:gd name="connsiteY125" fmla="*/ 1228607 h 1332484"/>
                <a:gd name="connsiteX126" fmla="*/ 806415 w 1185391"/>
                <a:gd name="connsiteY126" fmla="*/ 1180605 h 1332484"/>
                <a:gd name="connsiteX127" fmla="*/ 806415 w 1185391"/>
                <a:gd name="connsiteY127" fmla="*/ 1132020 h 1332484"/>
                <a:gd name="connsiteX128" fmla="*/ 806415 w 1185391"/>
                <a:gd name="connsiteY128" fmla="*/ 1045432 h 1332484"/>
                <a:gd name="connsiteX129" fmla="*/ 847241 w 1185391"/>
                <a:gd name="connsiteY129" fmla="*/ 1004623 h 1332484"/>
                <a:gd name="connsiteX130" fmla="*/ 867506 w 1185391"/>
                <a:gd name="connsiteY130" fmla="*/ 984358 h 1332484"/>
                <a:gd name="connsiteX131" fmla="*/ 892639 w 1185391"/>
                <a:gd name="connsiteY131" fmla="*/ 984358 h 1332484"/>
                <a:gd name="connsiteX132" fmla="*/ 892639 w 1185391"/>
                <a:gd name="connsiteY132" fmla="*/ 962619 h 1332484"/>
                <a:gd name="connsiteX133" fmla="*/ 924058 w 1185391"/>
                <a:gd name="connsiteY133" fmla="*/ 962619 h 1332484"/>
                <a:gd name="connsiteX134" fmla="*/ 959192 w 1185391"/>
                <a:gd name="connsiteY134" fmla="*/ 962619 h 1332484"/>
                <a:gd name="connsiteX135" fmla="*/ 983328 w 1185391"/>
                <a:gd name="connsiteY135" fmla="*/ 938474 h 1332484"/>
                <a:gd name="connsiteX136" fmla="*/ 997151 w 1185391"/>
                <a:gd name="connsiteY136" fmla="*/ 938474 h 1332484"/>
                <a:gd name="connsiteX137" fmla="*/ 1027557 w 1185391"/>
                <a:gd name="connsiteY137" fmla="*/ 908069 h 1332484"/>
                <a:gd name="connsiteX138" fmla="*/ 1027557 w 1185391"/>
                <a:gd name="connsiteY138" fmla="*/ 877375 h 1332484"/>
                <a:gd name="connsiteX139" fmla="*/ 1059330 w 1185391"/>
                <a:gd name="connsiteY139" fmla="*/ 845610 h 1332484"/>
                <a:gd name="connsiteX140" fmla="*/ 1059330 w 1185391"/>
                <a:gd name="connsiteY140" fmla="*/ 782188 h 1332484"/>
                <a:gd name="connsiteX141" fmla="*/ 1059330 w 1185391"/>
                <a:gd name="connsiteY141" fmla="*/ 725101 h 1332484"/>
                <a:gd name="connsiteX142" fmla="*/ 1059330 w 1185391"/>
                <a:gd name="connsiteY142" fmla="*/ 687800 h 1332484"/>
                <a:gd name="connsiteX143" fmla="*/ 1047648 w 1185391"/>
                <a:gd name="connsiteY143" fmla="*/ 676111 h 1332484"/>
                <a:gd name="connsiteX144" fmla="*/ 1047648 w 1185391"/>
                <a:gd name="connsiteY144" fmla="*/ 620070 h 1332484"/>
                <a:gd name="connsiteX145" fmla="*/ 1073276 w 1185391"/>
                <a:gd name="connsiteY145" fmla="*/ 620070 h 1332484"/>
                <a:gd name="connsiteX146" fmla="*/ 1109332 w 1185391"/>
                <a:gd name="connsiteY146" fmla="*/ 584021 h 1332484"/>
                <a:gd name="connsiteX147" fmla="*/ 1109332 w 1185391"/>
                <a:gd name="connsiteY147" fmla="*/ 546877 h 1332484"/>
                <a:gd name="connsiteX148" fmla="*/ 1185391 w 1185391"/>
                <a:gd name="connsiteY148" fmla="*/ 470819 h 1332484"/>
                <a:gd name="connsiteX149" fmla="*/ 1185391 w 1185391"/>
                <a:gd name="connsiteY149" fmla="*/ 410024 h 13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</a:cxnLst>
              <a:rect l="l" t="t" r="r" b="b"/>
              <a:pathLst>
                <a:path w="1185391" h="1332484">
                  <a:moveTo>
                    <a:pt x="1156922" y="381554"/>
                  </a:moveTo>
                  <a:lnTo>
                    <a:pt x="1156922" y="341322"/>
                  </a:lnTo>
                  <a:lnTo>
                    <a:pt x="1104835" y="341322"/>
                  </a:lnTo>
                  <a:lnTo>
                    <a:pt x="1029896" y="266358"/>
                  </a:lnTo>
                  <a:lnTo>
                    <a:pt x="921142" y="266358"/>
                  </a:lnTo>
                  <a:lnTo>
                    <a:pt x="882457" y="266358"/>
                  </a:lnTo>
                  <a:lnTo>
                    <a:pt x="908003" y="240830"/>
                  </a:lnTo>
                  <a:lnTo>
                    <a:pt x="868626" y="201445"/>
                  </a:lnTo>
                  <a:lnTo>
                    <a:pt x="784717" y="201445"/>
                  </a:lnTo>
                  <a:lnTo>
                    <a:pt x="765705" y="182449"/>
                  </a:lnTo>
                  <a:lnTo>
                    <a:pt x="704168" y="182449"/>
                  </a:lnTo>
                  <a:lnTo>
                    <a:pt x="682701" y="203909"/>
                  </a:lnTo>
                  <a:lnTo>
                    <a:pt x="670139" y="203909"/>
                  </a:lnTo>
                  <a:lnTo>
                    <a:pt x="660179" y="203909"/>
                  </a:lnTo>
                  <a:lnTo>
                    <a:pt x="730290" y="133781"/>
                  </a:lnTo>
                  <a:lnTo>
                    <a:pt x="685823" y="89313"/>
                  </a:lnTo>
                  <a:lnTo>
                    <a:pt x="685823" y="34920"/>
                  </a:lnTo>
                  <a:lnTo>
                    <a:pt x="681778" y="30883"/>
                  </a:lnTo>
                  <a:lnTo>
                    <a:pt x="659915" y="52754"/>
                  </a:lnTo>
                  <a:lnTo>
                    <a:pt x="659915" y="76166"/>
                  </a:lnTo>
                  <a:lnTo>
                    <a:pt x="638465" y="97609"/>
                  </a:lnTo>
                  <a:lnTo>
                    <a:pt x="601394" y="97609"/>
                  </a:lnTo>
                  <a:lnTo>
                    <a:pt x="579573" y="97609"/>
                  </a:lnTo>
                  <a:lnTo>
                    <a:pt x="559654" y="97609"/>
                  </a:lnTo>
                  <a:lnTo>
                    <a:pt x="543253" y="114018"/>
                  </a:lnTo>
                  <a:lnTo>
                    <a:pt x="506356" y="114018"/>
                  </a:lnTo>
                  <a:lnTo>
                    <a:pt x="486808" y="133549"/>
                  </a:lnTo>
                  <a:lnTo>
                    <a:pt x="445784" y="133549"/>
                  </a:lnTo>
                  <a:lnTo>
                    <a:pt x="414967" y="102725"/>
                  </a:lnTo>
                  <a:lnTo>
                    <a:pt x="414967" y="64798"/>
                  </a:lnTo>
                  <a:lnTo>
                    <a:pt x="432093" y="47672"/>
                  </a:lnTo>
                  <a:lnTo>
                    <a:pt x="415280" y="30875"/>
                  </a:lnTo>
                  <a:lnTo>
                    <a:pt x="428988" y="17159"/>
                  </a:lnTo>
                  <a:lnTo>
                    <a:pt x="428988" y="0"/>
                  </a:lnTo>
                  <a:lnTo>
                    <a:pt x="409686" y="0"/>
                  </a:lnTo>
                  <a:lnTo>
                    <a:pt x="389561" y="20132"/>
                  </a:lnTo>
                  <a:lnTo>
                    <a:pt x="356183" y="20132"/>
                  </a:lnTo>
                  <a:lnTo>
                    <a:pt x="337409" y="38907"/>
                  </a:lnTo>
                  <a:lnTo>
                    <a:pt x="284037" y="38907"/>
                  </a:lnTo>
                  <a:lnTo>
                    <a:pt x="300825" y="55703"/>
                  </a:lnTo>
                  <a:lnTo>
                    <a:pt x="300825" y="93004"/>
                  </a:lnTo>
                  <a:lnTo>
                    <a:pt x="317506" y="93004"/>
                  </a:lnTo>
                  <a:lnTo>
                    <a:pt x="317506" y="116020"/>
                  </a:lnTo>
                  <a:lnTo>
                    <a:pt x="295915" y="137594"/>
                  </a:lnTo>
                  <a:lnTo>
                    <a:pt x="265914" y="137594"/>
                  </a:lnTo>
                  <a:lnTo>
                    <a:pt x="241588" y="161921"/>
                  </a:lnTo>
                  <a:lnTo>
                    <a:pt x="225911" y="146252"/>
                  </a:lnTo>
                  <a:lnTo>
                    <a:pt x="208826" y="129151"/>
                  </a:lnTo>
                  <a:lnTo>
                    <a:pt x="208826" y="96926"/>
                  </a:lnTo>
                  <a:lnTo>
                    <a:pt x="170743" y="96926"/>
                  </a:lnTo>
                  <a:lnTo>
                    <a:pt x="157521" y="110139"/>
                  </a:lnTo>
                  <a:lnTo>
                    <a:pt x="118260" y="110139"/>
                  </a:lnTo>
                  <a:lnTo>
                    <a:pt x="118260" y="131285"/>
                  </a:lnTo>
                  <a:lnTo>
                    <a:pt x="136911" y="149918"/>
                  </a:lnTo>
                  <a:lnTo>
                    <a:pt x="120205" y="149918"/>
                  </a:lnTo>
                  <a:lnTo>
                    <a:pt x="120205" y="177754"/>
                  </a:lnTo>
                  <a:lnTo>
                    <a:pt x="148320" y="205885"/>
                  </a:lnTo>
                  <a:lnTo>
                    <a:pt x="148320" y="255328"/>
                  </a:lnTo>
                  <a:lnTo>
                    <a:pt x="128080" y="275551"/>
                  </a:lnTo>
                  <a:lnTo>
                    <a:pt x="106571" y="275551"/>
                  </a:lnTo>
                  <a:lnTo>
                    <a:pt x="106571" y="327853"/>
                  </a:lnTo>
                  <a:lnTo>
                    <a:pt x="93523" y="314821"/>
                  </a:lnTo>
                  <a:lnTo>
                    <a:pt x="70877" y="337450"/>
                  </a:lnTo>
                  <a:lnTo>
                    <a:pt x="44336" y="337450"/>
                  </a:lnTo>
                  <a:lnTo>
                    <a:pt x="11936" y="369841"/>
                  </a:lnTo>
                  <a:lnTo>
                    <a:pt x="11936" y="406424"/>
                  </a:lnTo>
                  <a:lnTo>
                    <a:pt x="0" y="418377"/>
                  </a:lnTo>
                  <a:lnTo>
                    <a:pt x="0" y="475785"/>
                  </a:lnTo>
                  <a:lnTo>
                    <a:pt x="28626" y="475785"/>
                  </a:lnTo>
                  <a:lnTo>
                    <a:pt x="48899" y="496067"/>
                  </a:lnTo>
                  <a:lnTo>
                    <a:pt x="48899" y="521588"/>
                  </a:lnTo>
                  <a:lnTo>
                    <a:pt x="93523" y="521588"/>
                  </a:lnTo>
                  <a:lnTo>
                    <a:pt x="109520" y="505582"/>
                  </a:lnTo>
                  <a:lnTo>
                    <a:pt x="109520" y="551688"/>
                  </a:lnTo>
                  <a:lnTo>
                    <a:pt x="144383" y="551688"/>
                  </a:lnTo>
                  <a:lnTo>
                    <a:pt x="158156" y="537931"/>
                  </a:lnTo>
                  <a:lnTo>
                    <a:pt x="174541" y="554308"/>
                  </a:lnTo>
                  <a:lnTo>
                    <a:pt x="186971" y="554308"/>
                  </a:lnTo>
                  <a:lnTo>
                    <a:pt x="203686" y="537585"/>
                  </a:lnTo>
                  <a:lnTo>
                    <a:pt x="228852" y="512427"/>
                  </a:lnTo>
                  <a:lnTo>
                    <a:pt x="255023" y="512427"/>
                  </a:lnTo>
                  <a:lnTo>
                    <a:pt x="271054" y="528450"/>
                  </a:lnTo>
                  <a:lnTo>
                    <a:pt x="271054" y="552356"/>
                  </a:lnTo>
                  <a:lnTo>
                    <a:pt x="271054" y="574597"/>
                  </a:lnTo>
                  <a:lnTo>
                    <a:pt x="291508" y="595036"/>
                  </a:lnTo>
                  <a:lnTo>
                    <a:pt x="316790" y="595036"/>
                  </a:lnTo>
                  <a:lnTo>
                    <a:pt x="337845" y="616099"/>
                  </a:lnTo>
                  <a:lnTo>
                    <a:pt x="361734" y="639989"/>
                  </a:lnTo>
                  <a:lnTo>
                    <a:pt x="401589" y="639989"/>
                  </a:lnTo>
                  <a:lnTo>
                    <a:pt x="422554" y="660962"/>
                  </a:lnTo>
                  <a:lnTo>
                    <a:pt x="422554" y="689769"/>
                  </a:lnTo>
                  <a:lnTo>
                    <a:pt x="415996" y="696310"/>
                  </a:lnTo>
                  <a:lnTo>
                    <a:pt x="415996" y="731608"/>
                  </a:lnTo>
                  <a:lnTo>
                    <a:pt x="489930" y="731608"/>
                  </a:lnTo>
                  <a:lnTo>
                    <a:pt x="489930" y="760638"/>
                  </a:lnTo>
                  <a:lnTo>
                    <a:pt x="511743" y="782460"/>
                  </a:lnTo>
                  <a:lnTo>
                    <a:pt x="511743" y="838303"/>
                  </a:lnTo>
                  <a:lnTo>
                    <a:pt x="499856" y="850190"/>
                  </a:lnTo>
                  <a:lnTo>
                    <a:pt x="520294" y="870629"/>
                  </a:lnTo>
                  <a:lnTo>
                    <a:pt x="520294" y="927930"/>
                  </a:lnTo>
                  <a:lnTo>
                    <a:pt x="552397" y="927930"/>
                  </a:lnTo>
                  <a:lnTo>
                    <a:pt x="569918" y="945443"/>
                  </a:lnTo>
                  <a:lnTo>
                    <a:pt x="593610" y="945443"/>
                  </a:lnTo>
                  <a:lnTo>
                    <a:pt x="593610" y="995331"/>
                  </a:lnTo>
                  <a:lnTo>
                    <a:pt x="610324" y="995331"/>
                  </a:lnTo>
                  <a:lnTo>
                    <a:pt x="626026" y="979630"/>
                  </a:lnTo>
                  <a:lnTo>
                    <a:pt x="642394" y="979630"/>
                  </a:lnTo>
                  <a:lnTo>
                    <a:pt x="642394" y="1047031"/>
                  </a:lnTo>
                  <a:lnTo>
                    <a:pt x="654495" y="1059124"/>
                  </a:lnTo>
                  <a:lnTo>
                    <a:pt x="654495" y="1094133"/>
                  </a:lnTo>
                  <a:lnTo>
                    <a:pt x="629246" y="1119383"/>
                  </a:lnTo>
                  <a:lnTo>
                    <a:pt x="565997" y="1182656"/>
                  </a:lnTo>
                  <a:lnTo>
                    <a:pt x="565997" y="1200681"/>
                  </a:lnTo>
                  <a:lnTo>
                    <a:pt x="594763" y="1229447"/>
                  </a:lnTo>
                  <a:lnTo>
                    <a:pt x="626248" y="1229447"/>
                  </a:lnTo>
                  <a:lnTo>
                    <a:pt x="654017" y="1257224"/>
                  </a:lnTo>
                  <a:lnTo>
                    <a:pt x="681655" y="1257224"/>
                  </a:lnTo>
                  <a:lnTo>
                    <a:pt x="706442" y="1282003"/>
                  </a:lnTo>
                  <a:lnTo>
                    <a:pt x="706442" y="1303528"/>
                  </a:lnTo>
                  <a:lnTo>
                    <a:pt x="706442" y="1332484"/>
                  </a:lnTo>
                  <a:lnTo>
                    <a:pt x="707101" y="1331825"/>
                  </a:lnTo>
                  <a:lnTo>
                    <a:pt x="727333" y="1311585"/>
                  </a:lnTo>
                  <a:lnTo>
                    <a:pt x="727333" y="1267868"/>
                  </a:lnTo>
                  <a:lnTo>
                    <a:pt x="727333" y="1239167"/>
                  </a:lnTo>
                  <a:lnTo>
                    <a:pt x="758431" y="1208079"/>
                  </a:lnTo>
                  <a:lnTo>
                    <a:pt x="758431" y="1228607"/>
                  </a:lnTo>
                  <a:lnTo>
                    <a:pt x="806415" y="1180605"/>
                  </a:lnTo>
                  <a:lnTo>
                    <a:pt x="806415" y="1132020"/>
                  </a:lnTo>
                  <a:lnTo>
                    <a:pt x="806415" y="1045432"/>
                  </a:lnTo>
                  <a:lnTo>
                    <a:pt x="847241" y="1004623"/>
                  </a:lnTo>
                  <a:lnTo>
                    <a:pt x="867506" y="984358"/>
                  </a:lnTo>
                  <a:lnTo>
                    <a:pt x="892639" y="984358"/>
                  </a:lnTo>
                  <a:lnTo>
                    <a:pt x="892639" y="962619"/>
                  </a:lnTo>
                  <a:lnTo>
                    <a:pt x="924058" y="962619"/>
                  </a:lnTo>
                  <a:lnTo>
                    <a:pt x="959192" y="962619"/>
                  </a:lnTo>
                  <a:lnTo>
                    <a:pt x="983328" y="938474"/>
                  </a:lnTo>
                  <a:lnTo>
                    <a:pt x="997151" y="938474"/>
                  </a:lnTo>
                  <a:lnTo>
                    <a:pt x="1027557" y="908069"/>
                  </a:lnTo>
                  <a:lnTo>
                    <a:pt x="1027557" y="877375"/>
                  </a:lnTo>
                  <a:lnTo>
                    <a:pt x="1059330" y="845610"/>
                  </a:lnTo>
                  <a:lnTo>
                    <a:pt x="1059330" y="782188"/>
                  </a:lnTo>
                  <a:lnTo>
                    <a:pt x="1059330" y="725101"/>
                  </a:lnTo>
                  <a:lnTo>
                    <a:pt x="1059330" y="687800"/>
                  </a:lnTo>
                  <a:lnTo>
                    <a:pt x="1047648" y="676111"/>
                  </a:lnTo>
                  <a:lnTo>
                    <a:pt x="1047648" y="620070"/>
                  </a:lnTo>
                  <a:lnTo>
                    <a:pt x="1073276" y="620070"/>
                  </a:lnTo>
                  <a:lnTo>
                    <a:pt x="1109332" y="584021"/>
                  </a:lnTo>
                  <a:lnTo>
                    <a:pt x="1109332" y="546877"/>
                  </a:lnTo>
                  <a:lnTo>
                    <a:pt x="1185391" y="470819"/>
                  </a:lnTo>
                  <a:lnTo>
                    <a:pt x="1185391" y="410024"/>
                  </a:lnTo>
                  <a:close/>
                </a:path>
              </a:pathLst>
            </a:custGeom>
            <a:solidFill>
              <a:schemeClr val="accent1"/>
            </a:solidFill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3" name="Freeform: Shape 492">
              <a:extLst>
                <a:ext uri="{FF2B5EF4-FFF2-40B4-BE49-F238E27FC236}">
                  <a16:creationId xmlns:a16="http://schemas.microsoft.com/office/drawing/2014/main" id="{26196A3A-E50B-4645-214F-6F87A8902BF3}"/>
                </a:ext>
              </a:extLst>
            </p:cNvPr>
            <p:cNvSpPr/>
            <p:nvPr/>
          </p:nvSpPr>
          <p:spPr>
            <a:xfrm>
              <a:off x="4000064" y="6476725"/>
              <a:ext cx="93622" cy="74468"/>
            </a:xfrm>
            <a:custGeom>
              <a:avLst/>
              <a:gdLst>
                <a:gd name="connsiteX0" fmla="*/ 16031 w 93622"/>
                <a:gd name="connsiteY0" fmla="*/ 74469 h 74468"/>
                <a:gd name="connsiteX1" fmla="*/ 73670 w 93622"/>
                <a:gd name="connsiteY1" fmla="*/ 74469 h 74468"/>
                <a:gd name="connsiteX2" fmla="*/ 93622 w 93622"/>
                <a:gd name="connsiteY2" fmla="*/ 54517 h 74468"/>
                <a:gd name="connsiteX3" fmla="*/ 67780 w 93622"/>
                <a:gd name="connsiteY3" fmla="*/ 28676 h 74468"/>
                <a:gd name="connsiteX4" fmla="*/ 28651 w 93622"/>
                <a:gd name="connsiteY4" fmla="*/ 28676 h 74468"/>
                <a:gd name="connsiteX5" fmla="*/ 0 w 93622"/>
                <a:gd name="connsiteY5" fmla="*/ 0 h 74468"/>
                <a:gd name="connsiteX6" fmla="*/ 0 w 93622"/>
                <a:gd name="connsiteY6" fmla="*/ 74469 h 74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622" h="74468">
                  <a:moveTo>
                    <a:pt x="16031" y="74469"/>
                  </a:moveTo>
                  <a:lnTo>
                    <a:pt x="73670" y="74469"/>
                  </a:lnTo>
                  <a:lnTo>
                    <a:pt x="93622" y="54517"/>
                  </a:lnTo>
                  <a:lnTo>
                    <a:pt x="67780" y="28676"/>
                  </a:lnTo>
                  <a:lnTo>
                    <a:pt x="28651" y="28676"/>
                  </a:lnTo>
                  <a:lnTo>
                    <a:pt x="0" y="0"/>
                  </a:lnTo>
                  <a:lnTo>
                    <a:pt x="0" y="74469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4" name="Freeform: Shape 493">
              <a:extLst>
                <a:ext uri="{FF2B5EF4-FFF2-40B4-BE49-F238E27FC236}">
                  <a16:creationId xmlns:a16="http://schemas.microsoft.com/office/drawing/2014/main" id="{C86CE9C6-69D9-5612-17BE-DE7FC9778E49}"/>
                </a:ext>
              </a:extLst>
            </p:cNvPr>
            <p:cNvSpPr/>
            <p:nvPr/>
          </p:nvSpPr>
          <p:spPr>
            <a:xfrm>
              <a:off x="3646362" y="5293113"/>
              <a:ext cx="353702" cy="1258080"/>
            </a:xfrm>
            <a:custGeom>
              <a:avLst/>
              <a:gdLst>
                <a:gd name="connsiteX0" fmla="*/ 205679 w 353702"/>
                <a:gd name="connsiteY0" fmla="*/ 1125643 h 1258080"/>
                <a:gd name="connsiteX1" fmla="*/ 193405 w 353702"/>
                <a:gd name="connsiteY1" fmla="*/ 1125643 h 1258080"/>
                <a:gd name="connsiteX2" fmla="*/ 161962 w 353702"/>
                <a:gd name="connsiteY2" fmla="*/ 1094208 h 1258080"/>
                <a:gd name="connsiteX3" fmla="*/ 161962 w 353702"/>
                <a:gd name="connsiteY3" fmla="*/ 1070615 h 1258080"/>
                <a:gd name="connsiteX4" fmla="*/ 183487 w 353702"/>
                <a:gd name="connsiteY4" fmla="*/ 1049081 h 1258080"/>
                <a:gd name="connsiteX5" fmla="*/ 183487 w 353702"/>
                <a:gd name="connsiteY5" fmla="*/ 1024146 h 1258080"/>
                <a:gd name="connsiteX6" fmla="*/ 168749 w 353702"/>
                <a:gd name="connsiteY6" fmla="*/ 1009426 h 1258080"/>
                <a:gd name="connsiteX7" fmla="*/ 168749 w 353702"/>
                <a:gd name="connsiteY7" fmla="*/ 973781 h 1258080"/>
                <a:gd name="connsiteX8" fmla="*/ 168749 w 353702"/>
                <a:gd name="connsiteY8" fmla="*/ 933861 h 1258080"/>
                <a:gd name="connsiteX9" fmla="*/ 148048 w 353702"/>
                <a:gd name="connsiteY9" fmla="*/ 913151 h 1258080"/>
                <a:gd name="connsiteX10" fmla="*/ 148048 w 353702"/>
                <a:gd name="connsiteY10" fmla="*/ 886222 h 1258080"/>
                <a:gd name="connsiteX11" fmla="*/ 109117 w 353702"/>
                <a:gd name="connsiteY11" fmla="*/ 847307 h 1258080"/>
                <a:gd name="connsiteX12" fmla="*/ 109117 w 353702"/>
                <a:gd name="connsiteY12" fmla="*/ 795137 h 1258080"/>
                <a:gd name="connsiteX13" fmla="*/ 109117 w 353702"/>
                <a:gd name="connsiteY13" fmla="*/ 773563 h 1258080"/>
                <a:gd name="connsiteX14" fmla="*/ 109117 w 353702"/>
                <a:gd name="connsiteY14" fmla="*/ 720562 h 1258080"/>
                <a:gd name="connsiteX15" fmla="*/ 119842 w 353702"/>
                <a:gd name="connsiteY15" fmla="*/ 709820 h 1258080"/>
                <a:gd name="connsiteX16" fmla="*/ 93267 w 353702"/>
                <a:gd name="connsiteY16" fmla="*/ 683253 h 1258080"/>
                <a:gd name="connsiteX17" fmla="*/ 93267 w 353702"/>
                <a:gd name="connsiteY17" fmla="*/ 645970 h 1258080"/>
                <a:gd name="connsiteX18" fmla="*/ 106686 w 353702"/>
                <a:gd name="connsiteY18" fmla="*/ 632517 h 1258080"/>
                <a:gd name="connsiteX19" fmla="*/ 106686 w 353702"/>
                <a:gd name="connsiteY19" fmla="*/ 605382 h 1258080"/>
                <a:gd name="connsiteX20" fmla="*/ 95722 w 353702"/>
                <a:gd name="connsiteY20" fmla="*/ 594426 h 1258080"/>
                <a:gd name="connsiteX21" fmla="*/ 95722 w 353702"/>
                <a:gd name="connsiteY21" fmla="*/ 545552 h 1258080"/>
                <a:gd name="connsiteX22" fmla="*/ 95722 w 353702"/>
                <a:gd name="connsiteY22" fmla="*/ 519001 h 1258080"/>
                <a:gd name="connsiteX23" fmla="*/ 55588 w 353702"/>
                <a:gd name="connsiteY23" fmla="*/ 478867 h 1258080"/>
                <a:gd name="connsiteX24" fmla="*/ 55588 w 353702"/>
                <a:gd name="connsiteY24" fmla="*/ 447687 h 1258080"/>
                <a:gd name="connsiteX25" fmla="*/ 81355 w 353702"/>
                <a:gd name="connsiteY25" fmla="*/ 421911 h 1258080"/>
                <a:gd name="connsiteX26" fmla="*/ 81355 w 353702"/>
                <a:gd name="connsiteY26" fmla="*/ 391415 h 1258080"/>
                <a:gd name="connsiteX27" fmla="*/ 68999 w 353702"/>
                <a:gd name="connsiteY27" fmla="*/ 379059 h 1258080"/>
                <a:gd name="connsiteX28" fmla="*/ 68999 w 353702"/>
                <a:gd name="connsiteY28" fmla="*/ 319426 h 1258080"/>
                <a:gd name="connsiteX29" fmla="*/ 98506 w 353702"/>
                <a:gd name="connsiteY29" fmla="*/ 319426 h 1258080"/>
                <a:gd name="connsiteX30" fmla="*/ 110089 w 353702"/>
                <a:gd name="connsiteY30" fmla="*/ 307835 h 1258080"/>
                <a:gd name="connsiteX31" fmla="*/ 92756 w 353702"/>
                <a:gd name="connsiteY31" fmla="*/ 290511 h 1258080"/>
                <a:gd name="connsiteX32" fmla="*/ 92756 w 353702"/>
                <a:gd name="connsiteY32" fmla="*/ 239396 h 1258080"/>
                <a:gd name="connsiteX33" fmla="*/ 83959 w 353702"/>
                <a:gd name="connsiteY33" fmla="*/ 230598 h 1258080"/>
                <a:gd name="connsiteX34" fmla="*/ 105047 w 353702"/>
                <a:gd name="connsiteY34" fmla="*/ 209509 h 1258080"/>
                <a:gd name="connsiteX35" fmla="*/ 120822 w 353702"/>
                <a:gd name="connsiteY35" fmla="*/ 193743 h 1258080"/>
                <a:gd name="connsiteX36" fmla="*/ 120822 w 353702"/>
                <a:gd name="connsiteY36" fmla="*/ 167629 h 1258080"/>
                <a:gd name="connsiteX37" fmla="*/ 93267 w 353702"/>
                <a:gd name="connsiteY37" fmla="*/ 167629 h 1258080"/>
                <a:gd name="connsiteX38" fmla="*/ 93267 w 353702"/>
                <a:gd name="connsiteY38" fmla="*/ 147340 h 1258080"/>
                <a:gd name="connsiteX39" fmla="*/ 60885 w 353702"/>
                <a:gd name="connsiteY39" fmla="*/ 114949 h 1258080"/>
                <a:gd name="connsiteX40" fmla="*/ 60885 w 353702"/>
                <a:gd name="connsiteY40" fmla="*/ 82584 h 1258080"/>
                <a:gd name="connsiteX41" fmla="*/ 60885 w 353702"/>
                <a:gd name="connsiteY41" fmla="*/ 59015 h 1258080"/>
                <a:gd name="connsiteX42" fmla="*/ 60885 w 353702"/>
                <a:gd name="connsiteY42" fmla="*/ 32827 h 1258080"/>
                <a:gd name="connsiteX43" fmla="*/ 23148 w 353702"/>
                <a:gd name="connsiteY43" fmla="*/ 0 h 1258080"/>
                <a:gd name="connsiteX44" fmla="*/ 0 w 353702"/>
                <a:gd name="connsiteY44" fmla="*/ 23156 h 1258080"/>
                <a:gd name="connsiteX45" fmla="*/ 0 w 353702"/>
                <a:gd name="connsiteY45" fmla="*/ 49962 h 1258080"/>
                <a:gd name="connsiteX46" fmla="*/ 0 w 353702"/>
                <a:gd name="connsiteY46" fmla="*/ 79931 h 1258080"/>
                <a:gd name="connsiteX47" fmla="*/ 23016 w 353702"/>
                <a:gd name="connsiteY47" fmla="*/ 102955 h 1258080"/>
                <a:gd name="connsiteX48" fmla="*/ 23016 w 353702"/>
                <a:gd name="connsiteY48" fmla="*/ 136861 h 1258080"/>
                <a:gd name="connsiteX49" fmla="*/ 23016 w 353702"/>
                <a:gd name="connsiteY49" fmla="*/ 206379 h 1258080"/>
                <a:gd name="connsiteX50" fmla="*/ 40397 w 353702"/>
                <a:gd name="connsiteY50" fmla="*/ 223761 h 1258080"/>
                <a:gd name="connsiteX51" fmla="*/ 40397 w 353702"/>
                <a:gd name="connsiteY51" fmla="*/ 292447 h 1258080"/>
                <a:gd name="connsiteX52" fmla="*/ 20932 w 353702"/>
                <a:gd name="connsiteY52" fmla="*/ 311913 h 1258080"/>
                <a:gd name="connsiteX53" fmla="*/ 20932 w 353702"/>
                <a:gd name="connsiteY53" fmla="*/ 392643 h 1258080"/>
                <a:gd name="connsiteX54" fmla="*/ 37827 w 353702"/>
                <a:gd name="connsiteY54" fmla="*/ 409530 h 1258080"/>
                <a:gd name="connsiteX55" fmla="*/ 37827 w 353702"/>
                <a:gd name="connsiteY55" fmla="*/ 434581 h 1258080"/>
                <a:gd name="connsiteX56" fmla="*/ 24812 w 353702"/>
                <a:gd name="connsiteY56" fmla="*/ 447621 h 1258080"/>
                <a:gd name="connsiteX57" fmla="*/ 24812 w 353702"/>
                <a:gd name="connsiteY57" fmla="*/ 481355 h 1258080"/>
                <a:gd name="connsiteX58" fmla="*/ 40892 w 353702"/>
                <a:gd name="connsiteY58" fmla="*/ 497442 h 1258080"/>
                <a:gd name="connsiteX59" fmla="*/ 40892 w 353702"/>
                <a:gd name="connsiteY59" fmla="*/ 577159 h 1258080"/>
                <a:gd name="connsiteX60" fmla="*/ 40892 w 353702"/>
                <a:gd name="connsiteY60" fmla="*/ 627648 h 1258080"/>
                <a:gd name="connsiteX61" fmla="*/ 40892 w 353702"/>
                <a:gd name="connsiteY61" fmla="*/ 670509 h 1258080"/>
                <a:gd name="connsiteX62" fmla="*/ 22258 w 353702"/>
                <a:gd name="connsiteY62" fmla="*/ 670509 h 1258080"/>
                <a:gd name="connsiteX63" fmla="*/ 22258 w 353702"/>
                <a:gd name="connsiteY63" fmla="*/ 709531 h 1258080"/>
                <a:gd name="connsiteX64" fmla="*/ 48018 w 353702"/>
                <a:gd name="connsiteY64" fmla="*/ 735299 h 1258080"/>
                <a:gd name="connsiteX65" fmla="*/ 48018 w 353702"/>
                <a:gd name="connsiteY65" fmla="*/ 756932 h 1258080"/>
                <a:gd name="connsiteX66" fmla="*/ 48018 w 353702"/>
                <a:gd name="connsiteY66" fmla="*/ 775177 h 1258080"/>
                <a:gd name="connsiteX67" fmla="*/ 48018 w 353702"/>
                <a:gd name="connsiteY67" fmla="*/ 813681 h 1258080"/>
                <a:gd name="connsiteX68" fmla="*/ 73719 w 353702"/>
                <a:gd name="connsiteY68" fmla="*/ 813681 h 1258080"/>
                <a:gd name="connsiteX69" fmla="*/ 73719 w 353702"/>
                <a:gd name="connsiteY69" fmla="*/ 846738 h 1258080"/>
                <a:gd name="connsiteX70" fmla="*/ 103202 w 353702"/>
                <a:gd name="connsiteY70" fmla="*/ 876230 h 1258080"/>
                <a:gd name="connsiteX71" fmla="*/ 103202 w 353702"/>
                <a:gd name="connsiteY71" fmla="*/ 926710 h 1258080"/>
                <a:gd name="connsiteX72" fmla="*/ 76174 w 353702"/>
                <a:gd name="connsiteY72" fmla="*/ 953722 h 1258080"/>
                <a:gd name="connsiteX73" fmla="*/ 76174 w 353702"/>
                <a:gd name="connsiteY73" fmla="*/ 983254 h 1258080"/>
                <a:gd name="connsiteX74" fmla="*/ 76174 w 353702"/>
                <a:gd name="connsiteY74" fmla="*/ 999936 h 1258080"/>
                <a:gd name="connsiteX75" fmla="*/ 120410 w 353702"/>
                <a:gd name="connsiteY75" fmla="*/ 1044180 h 1258080"/>
                <a:gd name="connsiteX76" fmla="*/ 120410 w 353702"/>
                <a:gd name="connsiteY76" fmla="*/ 1076884 h 1258080"/>
                <a:gd name="connsiteX77" fmla="*/ 150388 w 353702"/>
                <a:gd name="connsiteY77" fmla="*/ 1106895 h 1258080"/>
                <a:gd name="connsiteX78" fmla="*/ 150388 w 353702"/>
                <a:gd name="connsiteY78" fmla="*/ 1146378 h 1258080"/>
                <a:gd name="connsiteX79" fmla="*/ 182581 w 353702"/>
                <a:gd name="connsiteY79" fmla="*/ 1178554 h 1258080"/>
                <a:gd name="connsiteX80" fmla="*/ 210292 w 353702"/>
                <a:gd name="connsiteY80" fmla="*/ 1206274 h 1258080"/>
                <a:gd name="connsiteX81" fmla="*/ 244298 w 353702"/>
                <a:gd name="connsiteY81" fmla="*/ 1206274 h 1258080"/>
                <a:gd name="connsiteX82" fmla="*/ 264447 w 353702"/>
                <a:gd name="connsiteY82" fmla="*/ 1226398 h 1258080"/>
                <a:gd name="connsiteX83" fmla="*/ 296113 w 353702"/>
                <a:gd name="connsiteY83" fmla="*/ 1258081 h 1258080"/>
                <a:gd name="connsiteX84" fmla="*/ 342755 w 353702"/>
                <a:gd name="connsiteY84" fmla="*/ 1258081 h 1258080"/>
                <a:gd name="connsiteX85" fmla="*/ 353702 w 353702"/>
                <a:gd name="connsiteY85" fmla="*/ 1258081 h 1258080"/>
                <a:gd name="connsiteX86" fmla="*/ 353702 w 353702"/>
                <a:gd name="connsiteY86" fmla="*/ 1183612 h 1258080"/>
                <a:gd name="connsiteX87" fmla="*/ 350655 w 353702"/>
                <a:gd name="connsiteY87" fmla="*/ 1180589 h 1258080"/>
                <a:gd name="connsiteX88" fmla="*/ 332861 w 353702"/>
                <a:gd name="connsiteY88" fmla="*/ 1162787 h 1258080"/>
                <a:gd name="connsiteX89" fmla="*/ 330546 w 353702"/>
                <a:gd name="connsiteY89" fmla="*/ 1160464 h 1258080"/>
                <a:gd name="connsiteX90" fmla="*/ 240500 w 353702"/>
                <a:gd name="connsiteY90" fmla="*/ 1160464 h 125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353702" h="1258080">
                  <a:moveTo>
                    <a:pt x="205679" y="1125643"/>
                  </a:moveTo>
                  <a:lnTo>
                    <a:pt x="193405" y="1125643"/>
                  </a:lnTo>
                  <a:lnTo>
                    <a:pt x="161962" y="1094208"/>
                  </a:lnTo>
                  <a:lnTo>
                    <a:pt x="161962" y="1070615"/>
                  </a:lnTo>
                  <a:lnTo>
                    <a:pt x="183487" y="1049081"/>
                  </a:lnTo>
                  <a:lnTo>
                    <a:pt x="183487" y="1024146"/>
                  </a:lnTo>
                  <a:lnTo>
                    <a:pt x="168749" y="1009426"/>
                  </a:lnTo>
                  <a:lnTo>
                    <a:pt x="168749" y="973781"/>
                  </a:lnTo>
                  <a:lnTo>
                    <a:pt x="168749" y="933861"/>
                  </a:lnTo>
                  <a:lnTo>
                    <a:pt x="148048" y="913151"/>
                  </a:lnTo>
                  <a:lnTo>
                    <a:pt x="148048" y="886222"/>
                  </a:lnTo>
                  <a:lnTo>
                    <a:pt x="109117" y="847307"/>
                  </a:lnTo>
                  <a:lnTo>
                    <a:pt x="109117" y="795137"/>
                  </a:lnTo>
                  <a:lnTo>
                    <a:pt x="109117" y="773563"/>
                  </a:lnTo>
                  <a:lnTo>
                    <a:pt x="109117" y="720562"/>
                  </a:lnTo>
                  <a:lnTo>
                    <a:pt x="119842" y="709820"/>
                  </a:lnTo>
                  <a:lnTo>
                    <a:pt x="93267" y="683253"/>
                  </a:lnTo>
                  <a:lnTo>
                    <a:pt x="93267" y="645970"/>
                  </a:lnTo>
                  <a:lnTo>
                    <a:pt x="106686" y="632517"/>
                  </a:lnTo>
                  <a:lnTo>
                    <a:pt x="106686" y="605382"/>
                  </a:lnTo>
                  <a:lnTo>
                    <a:pt x="95722" y="594426"/>
                  </a:lnTo>
                  <a:lnTo>
                    <a:pt x="95722" y="545552"/>
                  </a:lnTo>
                  <a:lnTo>
                    <a:pt x="95722" y="519001"/>
                  </a:lnTo>
                  <a:lnTo>
                    <a:pt x="55588" y="478867"/>
                  </a:lnTo>
                  <a:lnTo>
                    <a:pt x="55588" y="447687"/>
                  </a:lnTo>
                  <a:lnTo>
                    <a:pt x="81355" y="421911"/>
                  </a:lnTo>
                  <a:lnTo>
                    <a:pt x="81355" y="391415"/>
                  </a:lnTo>
                  <a:lnTo>
                    <a:pt x="68999" y="379059"/>
                  </a:lnTo>
                  <a:lnTo>
                    <a:pt x="68999" y="319426"/>
                  </a:lnTo>
                  <a:lnTo>
                    <a:pt x="98506" y="319426"/>
                  </a:lnTo>
                  <a:lnTo>
                    <a:pt x="110089" y="307835"/>
                  </a:lnTo>
                  <a:lnTo>
                    <a:pt x="92756" y="290511"/>
                  </a:lnTo>
                  <a:lnTo>
                    <a:pt x="92756" y="239396"/>
                  </a:lnTo>
                  <a:lnTo>
                    <a:pt x="83959" y="230598"/>
                  </a:lnTo>
                  <a:lnTo>
                    <a:pt x="105047" y="209509"/>
                  </a:lnTo>
                  <a:lnTo>
                    <a:pt x="120822" y="193743"/>
                  </a:lnTo>
                  <a:lnTo>
                    <a:pt x="120822" y="167629"/>
                  </a:lnTo>
                  <a:lnTo>
                    <a:pt x="93267" y="167629"/>
                  </a:lnTo>
                  <a:lnTo>
                    <a:pt x="93267" y="147340"/>
                  </a:lnTo>
                  <a:lnTo>
                    <a:pt x="60885" y="114949"/>
                  </a:lnTo>
                  <a:lnTo>
                    <a:pt x="60885" y="82584"/>
                  </a:lnTo>
                  <a:lnTo>
                    <a:pt x="60885" y="59015"/>
                  </a:lnTo>
                  <a:lnTo>
                    <a:pt x="60885" y="32827"/>
                  </a:lnTo>
                  <a:lnTo>
                    <a:pt x="23148" y="0"/>
                  </a:lnTo>
                  <a:lnTo>
                    <a:pt x="0" y="23156"/>
                  </a:lnTo>
                  <a:lnTo>
                    <a:pt x="0" y="49962"/>
                  </a:lnTo>
                  <a:lnTo>
                    <a:pt x="0" y="79931"/>
                  </a:lnTo>
                  <a:lnTo>
                    <a:pt x="23016" y="102955"/>
                  </a:lnTo>
                  <a:lnTo>
                    <a:pt x="23016" y="136861"/>
                  </a:lnTo>
                  <a:lnTo>
                    <a:pt x="23016" y="206379"/>
                  </a:lnTo>
                  <a:lnTo>
                    <a:pt x="40397" y="223761"/>
                  </a:lnTo>
                  <a:lnTo>
                    <a:pt x="40397" y="292447"/>
                  </a:lnTo>
                  <a:lnTo>
                    <a:pt x="20932" y="311913"/>
                  </a:lnTo>
                  <a:lnTo>
                    <a:pt x="20932" y="392643"/>
                  </a:lnTo>
                  <a:lnTo>
                    <a:pt x="37827" y="409530"/>
                  </a:lnTo>
                  <a:lnTo>
                    <a:pt x="37827" y="434581"/>
                  </a:lnTo>
                  <a:lnTo>
                    <a:pt x="24812" y="447621"/>
                  </a:lnTo>
                  <a:lnTo>
                    <a:pt x="24812" y="481355"/>
                  </a:lnTo>
                  <a:lnTo>
                    <a:pt x="40892" y="497442"/>
                  </a:lnTo>
                  <a:lnTo>
                    <a:pt x="40892" y="577159"/>
                  </a:lnTo>
                  <a:lnTo>
                    <a:pt x="40892" y="627648"/>
                  </a:lnTo>
                  <a:lnTo>
                    <a:pt x="40892" y="670509"/>
                  </a:lnTo>
                  <a:lnTo>
                    <a:pt x="22258" y="670509"/>
                  </a:lnTo>
                  <a:lnTo>
                    <a:pt x="22258" y="709531"/>
                  </a:lnTo>
                  <a:lnTo>
                    <a:pt x="48018" y="735299"/>
                  </a:lnTo>
                  <a:lnTo>
                    <a:pt x="48018" y="756932"/>
                  </a:lnTo>
                  <a:lnTo>
                    <a:pt x="48018" y="775177"/>
                  </a:lnTo>
                  <a:lnTo>
                    <a:pt x="48018" y="813681"/>
                  </a:lnTo>
                  <a:lnTo>
                    <a:pt x="73719" y="813681"/>
                  </a:lnTo>
                  <a:lnTo>
                    <a:pt x="73719" y="846738"/>
                  </a:lnTo>
                  <a:lnTo>
                    <a:pt x="103202" y="876230"/>
                  </a:lnTo>
                  <a:lnTo>
                    <a:pt x="103202" y="926710"/>
                  </a:lnTo>
                  <a:lnTo>
                    <a:pt x="76174" y="953722"/>
                  </a:lnTo>
                  <a:lnTo>
                    <a:pt x="76174" y="983254"/>
                  </a:lnTo>
                  <a:lnTo>
                    <a:pt x="76174" y="999936"/>
                  </a:lnTo>
                  <a:lnTo>
                    <a:pt x="120410" y="1044180"/>
                  </a:lnTo>
                  <a:lnTo>
                    <a:pt x="120410" y="1076884"/>
                  </a:lnTo>
                  <a:lnTo>
                    <a:pt x="150388" y="1106895"/>
                  </a:lnTo>
                  <a:lnTo>
                    <a:pt x="150388" y="1146378"/>
                  </a:lnTo>
                  <a:lnTo>
                    <a:pt x="182581" y="1178554"/>
                  </a:lnTo>
                  <a:lnTo>
                    <a:pt x="210292" y="1206274"/>
                  </a:lnTo>
                  <a:lnTo>
                    <a:pt x="244298" y="1206274"/>
                  </a:lnTo>
                  <a:lnTo>
                    <a:pt x="264447" y="1226398"/>
                  </a:lnTo>
                  <a:lnTo>
                    <a:pt x="296113" y="1258081"/>
                  </a:lnTo>
                  <a:lnTo>
                    <a:pt x="342755" y="1258081"/>
                  </a:lnTo>
                  <a:lnTo>
                    <a:pt x="353702" y="1258081"/>
                  </a:lnTo>
                  <a:lnTo>
                    <a:pt x="353702" y="1183612"/>
                  </a:lnTo>
                  <a:lnTo>
                    <a:pt x="350655" y="1180589"/>
                  </a:lnTo>
                  <a:lnTo>
                    <a:pt x="332861" y="1162787"/>
                  </a:lnTo>
                  <a:lnTo>
                    <a:pt x="330546" y="1160464"/>
                  </a:lnTo>
                  <a:lnTo>
                    <a:pt x="240500" y="1160464"/>
                  </a:lnTo>
                  <a:close/>
                </a:path>
              </a:pathLst>
            </a:custGeom>
            <a:solidFill>
              <a:schemeClr val="accent1"/>
            </a:solidFill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5" name="Freeform: Shape 494">
              <a:extLst>
                <a:ext uri="{FF2B5EF4-FFF2-40B4-BE49-F238E27FC236}">
                  <a16:creationId xmlns:a16="http://schemas.microsoft.com/office/drawing/2014/main" id="{5567EE99-9140-4B6E-07D0-D1448E8198C6}"/>
                </a:ext>
              </a:extLst>
            </p:cNvPr>
            <p:cNvSpPr/>
            <p:nvPr/>
          </p:nvSpPr>
          <p:spPr>
            <a:xfrm>
              <a:off x="4061419" y="5714505"/>
              <a:ext cx="159078" cy="165429"/>
            </a:xfrm>
            <a:custGeom>
              <a:avLst/>
              <a:gdLst>
                <a:gd name="connsiteX0" fmla="*/ 134291 w 159078"/>
                <a:gd name="connsiteY0" fmla="*/ 56543 h 165429"/>
                <a:gd name="connsiteX1" fmla="*/ 106653 w 159078"/>
                <a:gd name="connsiteY1" fmla="*/ 56543 h 165429"/>
                <a:gd name="connsiteX2" fmla="*/ 78884 w 159078"/>
                <a:gd name="connsiteY2" fmla="*/ 28767 h 165429"/>
                <a:gd name="connsiteX3" fmla="*/ 47399 w 159078"/>
                <a:gd name="connsiteY3" fmla="*/ 28767 h 165429"/>
                <a:gd name="connsiteX4" fmla="*/ 18634 w 159078"/>
                <a:gd name="connsiteY4" fmla="*/ 0 h 165429"/>
                <a:gd name="connsiteX5" fmla="*/ 0 w 159078"/>
                <a:gd name="connsiteY5" fmla="*/ 18634 h 165429"/>
                <a:gd name="connsiteX6" fmla="*/ 0 w 159078"/>
                <a:gd name="connsiteY6" fmla="*/ 58998 h 165429"/>
                <a:gd name="connsiteX7" fmla="*/ 19713 w 159078"/>
                <a:gd name="connsiteY7" fmla="*/ 78712 h 165429"/>
                <a:gd name="connsiteX8" fmla="*/ 19713 w 159078"/>
                <a:gd name="connsiteY8" fmla="*/ 103507 h 165429"/>
                <a:gd name="connsiteX9" fmla="*/ 6928 w 159078"/>
                <a:gd name="connsiteY9" fmla="*/ 116300 h 165429"/>
                <a:gd name="connsiteX10" fmla="*/ 30718 w 159078"/>
                <a:gd name="connsiteY10" fmla="*/ 140083 h 165429"/>
                <a:gd name="connsiteX11" fmla="*/ 69040 w 159078"/>
                <a:gd name="connsiteY11" fmla="*/ 140083 h 165429"/>
                <a:gd name="connsiteX12" fmla="*/ 94396 w 159078"/>
                <a:gd name="connsiteY12" fmla="*/ 165429 h 165429"/>
                <a:gd name="connsiteX13" fmla="*/ 125451 w 159078"/>
                <a:gd name="connsiteY13" fmla="*/ 165429 h 165429"/>
                <a:gd name="connsiteX14" fmla="*/ 159079 w 159078"/>
                <a:gd name="connsiteY14" fmla="*/ 131804 h 165429"/>
                <a:gd name="connsiteX15" fmla="*/ 159079 w 159078"/>
                <a:gd name="connsiteY15" fmla="*/ 102848 h 165429"/>
                <a:gd name="connsiteX16" fmla="*/ 159079 w 159078"/>
                <a:gd name="connsiteY16" fmla="*/ 81322 h 16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9078" h="165429">
                  <a:moveTo>
                    <a:pt x="134291" y="56543"/>
                  </a:moveTo>
                  <a:lnTo>
                    <a:pt x="106653" y="56543"/>
                  </a:lnTo>
                  <a:lnTo>
                    <a:pt x="78884" y="28767"/>
                  </a:lnTo>
                  <a:lnTo>
                    <a:pt x="47399" y="28767"/>
                  </a:lnTo>
                  <a:lnTo>
                    <a:pt x="18634" y="0"/>
                  </a:lnTo>
                  <a:lnTo>
                    <a:pt x="0" y="18634"/>
                  </a:lnTo>
                  <a:lnTo>
                    <a:pt x="0" y="58998"/>
                  </a:lnTo>
                  <a:lnTo>
                    <a:pt x="19713" y="78712"/>
                  </a:lnTo>
                  <a:lnTo>
                    <a:pt x="19713" y="103507"/>
                  </a:lnTo>
                  <a:lnTo>
                    <a:pt x="6928" y="116300"/>
                  </a:lnTo>
                  <a:lnTo>
                    <a:pt x="30718" y="140083"/>
                  </a:lnTo>
                  <a:lnTo>
                    <a:pt x="69040" y="140083"/>
                  </a:lnTo>
                  <a:lnTo>
                    <a:pt x="94396" y="165429"/>
                  </a:lnTo>
                  <a:lnTo>
                    <a:pt x="125451" y="165429"/>
                  </a:lnTo>
                  <a:lnTo>
                    <a:pt x="159079" y="131804"/>
                  </a:lnTo>
                  <a:lnTo>
                    <a:pt x="159079" y="102848"/>
                  </a:lnTo>
                  <a:lnTo>
                    <a:pt x="159079" y="81322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6" name="Freeform: Shape 495">
              <a:extLst>
                <a:ext uri="{FF2B5EF4-FFF2-40B4-BE49-F238E27FC236}">
                  <a16:creationId xmlns:a16="http://schemas.microsoft.com/office/drawing/2014/main" id="{A898FF26-D847-5AB3-115C-D7DBEE7430EA}"/>
                </a:ext>
              </a:extLst>
            </p:cNvPr>
            <p:cNvSpPr/>
            <p:nvPr/>
          </p:nvSpPr>
          <p:spPr>
            <a:xfrm>
              <a:off x="3897324" y="5343528"/>
              <a:ext cx="259125" cy="292043"/>
            </a:xfrm>
            <a:custGeom>
              <a:avLst/>
              <a:gdLst>
                <a:gd name="connsiteX0" fmla="*/ 33453 w 259125"/>
                <a:gd name="connsiteY0" fmla="*/ 0 h 292043"/>
                <a:gd name="connsiteX1" fmla="*/ 0 w 259125"/>
                <a:gd name="connsiteY1" fmla="*/ 33462 h 292043"/>
                <a:gd name="connsiteX2" fmla="*/ 0 w 259125"/>
                <a:gd name="connsiteY2" fmla="*/ 89758 h 292043"/>
                <a:gd name="connsiteX3" fmla="*/ 89264 w 259125"/>
                <a:gd name="connsiteY3" fmla="*/ 167283 h 292043"/>
                <a:gd name="connsiteX4" fmla="*/ 118112 w 259125"/>
                <a:gd name="connsiteY4" fmla="*/ 167283 h 292043"/>
                <a:gd name="connsiteX5" fmla="*/ 157957 w 259125"/>
                <a:gd name="connsiteY5" fmla="*/ 207113 h 292043"/>
                <a:gd name="connsiteX6" fmla="*/ 131391 w 259125"/>
                <a:gd name="connsiteY6" fmla="*/ 233679 h 292043"/>
                <a:gd name="connsiteX7" fmla="*/ 131391 w 259125"/>
                <a:gd name="connsiteY7" fmla="*/ 270938 h 292043"/>
                <a:gd name="connsiteX8" fmla="*/ 179343 w 259125"/>
                <a:gd name="connsiteY8" fmla="*/ 270938 h 292043"/>
                <a:gd name="connsiteX9" fmla="*/ 200447 w 259125"/>
                <a:gd name="connsiteY9" fmla="*/ 292044 h 292043"/>
                <a:gd name="connsiteX10" fmla="*/ 228044 w 259125"/>
                <a:gd name="connsiteY10" fmla="*/ 264430 h 292043"/>
                <a:gd name="connsiteX11" fmla="*/ 228044 w 259125"/>
                <a:gd name="connsiteY11" fmla="*/ 248401 h 292043"/>
                <a:gd name="connsiteX12" fmla="*/ 259125 w 259125"/>
                <a:gd name="connsiteY12" fmla="*/ 217328 h 292043"/>
                <a:gd name="connsiteX13" fmla="*/ 259125 w 259125"/>
                <a:gd name="connsiteY13" fmla="*/ 149926 h 292043"/>
                <a:gd name="connsiteX14" fmla="*/ 242757 w 259125"/>
                <a:gd name="connsiteY14" fmla="*/ 149926 h 292043"/>
                <a:gd name="connsiteX15" fmla="*/ 227055 w 259125"/>
                <a:gd name="connsiteY15" fmla="*/ 165628 h 292043"/>
                <a:gd name="connsiteX16" fmla="*/ 210341 w 259125"/>
                <a:gd name="connsiteY16" fmla="*/ 165628 h 292043"/>
                <a:gd name="connsiteX17" fmla="*/ 210341 w 259125"/>
                <a:gd name="connsiteY17" fmla="*/ 115740 h 292043"/>
                <a:gd name="connsiteX18" fmla="*/ 186650 w 259125"/>
                <a:gd name="connsiteY18" fmla="*/ 115740 h 292043"/>
                <a:gd name="connsiteX19" fmla="*/ 169128 w 259125"/>
                <a:gd name="connsiteY19" fmla="*/ 98227 h 292043"/>
                <a:gd name="connsiteX20" fmla="*/ 137026 w 259125"/>
                <a:gd name="connsiteY20" fmla="*/ 98227 h 292043"/>
                <a:gd name="connsiteX21" fmla="*/ 137026 w 259125"/>
                <a:gd name="connsiteY21" fmla="*/ 40926 h 292043"/>
                <a:gd name="connsiteX22" fmla="*/ 116588 w 259125"/>
                <a:gd name="connsiteY22" fmla="*/ 20487 h 292043"/>
                <a:gd name="connsiteX23" fmla="*/ 88341 w 259125"/>
                <a:gd name="connsiteY23" fmla="*/ 0 h 292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59125" h="292043">
                  <a:moveTo>
                    <a:pt x="33453" y="0"/>
                  </a:moveTo>
                  <a:lnTo>
                    <a:pt x="0" y="33462"/>
                  </a:lnTo>
                  <a:lnTo>
                    <a:pt x="0" y="89758"/>
                  </a:lnTo>
                  <a:lnTo>
                    <a:pt x="89264" y="167283"/>
                  </a:lnTo>
                  <a:lnTo>
                    <a:pt x="118112" y="167283"/>
                  </a:lnTo>
                  <a:lnTo>
                    <a:pt x="157957" y="207113"/>
                  </a:lnTo>
                  <a:lnTo>
                    <a:pt x="131391" y="233679"/>
                  </a:lnTo>
                  <a:lnTo>
                    <a:pt x="131391" y="270938"/>
                  </a:lnTo>
                  <a:lnTo>
                    <a:pt x="179343" y="270938"/>
                  </a:lnTo>
                  <a:lnTo>
                    <a:pt x="200447" y="292044"/>
                  </a:lnTo>
                  <a:lnTo>
                    <a:pt x="228044" y="264430"/>
                  </a:lnTo>
                  <a:lnTo>
                    <a:pt x="228044" y="248401"/>
                  </a:lnTo>
                  <a:lnTo>
                    <a:pt x="259125" y="217328"/>
                  </a:lnTo>
                  <a:lnTo>
                    <a:pt x="259125" y="149926"/>
                  </a:lnTo>
                  <a:lnTo>
                    <a:pt x="242757" y="149926"/>
                  </a:lnTo>
                  <a:lnTo>
                    <a:pt x="227055" y="165628"/>
                  </a:lnTo>
                  <a:lnTo>
                    <a:pt x="210341" y="165628"/>
                  </a:lnTo>
                  <a:lnTo>
                    <a:pt x="210341" y="115740"/>
                  </a:lnTo>
                  <a:lnTo>
                    <a:pt x="186650" y="115740"/>
                  </a:lnTo>
                  <a:lnTo>
                    <a:pt x="169128" y="98227"/>
                  </a:lnTo>
                  <a:lnTo>
                    <a:pt x="137026" y="98227"/>
                  </a:lnTo>
                  <a:lnTo>
                    <a:pt x="137026" y="40926"/>
                  </a:lnTo>
                  <a:lnTo>
                    <a:pt x="116588" y="20487"/>
                  </a:lnTo>
                  <a:lnTo>
                    <a:pt x="88341" y="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7" name="Freeform: Shape 496">
              <a:extLst>
                <a:ext uri="{FF2B5EF4-FFF2-40B4-BE49-F238E27FC236}">
                  <a16:creationId xmlns:a16="http://schemas.microsoft.com/office/drawing/2014/main" id="{D221E32E-26C7-6419-0BE0-9B0EA842E8FA}"/>
                </a:ext>
              </a:extLst>
            </p:cNvPr>
            <p:cNvSpPr/>
            <p:nvPr/>
          </p:nvSpPr>
          <p:spPr>
            <a:xfrm>
              <a:off x="3701949" y="5433286"/>
              <a:ext cx="466601" cy="1020290"/>
            </a:xfrm>
            <a:custGeom>
              <a:avLst/>
              <a:gdLst>
                <a:gd name="connsiteX0" fmla="*/ 378104 w 466601"/>
                <a:gd name="connsiteY0" fmla="*/ 281219 h 1020290"/>
                <a:gd name="connsiteX1" fmla="*/ 378104 w 466601"/>
                <a:gd name="connsiteY1" fmla="*/ 263195 h 1020290"/>
                <a:gd name="connsiteX2" fmla="*/ 441353 w 466601"/>
                <a:gd name="connsiteY2" fmla="*/ 199921 h 1020290"/>
                <a:gd name="connsiteX3" fmla="*/ 466601 w 466601"/>
                <a:gd name="connsiteY3" fmla="*/ 174672 h 1020290"/>
                <a:gd name="connsiteX4" fmla="*/ 466601 w 466601"/>
                <a:gd name="connsiteY4" fmla="*/ 139663 h 1020290"/>
                <a:gd name="connsiteX5" fmla="*/ 454500 w 466601"/>
                <a:gd name="connsiteY5" fmla="*/ 127570 h 1020290"/>
                <a:gd name="connsiteX6" fmla="*/ 423419 w 466601"/>
                <a:gd name="connsiteY6" fmla="*/ 158643 h 1020290"/>
                <a:gd name="connsiteX7" fmla="*/ 423419 w 466601"/>
                <a:gd name="connsiteY7" fmla="*/ 174672 h 1020290"/>
                <a:gd name="connsiteX8" fmla="*/ 395822 w 466601"/>
                <a:gd name="connsiteY8" fmla="*/ 202285 h 1020290"/>
                <a:gd name="connsiteX9" fmla="*/ 374718 w 466601"/>
                <a:gd name="connsiteY9" fmla="*/ 181180 h 1020290"/>
                <a:gd name="connsiteX10" fmla="*/ 326766 w 466601"/>
                <a:gd name="connsiteY10" fmla="*/ 181180 h 1020290"/>
                <a:gd name="connsiteX11" fmla="*/ 326766 w 466601"/>
                <a:gd name="connsiteY11" fmla="*/ 143921 h 1020290"/>
                <a:gd name="connsiteX12" fmla="*/ 353332 w 466601"/>
                <a:gd name="connsiteY12" fmla="*/ 117355 h 1020290"/>
                <a:gd name="connsiteX13" fmla="*/ 313487 w 466601"/>
                <a:gd name="connsiteY13" fmla="*/ 77525 h 1020290"/>
                <a:gd name="connsiteX14" fmla="*/ 284638 w 466601"/>
                <a:gd name="connsiteY14" fmla="*/ 77525 h 1020290"/>
                <a:gd name="connsiteX15" fmla="*/ 195375 w 466601"/>
                <a:gd name="connsiteY15" fmla="*/ 0 h 1020290"/>
                <a:gd name="connsiteX16" fmla="*/ 153477 w 466601"/>
                <a:gd name="connsiteY16" fmla="*/ 0 h 1020290"/>
                <a:gd name="connsiteX17" fmla="*/ 153477 w 466601"/>
                <a:gd name="connsiteY17" fmla="*/ 22241 h 1020290"/>
                <a:gd name="connsiteX18" fmla="*/ 131260 w 466601"/>
                <a:gd name="connsiteY18" fmla="*/ 0 h 1020290"/>
                <a:gd name="connsiteX19" fmla="*/ 92683 w 466601"/>
                <a:gd name="connsiteY19" fmla="*/ 0 h 1020290"/>
                <a:gd name="connsiteX20" fmla="*/ 65235 w 466601"/>
                <a:gd name="connsiteY20" fmla="*/ 27456 h 1020290"/>
                <a:gd name="connsiteX21" fmla="*/ 65235 w 466601"/>
                <a:gd name="connsiteY21" fmla="*/ 53570 h 1020290"/>
                <a:gd name="connsiteX22" fmla="*/ 49460 w 466601"/>
                <a:gd name="connsiteY22" fmla="*/ 69336 h 1020290"/>
                <a:gd name="connsiteX23" fmla="*/ 28371 w 466601"/>
                <a:gd name="connsiteY23" fmla="*/ 90425 h 1020290"/>
                <a:gd name="connsiteX24" fmla="*/ 37169 w 466601"/>
                <a:gd name="connsiteY24" fmla="*/ 99223 h 1020290"/>
                <a:gd name="connsiteX25" fmla="*/ 37169 w 466601"/>
                <a:gd name="connsiteY25" fmla="*/ 150338 h 1020290"/>
                <a:gd name="connsiteX26" fmla="*/ 54501 w 466601"/>
                <a:gd name="connsiteY26" fmla="*/ 167662 h 1020290"/>
                <a:gd name="connsiteX27" fmla="*/ 42919 w 466601"/>
                <a:gd name="connsiteY27" fmla="*/ 179253 h 1020290"/>
                <a:gd name="connsiteX28" fmla="*/ 13411 w 466601"/>
                <a:gd name="connsiteY28" fmla="*/ 179253 h 1020290"/>
                <a:gd name="connsiteX29" fmla="*/ 13411 w 466601"/>
                <a:gd name="connsiteY29" fmla="*/ 238886 h 1020290"/>
                <a:gd name="connsiteX30" fmla="*/ 25768 w 466601"/>
                <a:gd name="connsiteY30" fmla="*/ 251242 h 1020290"/>
                <a:gd name="connsiteX31" fmla="*/ 25768 w 466601"/>
                <a:gd name="connsiteY31" fmla="*/ 281738 h 1020290"/>
                <a:gd name="connsiteX32" fmla="*/ 0 w 466601"/>
                <a:gd name="connsiteY32" fmla="*/ 307514 h 1020290"/>
                <a:gd name="connsiteX33" fmla="*/ 0 w 466601"/>
                <a:gd name="connsiteY33" fmla="*/ 338694 h 1020290"/>
                <a:gd name="connsiteX34" fmla="*/ 40134 w 466601"/>
                <a:gd name="connsiteY34" fmla="*/ 378828 h 1020290"/>
                <a:gd name="connsiteX35" fmla="*/ 40134 w 466601"/>
                <a:gd name="connsiteY35" fmla="*/ 405379 h 1020290"/>
                <a:gd name="connsiteX36" fmla="*/ 40134 w 466601"/>
                <a:gd name="connsiteY36" fmla="*/ 454253 h 1020290"/>
                <a:gd name="connsiteX37" fmla="*/ 51099 w 466601"/>
                <a:gd name="connsiteY37" fmla="*/ 465209 h 1020290"/>
                <a:gd name="connsiteX38" fmla="*/ 51099 w 466601"/>
                <a:gd name="connsiteY38" fmla="*/ 492344 h 1020290"/>
                <a:gd name="connsiteX39" fmla="*/ 37680 w 466601"/>
                <a:gd name="connsiteY39" fmla="*/ 505796 h 1020290"/>
                <a:gd name="connsiteX40" fmla="*/ 37680 w 466601"/>
                <a:gd name="connsiteY40" fmla="*/ 543080 h 1020290"/>
                <a:gd name="connsiteX41" fmla="*/ 64254 w 466601"/>
                <a:gd name="connsiteY41" fmla="*/ 569647 h 1020290"/>
                <a:gd name="connsiteX42" fmla="*/ 53529 w 466601"/>
                <a:gd name="connsiteY42" fmla="*/ 580389 h 1020290"/>
                <a:gd name="connsiteX43" fmla="*/ 53529 w 466601"/>
                <a:gd name="connsiteY43" fmla="*/ 633390 h 1020290"/>
                <a:gd name="connsiteX44" fmla="*/ 53529 w 466601"/>
                <a:gd name="connsiteY44" fmla="*/ 654964 h 1020290"/>
                <a:gd name="connsiteX45" fmla="*/ 53529 w 466601"/>
                <a:gd name="connsiteY45" fmla="*/ 707134 h 1020290"/>
                <a:gd name="connsiteX46" fmla="*/ 92460 w 466601"/>
                <a:gd name="connsiteY46" fmla="*/ 746049 h 1020290"/>
                <a:gd name="connsiteX47" fmla="*/ 92460 w 466601"/>
                <a:gd name="connsiteY47" fmla="*/ 772978 h 1020290"/>
                <a:gd name="connsiteX48" fmla="*/ 113162 w 466601"/>
                <a:gd name="connsiteY48" fmla="*/ 793688 h 1020290"/>
                <a:gd name="connsiteX49" fmla="*/ 113162 w 466601"/>
                <a:gd name="connsiteY49" fmla="*/ 833608 h 1020290"/>
                <a:gd name="connsiteX50" fmla="*/ 113162 w 466601"/>
                <a:gd name="connsiteY50" fmla="*/ 869253 h 1020290"/>
                <a:gd name="connsiteX51" fmla="*/ 127899 w 466601"/>
                <a:gd name="connsiteY51" fmla="*/ 883973 h 1020290"/>
                <a:gd name="connsiteX52" fmla="*/ 127899 w 466601"/>
                <a:gd name="connsiteY52" fmla="*/ 908908 h 1020290"/>
                <a:gd name="connsiteX53" fmla="*/ 106374 w 466601"/>
                <a:gd name="connsiteY53" fmla="*/ 930442 h 1020290"/>
                <a:gd name="connsiteX54" fmla="*/ 106374 w 466601"/>
                <a:gd name="connsiteY54" fmla="*/ 954034 h 1020290"/>
                <a:gd name="connsiteX55" fmla="*/ 137817 w 466601"/>
                <a:gd name="connsiteY55" fmla="*/ 985470 h 1020290"/>
                <a:gd name="connsiteX56" fmla="*/ 150092 w 466601"/>
                <a:gd name="connsiteY56" fmla="*/ 985470 h 1020290"/>
                <a:gd name="connsiteX57" fmla="*/ 184912 w 466601"/>
                <a:gd name="connsiteY57" fmla="*/ 1020290 h 1020290"/>
                <a:gd name="connsiteX58" fmla="*/ 274959 w 466601"/>
                <a:gd name="connsiteY58" fmla="*/ 1020290 h 1020290"/>
                <a:gd name="connsiteX59" fmla="*/ 229091 w 466601"/>
                <a:gd name="connsiteY59" fmla="*/ 974432 h 1020290"/>
                <a:gd name="connsiteX60" fmla="*/ 252627 w 466601"/>
                <a:gd name="connsiteY60" fmla="*/ 950888 h 1020290"/>
                <a:gd name="connsiteX61" fmla="*/ 273904 w 466601"/>
                <a:gd name="connsiteY61" fmla="*/ 950888 h 1020290"/>
                <a:gd name="connsiteX62" fmla="*/ 273904 w 466601"/>
                <a:gd name="connsiteY62" fmla="*/ 912047 h 1020290"/>
                <a:gd name="connsiteX63" fmla="*/ 302992 w 466601"/>
                <a:gd name="connsiteY63" fmla="*/ 882960 h 1020290"/>
                <a:gd name="connsiteX64" fmla="*/ 302992 w 466601"/>
                <a:gd name="connsiteY64" fmla="*/ 857818 h 1020290"/>
                <a:gd name="connsiteX65" fmla="*/ 265197 w 466601"/>
                <a:gd name="connsiteY65" fmla="*/ 857818 h 1020290"/>
                <a:gd name="connsiteX66" fmla="*/ 226513 w 466601"/>
                <a:gd name="connsiteY66" fmla="*/ 819126 h 1020290"/>
                <a:gd name="connsiteX67" fmla="*/ 226513 w 466601"/>
                <a:gd name="connsiteY67" fmla="*/ 786537 h 1020290"/>
                <a:gd name="connsiteX68" fmla="*/ 264085 w 466601"/>
                <a:gd name="connsiteY68" fmla="*/ 786537 h 1020290"/>
                <a:gd name="connsiteX69" fmla="*/ 264085 w 466601"/>
                <a:gd name="connsiteY69" fmla="*/ 745679 h 1020290"/>
                <a:gd name="connsiteX70" fmla="*/ 289490 w 466601"/>
                <a:gd name="connsiteY70" fmla="*/ 720273 h 1020290"/>
                <a:gd name="connsiteX71" fmla="*/ 276319 w 466601"/>
                <a:gd name="connsiteY71" fmla="*/ 707101 h 1020290"/>
                <a:gd name="connsiteX72" fmla="*/ 254134 w 466601"/>
                <a:gd name="connsiteY72" fmla="*/ 684900 h 1020290"/>
                <a:gd name="connsiteX73" fmla="*/ 254134 w 466601"/>
                <a:gd name="connsiteY73" fmla="*/ 643662 h 1020290"/>
                <a:gd name="connsiteX74" fmla="*/ 302876 w 466601"/>
                <a:gd name="connsiteY74" fmla="*/ 643662 h 1020290"/>
                <a:gd name="connsiteX75" fmla="*/ 302876 w 466601"/>
                <a:gd name="connsiteY75" fmla="*/ 613348 h 1020290"/>
                <a:gd name="connsiteX76" fmla="*/ 323537 w 466601"/>
                <a:gd name="connsiteY76" fmla="*/ 592687 h 1020290"/>
                <a:gd name="connsiteX77" fmla="*/ 336264 w 466601"/>
                <a:gd name="connsiteY77" fmla="*/ 579968 h 1020290"/>
                <a:gd name="connsiteX78" fmla="*/ 377947 w 466601"/>
                <a:gd name="connsiteY78" fmla="*/ 579968 h 1020290"/>
                <a:gd name="connsiteX79" fmla="*/ 414976 w 466601"/>
                <a:gd name="connsiteY79" fmla="*/ 542949 h 1020290"/>
                <a:gd name="connsiteX80" fmla="*/ 448404 w 466601"/>
                <a:gd name="connsiteY80" fmla="*/ 509520 h 1020290"/>
                <a:gd name="connsiteX81" fmla="*/ 411540 w 466601"/>
                <a:gd name="connsiteY81" fmla="*/ 472648 h 1020290"/>
                <a:gd name="connsiteX82" fmla="*/ 411540 w 466601"/>
                <a:gd name="connsiteY82" fmla="*/ 452432 h 1020290"/>
                <a:gd name="connsiteX83" fmla="*/ 380393 w 466601"/>
                <a:gd name="connsiteY83" fmla="*/ 421302 h 1020290"/>
                <a:gd name="connsiteX84" fmla="*/ 390188 w 466601"/>
                <a:gd name="connsiteY84" fmla="*/ 421302 h 1020290"/>
                <a:gd name="connsiteX85" fmla="*/ 366398 w 466601"/>
                <a:gd name="connsiteY85" fmla="*/ 397519 h 1020290"/>
                <a:gd name="connsiteX86" fmla="*/ 379182 w 466601"/>
                <a:gd name="connsiteY86" fmla="*/ 384726 h 1020290"/>
                <a:gd name="connsiteX87" fmla="*/ 379182 w 466601"/>
                <a:gd name="connsiteY87" fmla="*/ 359931 h 1020290"/>
                <a:gd name="connsiteX88" fmla="*/ 359470 w 466601"/>
                <a:gd name="connsiteY88" fmla="*/ 340217 h 1020290"/>
                <a:gd name="connsiteX89" fmla="*/ 359470 w 466601"/>
                <a:gd name="connsiteY89" fmla="*/ 299853 h 1020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6601" h="1020290">
                  <a:moveTo>
                    <a:pt x="378104" y="281219"/>
                  </a:moveTo>
                  <a:lnTo>
                    <a:pt x="378104" y="263195"/>
                  </a:lnTo>
                  <a:lnTo>
                    <a:pt x="441353" y="199921"/>
                  </a:lnTo>
                  <a:lnTo>
                    <a:pt x="466601" y="174672"/>
                  </a:lnTo>
                  <a:lnTo>
                    <a:pt x="466601" y="139663"/>
                  </a:lnTo>
                  <a:lnTo>
                    <a:pt x="454500" y="127570"/>
                  </a:lnTo>
                  <a:lnTo>
                    <a:pt x="423419" y="158643"/>
                  </a:lnTo>
                  <a:lnTo>
                    <a:pt x="423419" y="174672"/>
                  </a:lnTo>
                  <a:lnTo>
                    <a:pt x="395822" y="202285"/>
                  </a:lnTo>
                  <a:lnTo>
                    <a:pt x="374718" y="181180"/>
                  </a:lnTo>
                  <a:lnTo>
                    <a:pt x="326766" y="181180"/>
                  </a:lnTo>
                  <a:lnTo>
                    <a:pt x="326766" y="143921"/>
                  </a:lnTo>
                  <a:lnTo>
                    <a:pt x="353332" y="117355"/>
                  </a:lnTo>
                  <a:lnTo>
                    <a:pt x="313487" y="77525"/>
                  </a:lnTo>
                  <a:lnTo>
                    <a:pt x="284638" y="77525"/>
                  </a:lnTo>
                  <a:lnTo>
                    <a:pt x="195375" y="0"/>
                  </a:lnTo>
                  <a:lnTo>
                    <a:pt x="153477" y="0"/>
                  </a:lnTo>
                  <a:lnTo>
                    <a:pt x="153477" y="22241"/>
                  </a:lnTo>
                  <a:lnTo>
                    <a:pt x="131260" y="0"/>
                  </a:lnTo>
                  <a:lnTo>
                    <a:pt x="92683" y="0"/>
                  </a:lnTo>
                  <a:lnTo>
                    <a:pt x="65235" y="27456"/>
                  </a:lnTo>
                  <a:lnTo>
                    <a:pt x="65235" y="53570"/>
                  </a:lnTo>
                  <a:lnTo>
                    <a:pt x="49460" y="69336"/>
                  </a:lnTo>
                  <a:lnTo>
                    <a:pt x="28371" y="90425"/>
                  </a:lnTo>
                  <a:lnTo>
                    <a:pt x="37169" y="99223"/>
                  </a:lnTo>
                  <a:lnTo>
                    <a:pt x="37169" y="150338"/>
                  </a:lnTo>
                  <a:lnTo>
                    <a:pt x="54501" y="167662"/>
                  </a:lnTo>
                  <a:lnTo>
                    <a:pt x="42919" y="179253"/>
                  </a:lnTo>
                  <a:lnTo>
                    <a:pt x="13411" y="179253"/>
                  </a:lnTo>
                  <a:lnTo>
                    <a:pt x="13411" y="238886"/>
                  </a:lnTo>
                  <a:lnTo>
                    <a:pt x="25768" y="251242"/>
                  </a:lnTo>
                  <a:lnTo>
                    <a:pt x="25768" y="281738"/>
                  </a:lnTo>
                  <a:lnTo>
                    <a:pt x="0" y="307514"/>
                  </a:lnTo>
                  <a:lnTo>
                    <a:pt x="0" y="338694"/>
                  </a:lnTo>
                  <a:lnTo>
                    <a:pt x="40134" y="378828"/>
                  </a:lnTo>
                  <a:lnTo>
                    <a:pt x="40134" y="405379"/>
                  </a:lnTo>
                  <a:lnTo>
                    <a:pt x="40134" y="454253"/>
                  </a:lnTo>
                  <a:lnTo>
                    <a:pt x="51099" y="465209"/>
                  </a:lnTo>
                  <a:lnTo>
                    <a:pt x="51099" y="492344"/>
                  </a:lnTo>
                  <a:lnTo>
                    <a:pt x="37680" y="505796"/>
                  </a:lnTo>
                  <a:lnTo>
                    <a:pt x="37680" y="543080"/>
                  </a:lnTo>
                  <a:lnTo>
                    <a:pt x="64254" y="569647"/>
                  </a:lnTo>
                  <a:lnTo>
                    <a:pt x="53529" y="580389"/>
                  </a:lnTo>
                  <a:lnTo>
                    <a:pt x="53529" y="633390"/>
                  </a:lnTo>
                  <a:lnTo>
                    <a:pt x="53529" y="654964"/>
                  </a:lnTo>
                  <a:lnTo>
                    <a:pt x="53529" y="707134"/>
                  </a:lnTo>
                  <a:lnTo>
                    <a:pt x="92460" y="746049"/>
                  </a:lnTo>
                  <a:lnTo>
                    <a:pt x="92460" y="772978"/>
                  </a:lnTo>
                  <a:lnTo>
                    <a:pt x="113162" y="793688"/>
                  </a:lnTo>
                  <a:lnTo>
                    <a:pt x="113162" y="833608"/>
                  </a:lnTo>
                  <a:lnTo>
                    <a:pt x="113162" y="869253"/>
                  </a:lnTo>
                  <a:lnTo>
                    <a:pt x="127899" y="883973"/>
                  </a:lnTo>
                  <a:lnTo>
                    <a:pt x="127899" y="908908"/>
                  </a:lnTo>
                  <a:lnTo>
                    <a:pt x="106374" y="930442"/>
                  </a:lnTo>
                  <a:lnTo>
                    <a:pt x="106374" y="954034"/>
                  </a:lnTo>
                  <a:lnTo>
                    <a:pt x="137817" y="985470"/>
                  </a:lnTo>
                  <a:lnTo>
                    <a:pt x="150092" y="985470"/>
                  </a:lnTo>
                  <a:lnTo>
                    <a:pt x="184912" y="1020290"/>
                  </a:lnTo>
                  <a:lnTo>
                    <a:pt x="274959" y="1020290"/>
                  </a:lnTo>
                  <a:lnTo>
                    <a:pt x="229091" y="974432"/>
                  </a:lnTo>
                  <a:lnTo>
                    <a:pt x="252627" y="950888"/>
                  </a:lnTo>
                  <a:lnTo>
                    <a:pt x="273904" y="950888"/>
                  </a:lnTo>
                  <a:lnTo>
                    <a:pt x="273904" y="912047"/>
                  </a:lnTo>
                  <a:lnTo>
                    <a:pt x="302992" y="882960"/>
                  </a:lnTo>
                  <a:lnTo>
                    <a:pt x="302992" y="857818"/>
                  </a:lnTo>
                  <a:lnTo>
                    <a:pt x="265197" y="857818"/>
                  </a:lnTo>
                  <a:lnTo>
                    <a:pt x="226513" y="819126"/>
                  </a:lnTo>
                  <a:lnTo>
                    <a:pt x="226513" y="786537"/>
                  </a:lnTo>
                  <a:lnTo>
                    <a:pt x="264085" y="786537"/>
                  </a:lnTo>
                  <a:lnTo>
                    <a:pt x="264085" y="745679"/>
                  </a:lnTo>
                  <a:lnTo>
                    <a:pt x="289490" y="720273"/>
                  </a:lnTo>
                  <a:lnTo>
                    <a:pt x="276319" y="707101"/>
                  </a:lnTo>
                  <a:lnTo>
                    <a:pt x="254134" y="684900"/>
                  </a:lnTo>
                  <a:lnTo>
                    <a:pt x="254134" y="643662"/>
                  </a:lnTo>
                  <a:lnTo>
                    <a:pt x="302876" y="643662"/>
                  </a:lnTo>
                  <a:lnTo>
                    <a:pt x="302876" y="613348"/>
                  </a:lnTo>
                  <a:lnTo>
                    <a:pt x="323537" y="592687"/>
                  </a:lnTo>
                  <a:lnTo>
                    <a:pt x="336264" y="579968"/>
                  </a:lnTo>
                  <a:lnTo>
                    <a:pt x="377947" y="579968"/>
                  </a:lnTo>
                  <a:lnTo>
                    <a:pt x="414976" y="542949"/>
                  </a:lnTo>
                  <a:lnTo>
                    <a:pt x="448404" y="509520"/>
                  </a:lnTo>
                  <a:lnTo>
                    <a:pt x="411540" y="472648"/>
                  </a:lnTo>
                  <a:lnTo>
                    <a:pt x="411540" y="452432"/>
                  </a:lnTo>
                  <a:lnTo>
                    <a:pt x="380393" y="421302"/>
                  </a:lnTo>
                  <a:lnTo>
                    <a:pt x="390188" y="421302"/>
                  </a:lnTo>
                  <a:lnTo>
                    <a:pt x="366398" y="397519"/>
                  </a:lnTo>
                  <a:lnTo>
                    <a:pt x="379182" y="384726"/>
                  </a:lnTo>
                  <a:lnTo>
                    <a:pt x="379182" y="359931"/>
                  </a:lnTo>
                  <a:lnTo>
                    <a:pt x="359470" y="340217"/>
                  </a:lnTo>
                  <a:lnTo>
                    <a:pt x="359470" y="299853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8" name="Freeform: Shape 497">
              <a:extLst>
                <a:ext uri="{FF2B5EF4-FFF2-40B4-BE49-F238E27FC236}">
                  <a16:creationId xmlns:a16="http://schemas.microsoft.com/office/drawing/2014/main" id="{F5B925EB-BD4B-ED43-2BDB-549299FC00C6}"/>
                </a:ext>
              </a:extLst>
            </p:cNvPr>
            <p:cNvSpPr/>
            <p:nvPr/>
          </p:nvSpPr>
          <p:spPr>
            <a:xfrm>
              <a:off x="3658438" y="5026252"/>
              <a:ext cx="367360" cy="434490"/>
            </a:xfrm>
            <a:custGeom>
              <a:avLst/>
              <a:gdLst>
                <a:gd name="connsiteX0" fmla="*/ 174771 w 367360"/>
                <a:gd name="connsiteY0" fmla="*/ 407034 h 434490"/>
                <a:gd name="connsiteX1" fmla="*/ 196989 w 367360"/>
                <a:gd name="connsiteY1" fmla="*/ 429275 h 434490"/>
                <a:gd name="connsiteX2" fmla="*/ 196989 w 367360"/>
                <a:gd name="connsiteY2" fmla="*/ 407034 h 434490"/>
                <a:gd name="connsiteX3" fmla="*/ 238886 w 367360"/>
                <a:gd name="connsiteY3" fmla="*/ 407034 h 434490"/>
                <a:gd name="connsiteX4" fmla="*/ 238886 w 367360"/>
                <a:gd name="connsiteY4" fmla="*/ 350737 h 434490"/>
                <a:gd name="connsiteX5" fmla="*/ 272339 w 367360"/>
                <a:gd name="connsiteY5" fmla="*/ 317276 h 434490"/>
                <a:gd name="connsiteX6" fmla="*/ 327227 w 367360"/>
                <a:gd name="connsiteY6" fmla="*/ 317276 h 434490"/>
                <a:gd name="connsiteX7" fmla="*/ 355474 w 367360"/>
                <a:gd name="connsiteY7" fmla="*/ 337763 h 434490"/>
                <a:gd name="connsiteX8" fmla="*/ 367361 w 367360"/>
                <a:gd name="connsiteY8" fmla="*/ 325876 h 434490"/>
                <a:gd name="connsiteX9" fmla="*/ 367361 w 367360"/>
                <a:gd name="connsiteY9" fmla="*/ 270032 h 434490"/>
                <a:gd name="connsiteX10" fmla="*/ 345548 w 367360"/>
                <a:gd name="connsiteY10" fmla="*/ 248211 h 434490"/>
                <a:gd name="connsiteX11" fmla="*/ 345548 w 367360"/>
                <a:gd name="connsiteY11" fmla="*/ 219181 h 434490"/>
                <a:gd name="connsiteX12" fmla="*/ 271614 w 367360"/>
                <a:gd name="connsiteY12" fmla="*/ 219181 h 434490"/>
                <a:gd name="connsiteX13" fmla="*/ 271614 w 367360"/>
                <a:gd name="connsiteY13" fmla="*/ 183882 h 434490"/>
                <a:gd name="connsiteX14" fmla="*/ 278172 w 367360"/>
                <a:gd name="connsiteY14" fmla="*/ 177342 h 434490"/>
                <a:gd name="connsiteX15" fmla="*/ 278172 w 367360"/>
                <a:gd name="connsiteY15" fmla="*/ 148534 h 434490"/>
                <a:gd name="connsiteX16" fmla="*/ 257206 w 367360"/>
                <a:gd name="connsiteY16" fmla="*/ 127562 h 434490"/>
                <a:gd name="connsiteX17" fmla="*/ 217352 w 367360"/>
                <a:gd name="connsiteY17" fmla="*/ 127562 h 434490"/>
                <a:gd name="connsiteX18" fmla="*/ 193463 w 367360"/>
                <a:gd name="connsiteY18" fmla="*/ 103672 h 434490"/>
                <a:gd name="connsiteX19" fmla="*/ 172407 w 367360"/>
                <a:gd name="connsiteY19" fmla="*/ 82608 h 434490"/>
                <a:gd name="connsiteX20" fmla="*/ 147126 w 367360"/>
                <a:gd name="connsiteY20" fmla="*/ 82608 h 434490"/>
                <a:gd name="connsiteX21" fmla="*/ 126671 w 367360"/>
                <a:gd name="connsiteY21" fmla="*/ 62170 h 434490"/>
                <a:gd name="connsiteX22" fmla="*/ 126671 w 367360"/>
                <a:gd name="connsiteY22" fmla="*/ 39928 h 434490"/>
                <a:gd name="connsiteX23" fmla="*/ 126671 w 367360"/>
                <a:gd name="connsiteY23" fmla="*/ 16022 h 434490"/>
                <a:gd name="connsiteX24" fmla="*/ 110641 w 367360"/>
                <a:gd name="connsiteY24" fmla="*/ 0 h 434490"/>
                <a:gd name="connsiteX25" fmla="*/ 84470 w 367360"/>
                <a:gd name="connsiteY25" fmla="*/ 0 h 434490"/>
                <a:gd name="connsiteX26" fmla="*/ 59303 w 367360"/>
                <a:gd name="connsiteY26" fmla="*/ 25158 h 434490"/>
                <a:gd name="connsiteX27" fmla="*/ 42589 w 367360"/>
                <a:gd name="connsiteY27" fmla="*/ 41881 h 434490"/>
                <a:gd name="connsiteX28" fmla="*/ 30158 w 367360"/>
                <a:gd name="connsiteY28" fmla="*/ 41881 h 434490"/>
                <a:gd name="connsiteX29" fmla="*/ 13773 w 367360"/>
                <a:gd name="connsiteY29" fmla="*/ 25504 h 434490"/>
                <a:gd name="connsiteX30" fmla="*/ 0 w 367360"/>
                <a:gd name="connsiteY30" fmla="*/ 39261 h 434490"/>
                <a:gd name="connsiteX31" fmla="*/ 0 w 367360"/>
                <a:gd name="connsiteY31" fmla="*/ 66750 h 434490"/>
                <a:gd name="connsiteX32" fmla="*/ 26525 w 367360"/>
                <a:gd name="connsiteY32" fmla="*/ 93260 h 434490"/>
                <a:gd name="connsiteX33" fmla="*/ 26525 w 367360"/>
                <a:gd name="connsiteY33" fmla="*/ 125650 h 434490"/>
                <a:gd name="connsiteX34" fmla="*/ 26525 w 367360"/>
                <a:gd name="connsiteY34" fmla="*/ 149045 h 434490"/>
                <a:gd name="connsiteX35" fmla="*/ 8971 w 367360"/>
                <a:gd name="connsiteY35" fmla="*/ 166608 h 434490"/>
                <a:gd name="connsiteX36" fmla="*/ 8971 w 367360"/>
                <a:gd name="connsiteY36" fmla="*/ 185835 h 434490"/>
                <a:gd name="connsiteX37" fmla="*/ 29705 w 367360"/>
                <a:gd name="connsiteY37" fmla="*/ 206570 h 434490"/>
                <a:gd name="connsiteX38" fmla="*/ 29705 w 367360"/>
                <a:gd name="connsiteY38" fmla="*/ 248211 h 434490"/>
                <a:gd name="connsiteX39" fmla="*/ 11071 w 367360"/>
                <a:gd name="connsiteY39" fmla="*/ 266861 h 434490"/>
                <a:gd name="connsiteX40" fmla="*/ 48808 w 367360"/>
                <a:gd name="connsiteY40" fmla="*/ 299688 h 434490"/>
                <a:gd name="connsiteX41" fmla="*/ 48808 w 367360"/>
                <a:gd name="connsiteY41" fmla="*/ 325876 h 434490"/>
                <a:gd name="connsiteX42" fmla="*/ 48808 w 367360"/>
                <a:gd name="connsiteY42" fmla="*/ 349445 h 434490"/>
                <a:gd name="connsiteX43" fmla="*/ 48808 w 367360"/>
                <a:gd name="connsiteY43" fmla="*/ 381810 h 434490"/>
                <a:gd name="connsiteX44" fmla="*/ 81191 w 367360"/>
                <a:gd name="connsiteY44" fmla="*/ 414201 h 434490"/>
                <a:gd name="connsiteX45" fmla="*/ 81191 w 367360"/>
                <a:gd name="connsiteY45" fmla="*/ 434490 h 434490"/>
                <a:gd name="connsiteX46" fmla="*/ 108746 w 367360"/>
                <a:gd name="connsiteY46" fmla="*/ 434490 h 434490"/>
                <a:gd name="connsiteX47" fmla="*/ 136194 w 367360"/>
                <a:gd name="connsiteY47" fmla="*/ 407034 h 43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67360" h="434490">
                  <a:moveTo>
                    <a:pt x="174771" y="407034"/>
                  </a:moveTo>
                  <a:lnTo>
                    <a:pt x="196989" y="429275"/>
                  </a:lnTo>
                  <a:lnTo>
                    <a:pt x="196989" y="407034"/>
                  </a:lnTo>
                  <a:lnTo>
                    <a:pt x="238886" y="407034"/>
                  </a:lnTo>
                  <a:lnTo>
                    <a:pt x="238886" y="350737"/>
                  </a:lnTo>
                  <a:lnTo>
                    <a:pt x="272339" y="317276"/>
                  </a:lnTo>
                  <a:lnTo>
                    <a:pt x="327227" y="317276"/>
                  </a:lnTo>
                  <a:lnTo>
                    <a:pt x="355474" y="337763"/>
                  </a:lnTo>
                  <a:lnTo>
                    <a:pt x="367361" y="325876"/>
                  </a:lnTo>
                  <a:lnTo>
                    <a:pt x="367361" y="270032"/>
                  </a:lnTo>
                  <a:lnTo>
                    <a:pt x="345548" y="248211"/>
                  </a:lnTo>
                  <a:lnTo>
                    <a:pt x="345548" y="219181"/>
                  </a:lnTo>
                  <a:lnTo>
                    <a:pt x="271614" y="219181"/>
                  </a:lnTo>
                  <a:lnTo>
                    <a:pt x="271614" y="183882"/>
                  </a:lnTo>
                  <a:lnTo>
                    <a:pt x="278172" y="177342"/>
                  </a:lnTo>
                  <a:lnTo>
                    <a:pt x="278172" y="148534"/>
                  </a:lnTo>
                  <a:lnTo>
                    <a:pt x="257206" y="127562"/>
                  </a:lnTo>
                  <a:lnTo>
                    <a:pt x="217352" y="127562"/>
                  </a:lnTo>
                  <a:lnTo>
                    <a:pt x="193463" y="103672"/>
                  </a:lnTo>
                  <a:lnTo>
                    <a:pt x="172407" y="82608"/>
                  </a:lnTo>
                  <a:lnTo>
                    <a:pt x="147126" y="82608"/>
                  </a:lnTo>
                  <a:lnTo>
                    <a:pt x="126671" y="62170"/>
                  </a:lnTo>
                  <a:lnTo>
                    <a:pt x="126671" y="39928"/>
                  </a:lnTo>
                  <a:lnTo>
                    <a:pt x="126671" y="16022"/>
                  </a:lnTo>
                  <a:lnTo>
                    <a:pt x="110641" y="0"/>
                  </a:lnTo>
                  <a:lnTo>
                    <a:pt x="84470" y="0"/>
                  </a:lnTo>
                  <a:lnTo>
                    <a:pt x="59303" y="25158"/>
                  </a:lnTo>
                  <a:lnTo>
                    <a:pt x="42589" y="41881"/>
                  </a:lnTo>
                  <a:lnTo>
                    <a:pt x="30158" y="41881"/>
                  </a:lnTo>
                  <a:lnTo>
                    <a:pt x="13773" y="25504"/>
                  </a:lnTo>
                  <a:lnTo>
                    <a:pt x="0" y="39261"/>
                  </a:lnTo>
                  <a:lnTo>
                    <a:pt x="0" y="66750"/>
                  </a:lnTo>
                  <a:lnTo>
                    <a:pt x="26525" y="93260"/>
                  </a:lnTo>
                  <a:lnTo>
                    <a:pt x="26525" y="125650"/>
                  </a:lnTo>
                  <a:lnTo>
                    <a:pt x="26525" y="149045"/>
                  </a:lnTo>
                  <a:lnTo>
                    <a:pt x="8971" y="166608"/>
                  </a:lnTo>
                  <a:lnTo>
                    <a:pt x="8971" y="185835"/>
                  </a:lnTo>
                  <a:lnTo>
                    <a:pt x="29705" y="206570"/>
                  </a:lnTo>
                  <a:lnTo>
                    <a:pt x="29705" y="248211"/>
                  </a:lnTo>
                  <a:lnTo>
                    <a:pt x="11071" y="266861"/>
                  </a:lnTo>
                  <a:lnTo>
                    <a:pt x="48808" y="299688"/>
                  </a:lnTo>
                  <a:lnTo>
                    <a:pt x="48808" y="325876"/>
                  </a:lnTo>
                  <a:lnTo>
                    <a:pt x="48808" y="349445"/>
                  </a:lnTo>
                  <a:lnTo>
                    <a:pt x="48808" y="381810"/>
                  </a:lnTo>
                  <a:lnTo>
                    <a:pt x="81191" y="414201"/>
                  </a:lnTo>
                  <a:lnTo>
                    <a:pt x="81191" y="434490"/>
                  </a:lnTo>
                  <a:lnTo>
                    <a:pt x="108746" y="434490"/>
                  </a:lnTo>
                  <a:lnTo>
                    <a:pt x="136194" y="407034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9" name="Freeform: Shape 498">
              <a:extLst>
                <a:ext uri="{FF2B5EF4-FFF2-40B4-BE49-F238E27FC236}">
                  <a16:creationId xmlns:a16="http://schemas.microsoft.com/office/drawing/2014/main" id="{E4546A95-85B4-4632-056F-689A25E1076E}"/>
                </a:ext>
              </a:extLst>
            </p:cNvPr>
            <p:cNvSpPr/>
            <p:nvPr/>
          </p:nvSpPr>
          <p:spPr>
            <a:xfrm>
              <a:off x="7009265" y="3190576"/>
              <a:ext cx="679777" cy="693236"/>
            </a:xfrm>
            <a:custGeom>
              <a:avLst/>
              <a:gdLst>
                <a:gd name="connsiteX0" fmla="*/ 679777 w 679777"/>
                <a:gd name="connsiteY0" fmla="*/ 655260 h 693236"/>
                <a:gd name="connsiteX1" fmla="*/ 679777 w 679777"/>
                <a:gd name="connsiteY1" fmla="*/ 611634 h 693236"/>
                <a:gd name="connsiteX2" fmla="*/ 642411 w 679777"/>
                <a:gd name="connsiteY2" fmla="*/ 574251 h 693236"/>
                <a:gd name="connsiteX3" fmla="*/ 642411 w 679777"/>
                <a:gd name="connsiteY3" fmla="*/ 529627 h 693236"/>
                <a:gd name="connsiteX4" fmla="*/ 642411 w 679777"/>
                <a:gd name="connsiteY4" fmla="*/ 497682 h 693236"/>
                <a:gd name="connsiteX5" fmla="*/ 624567 w 679777"/>
                <a:gd name="connsiteY5" fmla="*/ 479896 h 693236"/>
                <a:gd name="connsiteX6" fmla="*/ 624567 w 679777"/>
                <a:gd name="connsiteY6" fmla="*/ 447415 h 693236"/>
                <a:gd name="connsiteX7" fmla="*/ 624567 w 679777"/>
                <a:gd name="connsiteY7" fmla="*/ 414612 h 693236"/>
                <a:gd name="connsiteX8" fmla="*/ 646975 w 679777"/>
                <a:gd name="connsiteY8" fmla="*/ 392197 h 693236"/>
                <a:gd name="connsiteX9" fmla="*/ 646975 w 679777"/>
                <a:gd name="connsiteY9" fmla="*/ 347697 h 693236"/>
                <a:gd name="connsiteX10" fmla="*/ 646975 w 679777"/>
                <a:gd name="connsiteY10" fmla="*/ 284621 h 693236"/>
                <a:gd name="connsiteX11" fmla="*/ 606429 w 679777"/>
                <a:gd name="connsiteY11" fmla="*/ 284621 h 693236"/>
                <a:gd name="connsiteX12" fmla="*/ 580381 w 679777"/>
                <a:gd name="connsiteY12" fmla="*/ 258557 h 693236"/>
                <a:gd name="connsiteX13" fmla="*/ 556310 w 679777"/>
                <a:gd name="connsiteY13" fmla="*/ 234503 h 693236"/>
                <a:gd name="connsiteX14" fmla="*/ 495779 w 679777"/>
                <a:gd name="connsiteY14" fmla="*/ 234503 h 693236"/>
                <a:gd name="connsiteX15" fmla="*/ 468463 w 679777"/>
                <a:gd name="connsiteY15" fmla="*/ 261778 h 693236"/>
                <a:gd name="connsiteX16" fmla="*/ 429992 w 679777"/>
                <a:gd name="connsiteY16" fmla="*/ 261778 h 693236"/>
                <a:gd name="connsiteX17" fmla="*/ 429992 w 679777"/>
                <a:gd name="connsiteY17" fmla="*/ 306839 h 693236"/>
                <a:gd name="connsiteX18" fmla="*/ 409333 w 679777"/>
                <a:gd name="connsiteY18" fmla="*/ 286162 h 693236"/>
                <a:gd name="connsiteX19" fmla="*/ 391935 w 679777"/>
                <a:gd name="connsiteY19" fmla="*/ 303551 h 693236"/>
                <a:gd name="connsiteX20" fmla="*/ 345721 w 679777"/>
                <a:gd name="connsiteY20" fmla="*/ 303551 h 693236"/>
                <a:gd name="connsiteX21" fmla="*/ 317136 w 679777"/>
                <a:gd name="connsiteY21" fmla="*/ 274958 h 693236"/>
                <a:gd name="connsiteX22" fmla="*/ 279688 w 679777"/>
                <a:gd name="connsiteY22" fmla="*/ 274958 h 693236"/>
                <a:gd name="connsiteX23" fmla="*/ 279688 w 679777"/>
                <a:gd name="connsiteY23" fmla="*/ 191452 h 693236"/>
                <a:gd name="connsiteX24" fmla="*/ 319575 w 679777"/>
                <a:gd name="connsiteY24" fmla="*/ 151541 h 693236"/>
                <a:gd name="connsiteX25" fmla="*/ 261795 w 679777"/>
                <a:gd name="connsiteY25" fmla="*/ 93737 h 693236"/>
                <a:gd name="connsiteX26" fmla="*/ 230937 w 679777"/>
                <a:gd name="connsiteY26" fmla="*/ 124570 h 693236"/>
                <a:gd name="connsiteX27" fmla="*/ 178084 w 679777"/>
                <a:gd name="connsiteY27" fmla="*/ 71717 h 693236"/>
                <a:gd name="connsiteX28" fmla="*/ 130255 w 679777"/>
                <a:gd name="connsiteY28" fmla="*/ 71717 h 693236"/>
                <a:gd name="connsiteX29" fmla="*/ 85920 w 679777"/>
                <a:gd name="connsiteY29" fmla="*/ 27365 h 693236"/>
                <a:gd name="connsiteX30" fmla="*/ 47845 w 679777"/>
                <a:gd name="connsiteY30" fmla="*/ 27365 h 693236"/>
                <a:gd name="connsiteX31" fmla="*/ 20480 w 679777"/>
                <a:gd name="connsiteY31" fmla="*/ 0 h 693236"/>
                <a:gd name="connsiteX32" fmla="*/ 0 w 679777"/>
                <a:gd name="connsiteY32" fmla="*/ 20462 h 693236"/>
                <a:gd name="connsiteX33" fmla="*/ 0 w 679777"/>
                <a:gd name="connsiteY33" fmla="*/ 68109 h 693236"/>
                <a:gd name="connsiteX34" fmla="*/ 48966 w 679777"/>
                <a:gd name="connsiteY34" fmla="*/ 68109 h 693236"/>
                <a:gd name="connsiteX35" fmla="*/ 48966 w 679777"/>
                <a:gd name="connsiteY35" fmla="*/ 104684 h 693236"/>
                <a:gd name="connsiteX36" fmla="*/ 85162 w 679777"/>
                <a:gd name="connsiteY36" fmla="*/ 104684 h 693236"/>
                <a:gd name="connsiteX37" fmla="*/ 116251 w 679777"/>
                <a:gd name="connsiteY37" fmla="*/ 135774 h 693236"/>
                <a:gd name="connsiteX38" fmla="*/ 116251 w 679777"/>
                <a:gd name="connsiteY38" fmla="*/ 161895 h 693236"/>
                <a:gd name="connsiteX39" fmla="*/ 142991 w 679777"/>
                <a:gd name="connsiteY39" fmla="*/ 188627 h 693236"/>
                <a:gd name="connsiteX40" fmla="*/ 142991 w 679777"/>
                <a:gd name="connsiteY40" fmla="*/ 283460 h 693236"/>
                <a:gd name="connsiteX41" fmla="*/ 193586 w 679777"/>
                <a:gd name="connsiteY41" fmla="*/ 334064 h 693236"/>
                <a:gd name="connsiteX42" fmla="*/ 142711 w 679777"/>
                <a:gd name="connsiteY42" fmla="*/ 384956 h 693236"/>
                <a:gd name="connsiteX43" fmla="*/ 163025 w 679777"/>
                <a:gd name="connsiteY43" fmla="*/ 405288 h 693236"/>
                <a:gd name="connsiteX44" fmla="*/ 194822 w 679777"/>
                <a:gd name="connsiteY44" fmla="*/ 437093 h 693236"/>
                <a:gd name="connsiteX45" fmla="*/ 217476 w 679777"/>
                <a:gd name="connsiteY45" fmla="*/ 459738 h 693236"/>
                <a:gd name="connsiteX46" fmla="*/ 217476 w 679777"/>
                <a:gd name="connsiteY46" fmla="*/ 491396 h 693236"/>
                <a:gd name="connsiteX47" fmla="*/ 264020 w 679777"/>
                <a:gd name="connsiteY47" fmla="*/ 537931 h 693236"/>
                <a:gd name="connsiteX48" fmla="*/ 279506 w 679777"/>
                <a:gd name="connsiteY48" fmla="*/ 522428 h 693236"/>
                <a:gd name="connsiteX49" fmla="*/ 400436 w 679777"/>
                <a:gd name="connsiteY49" fmla="*/ 643341 h 693236"/>
                <a:gd name="connsiteX50" fmla="*/ 514298 w 679777"/>
                <a:gd name="connsiteY50" fmla="*/ 643341 h 693236"/>
                <a:gd name="connsiteX51" fmla="*/ 547775 w 679777"/>
                <a:gd name="connsiteY51" fmla="*/ 676819 h 693236"/>
                <a:gd name="connsiteX52" fmla="*/ 564235 w 679777"/>
                <a:gd name="connsiteY52" fmla="*/ 693237 h 693236"/>
                <a:gd name="connsiteX53" fmla="*/ 656020 w 679777"/>
                <a:gd name="connsiteY53" fmla="*/ 693237 h 693236"/>
                <a:gd name="connsiteX54" fmla="*/ 656020 w 679777"/>
                <a:gd name="connsiteY54" fmla="*/ 679018 h 693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679777" h="693236">
                  <a:moveTo>
                    <a:pt x="679777" y="655260"/>
                  </a:moveTo>
                  <a:lnTo>
                    <a:pt x="679777" y="611634"/>
                  </a:lnTo>
                  <a:lnTo>
                    <a:pt x="642411" y="574251"/>
                  </a:lnTo>
                  <a:lnTo>
                    <a:pt x="642411" y="529627"/>
                  </a:lnTo>
                  <a:lnTo>
                    <a:pt x="642411" y="497682"/>
                  </a:lnTo>
                  <a:lnTo>
                    <a:pt x="624567" y="479896"/>
                  </a:lnTo>
                  <a:lnTo>
                    <a:pt x="624567" y="447415"/>
                  </a:lnTo>
                  <a:lnTo>
                    <a:pt x="624567" y="414612"/>
                  </a:lnTo>
                  <a:lnTo>
                    <a:pt x="646975" y="392197"/>
                  </a:lnTo>
                  <a:lnTo>
                    <a:pt x="646975" y="347697"/>
                  </a:lnTo>
                  <a:lnTo>
                    <a:pt x="646975" y="284621"/>
                  </a:lnTo>
                  <a:lnTo>
                    <a:pt x="606429" y="284621"/>
                  </a:lnTo>
                  <a:lnTo>
                    <a:pt x="580381" y="258557"/>
                  </a:lnTo>
                  <a:lnTo>
                    <a:pt x="556310" y="234503"/>
                  </a:lnTo>
                  <a:lnTo>
                    <a:pt x="495779" y="234503"/>
                  </a:lnTo>
                  <a:lnTo>
                    <a:pt x="468463" y="261778"/>
                  </a:lnTo>
                  <a:lnTo>
                    <a:pt x="429992" y="261778"/>
                  </a:lnTo>
                  <a:lnTo>
                    <a:pt x="429992" y="306839"/>
                  </a:lnTo>
                  <a:lnTo>
                    <a:pt x="409333" y="286162"/>
                  </a:lnTo>
                  <a:lnTo>
                    <a:pt x="391935" y="303551"/>
                  </a:lnTo>
                  <a:lnTo>
                    <a:pt x="345721" y="303551"/>
                  </a:lnTo>
                  <a:lnTo>
                    <a:pt x="317136" y="274958"/>
                  </a:lnTo>
                  <a:lnTo>
                    <a:pt x="279688" y="274958"/>
                  </a:lnTo>
                  <a:lnTo>
                    <a:pt x="279688" y="191452"/>
                  </a:lnTo>
                  <a:lnTo>
                    <a:pt x="319575" y="151541"/>
                  </a:lnTo>
                  <a:lnTo>
                    <a:pt x="261795" y="93737"/>
                  </a:lnTo>
                  <a:lnTo>
                    <a:pt x="230937" y="124570"/>
                  </a:lnTo>
                  <a:lnTo>
                    <a:pt x="178084" y="71717"/>
                  </a:lnTo>
                  <a:lnTo>
                    <a:pt x="130255" y="71717"/>
                  </a:lnTo>
                  <a:lnTo>
                    <a:pt x="85920" y="27365"/>
                  </a:lnTo>
                  <a:lnTo>
                    <a:pt x="47845" y="27365"/>
                  </a:lnTo>
                  <a:lnTo>
                    <a:pt x="20480" y="0"/>
                  </a:lnTo>
                  <a:lnTo>
                    <a:pt x="0" y="20462"/>
                  </a:lnTo>
                  <a:lnTo>
                    <a:pt x="0" y="68109"/>
                  </a:lnTo>
                  <a:lnTo>
                    <a:pt x="48966" y="68109"/>
                  </a:lnTo>
                  <a:lnTo>
                    <a:pt x="48966" y="104684"/>
                  </a:lnTo>
                  <a:lnTo>
                    <a:pt x="85162" y="104684"/>
                  </a:lnTo>
                  <a:lnTo>
                    <a:pt x="116251" y="135774"/>
                  </a:lnTo>
                  <a:lnTo>
                    <a:pt x="116251" y="161895"/>
                  </a:lnTo>
                  <a:lnTo>
                    <a:pt x="142991" y="188627"/>
                  </a:lnTo>
                  <a:lnTo>
                    <a:pt x="142991" y="283460"/>
                  </a:lnTo>
                  <a:lnTo>
                    <a:pt x="193586" y="334064"/>
                  </a:lnTo>
                  <a:lnTo>
                    <a:pt x="142711" y="384956"/>
                  </a:lnTo>
                  <a:lnTo>
                    <a:pt x="163025" y="405288"/>
                  </a:lnTo>
                  <a:lnTo>
                    <a:pt x="194822" y="437093"/>
                  </a:lnTo>
                  <a:lnTo>
                    <a:pt x="217476" y="459738"/>
                  </a:lnTo>
                  <a:lnTo>
                    <a:pt x="217476" y="491396"/>
                  </a:lnTo>
                  <a:lnTo>
                    <a:pt x="264020" y="537931"/>
                  </a:lnTo>
                  <a:lnTo>
                    <a:pt x="279506" y="522428"/>
                  </a:lnTo>
                  <a:lnTo>
                    <a:pt x="400436" y="643341"/>
                  </a:lnTo>
                  <a:lnTo>
                    <a:pt x="514298" y="643341"/>
                  </a:lnTo>
                  <a:lnTo>
                    <a:pt x="547775" y="676819"/>
                  </a:lnTo>
                  <a:lnTo>
                    <a:pt x="564235" y="693237"/>
                  </a:lnTo>
                  <a:lnTo>
                    <a:pt x="656020" y="693237"/>
                  </a:lnTo>
                  <a:lnTo>
                    <a:pt x="656020" y="679018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0" name="Freeform: Shape 499">
              <a:extLst>
                <a:ext uri="{FF2B5EF4-FFF2-40B4-BE49-F238E27FC236}">
                  <a16:creationId xmlns:a16="http://schemas.microsoft.com/office/drawing/2014/main" id="{CA3F4AA0-2194-A552-8C4E-7426613B3F91}"/>
                </a:ext>
              </a:extLst>
            </p:cNvPr>
            <p:cNvSpPr/>
            <p:nvPr/>
          </p:nvSpPr>
          <p:spPr>
            <a:xfrm>
              <a:off x="8498761" y="2825891"/>
              <a:ext cx="959694" cy="457300"/>
            </a:xfrm>
            <a:custGeom>
              <a:avLst/>
              <a:gdLst>
                <a:gd name="connsiteX0" fmla="*/ 22867 w 959694"/>
                <a:gd name="connsiteY0" fmla="*/ 198011 h 457300"/>
                <a:gd name="connsiteX1" fmla="*/ 51634 w 959694"/>
                <a:gd name="connsiteY1" fmla="*/ 198011 h 457300"/>
                <a:gd name="connsiteX2" fmla="*/ 76413 w 959694"/>
                <a:gd name="connsiteY2" fmla="*/ 222790 h 457300"/>
                <a:gd name="connsiteX3" fmla="*/ 76413 w 959694"/>
                <a:gd name="connsiteY3" fmla="*/ 276573 h 457300"/>
                <a:gd name="connsiteX4" fmla="*/ 76413 w 959694"/>
                <a:gd name="connsiteY4" fmla="*/ 320399 h 457300"/>
                <a:gd name="connsiteX5" fmla="*/ 93959 w 959694"/>
                <a:gd name="connsiteY5" fmla="*/ 337937 h 457300"/>
                <a:gd name="connsiteX6" fmla="*/ 160899 w 959694"/>
                <a:gd name="connsiteY6" fmla="*/ 337937 h 457300"/>
                <a:gd name="connsiteX7" fmla="*/ 174063 w 959694"/>
                <a:gd name="connsiteY7" fmla="*/ 351076 h 457300"/>
                <a:gd name="connsiteX8" fmla="*/ 210638 w 959694"/>
                <a:gd name="connsiteY8" fmla="*/ 351076 h 457300"/>
                <a:gd name="connsiteX9" fmla="*/ 267578 w 959694"/>
                <a:gd name="connsiteY9" fmla="*/ 408048 h 457300"/>
                <a:gd name="connsiteX10" fmla="*/ 280544 w 959694"/>
                <a:gd name="connsiteY10" fmla="*/ 421022 h 457300"/>
                <a:gd name="connsiteX11" fmla="*/ 322506 w 959694"/>
                <a:gd name="connsiteY11" fmla="*/ 421022 h 457300"/>
                <a:gd name="connsiteX12" fmla="*/ 366364 w 959694"/>
                <a:gd name="connsiteY12" fmla="*/ 421022 h 457300"/>
                <a:gd name="connsiteX13" fmla="*/ 389677 w 959694"/>
                <a:gd name="connsiteY13" fmla="*/ 444343 h 457300"/>
                <a:gd name="connsiteX14" fmla="*/ 422628 w 959694"/>
                <a:gd name="connsiteY14" fmla="*/ 444343 h 457300"/>
                <a:gd name="connsiteX15" fmla="*/ 435577 w 959694"/>
                <a:gd name="connsiteY15" fmla="*/ 457301 h 457300"/>
                <a:gd name="connsiteX16" fmla="*/ 514907 w 959694"/>
                <a:gd name="connsiteY16" fmla="*/ 457301 h 457300"/>
                <a:gd name="connsiteX17" fmla="*/ 533936 w 959694"/>
                <a:gd name="connsiteY17" fmla="*/ 438263 h 457300"/>
                <a:gd name="connsiteX18" fmla="*/ 630729 w 959694"/>
                <a:gd name="connsiteY18" fmla="*/ 438263 h 457300"/>
                <a:gd name="connsiteX19" fmla="*/ 660187 w 959694"/>
                <a:gd name="connsiteY19" fmla="*/ 438263 h 457300"/>
                <a:gd name="connsiteX20" fmla="*/ 687685 w 959694"/>
                <a:gd name="connsiteY20" fmla="*/ 410749 h 457300"/>
                <a:gd name="connsiteX21" fmla="*/ 716434 w 959694"/>
                <a:gd name="connsiteY21" fmla="*/ 381950 h 457300"/>
                <a:gd name="connsiteX22" fmla="*/ 716434 w 959694"/>
                <a:gd name="connsiteY22" fmla="*/ 344625 h 457300"/>
                <a:gd name="connsiteX23" fmla="*/ 740998 w 959694"/>
                <a:gd name="connsiteY23" fmla="*/ 320093 h 457300"/>
                <a:gd name="connsiteX24" fmla="*/ 758331 w 959694"/>
                <a:gd name="connsiteY24" fmla="*/ 320093 h 457300"/>
                <a:gd name="connsiteX25" fmla="*/ 758331 w 959694"/>
                <a:gd name="connsiteY25" fmla="*/ 339386 h 457300"/>
                <a:gd name="connsiteX26" fmla="*/ 781216 w 959694"/>
                <a:gd name="connsiteY26" fmla="*/ 339386 h 457300"/>
                <a:gd name="connsiteX27" fmla="*/ 816226 w 959694"/>
                <a:gd name="connsiteY27" fmla="*/ 304375 h 457300"/>
                <a:gd name="connsiteX28" fmla="*/ 871518 w 959694"/>
                <a:gd name="connsiteY28" fmla="*/ 249076 h 457300"/>
                <a:gd name="connsiteX29" fmla="*/ 917303 w 959694"/>
                <a:gd name="connsiteY29" fmla="*/ 249076 h 457300"/>
                <a:gd name="connsiteX30" fmla="*/ 944158 w 959694"/>
                <a:gd name="connsiteY30" fmla="*/ 249076 h 457300"/>
                <a:gd name="connsiteX31" fmla="*/ 959694 w 959694"/>
                <a:gd name="connsiteY31" fmla="*/ 233523 h 457300"/>
                <a:gd name="connsiteX32" fmla="*/ 916842 w 959694"/>
                <a:gd name="connsiteY32" fmla="*/ 190670 h 457300"/>
                <a:gd name="connsiteX33" fmla="*/ 903233 w 959694"/>
                <a:gd name="connsiteY33" fmla="*/ 204255 h 457300"/>
                <a:gd name="connsiteX34" fmla="*/ 876740 w 959694"/>
                <a:gd name="connsiteY34" fmla="*/ 204255 h 457300"/>
                <a:gd name="connsiteX35" fmla="*/ 850396 w 959694"/>
                <a:gd name="connsiteY35" fmla="*/ 230615 h 457300"/>
                <a:gd name="connsiteX36" fmla="*/ 834860 w 959694"/>
                <a:gd name="connsiteY36" fmla="*/ 215070 h 457300"/>
                <a:gd name="connsiteX37" fmla="*/ 834860 w 959694"/>
                <a:gd name="connsiteY37" fmla="*/ 166625 h 457300"/>
                <a:gd name="connsiteX38" fmla="*/ 848600 w 959694"/>
                <a:gd name="connsiteY38" fmla="*/ 152892 h 457300"/>
                <a:gd name="connsiteX39" fmla="*/ 848600 w 959694"/>
                <a:gd name="connsiteY39" fmla="*/ 121812 h 457300"/>
                <a:gd name="connsiteX40" fmla="*/ 862028 w 959694"/>
                <a:gd name="connsiteY40" fmla="*/ 103993 h 457300"/>
                <a:gd name="connsiteX41" fmla="*/ 788877 w 959694"/>
                <a:gd name="connsiteY41" fmla="*/ 103993 h 457300"/>
                <a:gd name="connsiteX42" fmla="*/ 751115 w 959694"/>
                <a:gd name="connsiteY42" fmla="*/ 141763 h 457300"/>
                <a:gd name="connsiteX43" fmla="*/ 628093 w 959694"/>
                <a:gd name="connsiteY43" fmla="*/ 141763 h 457300"/>
                <a:gd name="connsiteX44" fmla="*/ 594730 w 959694"/>
                <a:gd name="connsiteY44" fmla="*/ 108400 h 457300"/>
                <a:gd name="connsiteX45" fmla="*/ 543030 w 959694"/>
                <a:gd name="connsiteY45" fmla="*/ 56709 h 457300"/>
                <a:gd name="connsiteX46" fmla="*/ 482071 w 959694"/>
                <a:gd name="connsiteY46" fmla="*/ 56709 h 457300"/>
                <a:gd name="connsiteX47" fmla="*/ 413484 w 959694"/>
                <a:gd name="connsiteY47" fmla="*/ 56709 h 457300"/>
                <a:gd name="connsiteX48" fmla="*/ 413484 w 959694"/>
                <a:gd name="connsiteY48" fmla="*/ 0 h 457300"/>
                <a:gd name="connsiteX49" fmla="*/ 351075 w 959694"/>
                <a:gd name="connsiteY49" fmla="*/ 0 h 457300"/>
                <a:gd name="connsiteX50" fmla="*/ 293065 w 959694"/>
                <a:gd name="connsiteY50" fmla="*/ 58011 h 457300"/>
                <a:gd name="connsiteX51" fmla="*/ 293065 w 959694"/>
                <a:gd name="connsiteY51" fmla="*/ 112346 h 457300"/>
                <a:gd name="connsiteX52" fmla="*/ 230887 w 959694"/>
                <a:gd name="connsiteY52" fmla="*/ 112346 h 457300"/>
                <a:gd name="connsiteX53" fmla="*/ 179203 w 959694"/>
                <a:gd name="connsiteY53" fmla="*/ 60671 h 457300"/>
                <a:gd name="connsiteX54" fmla="*/ 88950 w 959694"/>
                <a:gd name="connsiteY54" fmla="*/ 60671 h 457300"/>
                <a:gd name="connsiteX55" fmla="*/ 0 w 959694"/>
                <a:gd name="connsiteY55" fmla="*/ 149614 h 457300"/>
                <a:gd name="connsiteX56" fmla="*/ 0 w 959694"/>
                <a:gd name="connsiteY56" fmla="*/ 175142 h 457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959694" h="457300">
                  <a:moveTo>
                    <a:pt x="22867" y="198011"/>
                  </a:moveTo>
                  <a:lnTo>
                    <a:pt x="51634" y="198011"/>
                  </a:lnTo>
                  <a:lnTo>
                    <a:pt x="76413" y="222790"/>
                  </a:lnTo>
                  <a:lnTo>
                    <a:pt x="76413" y="276573"/>
                  </a:lnTo>
                  <a:lnTo>
                    <a:pt x="76413" y="320399"/>
                  </a:lnTo>
                  <a:lnTo>
                    <a:pt x="93959" y="337937"/>
                  </a:lnTo>
                  <a:lnTo>
                    <a:pt x="160899" y="337937"/>
                  </a:lnTo>
                  <a:lnTo>
                    <a:pt x="174063" y="351076"/>
                  </a:lnTo>
                  <a:lnTo>
                    <a:pt x="210638" y="351076"/>
                  </a:lnTo>
                  <a:lnTo>
                    <a:pt x="267578" y="408048"/>
                  </a:lnTo>
                  <a:lnTo>
                    <a:pt x="280544" y="421022"/>
                  </a:lnTo>
                  <a:lnTo>
                    <a:pt x="322506" y="421022"/>
                  </a:lnTo>
                  <a:lnTo>
                    <a:pt x="366364" y="421022"/>
                  </a:lnTo>
                  <a:lnTo>
                    <a:pt x="389677" y="444343"/>
                  </a:lnTo>
                  <a:lnTo>
                    <a:pt x="422628" y="444343"/>
                  </a:lnTo>
                  <a:lnTo>
                    <a:pt x="435577" y="457301"/>
                  </a:lnTo>
                  <a:lnTo>
                    <a:pt x="514907" y="457301"/>
                  </a:lnTo>
                  <a:lnTo>
                    <a:pt x="533936" y="438263"/>
                  </a:lnTo>
                  <a:lnTo>
                    <a:pt x="630729" y="438263"/>
                  </a:lnTo>
                  <a:lnTo>
                    <a:pt x="660187" y="438263"/>
                  </a:lnTo>
                  <a:lnTo>
                    <a:pt x="687685" y="410749"/>
                  </a:lnTo>
                  <a:lnTo>
                    <a:pt x="716434" y="381950"/>
                  </a:lnTo>
                  <a:lnTo>
                    <a:pt x="716434" y="344625"/>
                  </a:lnTo>
                  <a:lnTo>
                    <a:pt x="740998" y="320093"/>
                  </a:lnTo>
                  <a:lnTo>
                    <a:pt x="758331" y="320093"/>
                  </a:lnTo>
                  <a:lnTo>
                    <a:pt x="758331" y="339386"/>
                  </a:lnTo>
                  <a:lnTo>
                    <a:pt x="781216" y="339386"/>
                  </a:lnTo>
                  <a:lnTo>
                    <a:pt x="816226" y="304375"/>
                  </a:lnTo>
                  <a:lnTo>
                    <a:pt x="871518" y="249076"/>
                  </a:lnTo>
                  <a:lnTo>
                    <a:pt x="917303" y="249076"/>
                  </a:lnTo>
                  <a:lnTo>
                    <a:pt x="944158" y="249076"/>
                  </a:lnTo>
                  <a:lnTo>
                    <a:pt x="959694" y="233523"/>
                  </a:lnTo>
                  <a:lnTo>
                    <a:pt x="916842" y="190670"/>
                  </a:lnTo>
                  <a:lnTo>
                    <a:pt x="903233" y="204255"/>
                  </a:lnTo>
                  <a:lnTo>
                    <a:pt x="876740" y="204255"/>
                  </a:lnTo>
                  <a:lnTo>
                    <a:pt x="850396" y="230615"/>
                  </a:lnTo>
                  <a:lnTo>
                    <a:pt x="834860" y="215070"/>
                  </a:lnTo>
                  <a:lnTo>
                    <a:pt x="834860" y="166625"/>
                  </a:lnTo>
                  <a:lnTo>
                    <a:pt x="848600" y="152892"/>
                  </a:lnTo>
                  <a:lnTo>
                    <a:pt x="848600" y="121812"/>
                  </a:lnTo>
                  <a:lnTo>
                    <a:pt x="862028" y="103993"/>
                  </a:lnTo>
                  <a:lnTo>
                    <a:pt x="788877" y="103993"/>
                  </a:lnTo>
                  <a:lnTo>
                    <a:pt x="751115" y="141763"/>
                  </a:lnTo>
                  <a:lnTo>
                    <a:pt x="628093" y="141763"/>
                  </a:lnTo>
                  <a:lnTo>
                    <a:pt x="594730" y="108400"/>
                  </a:lnTo>
                  <a:lnTo>
                    <a:pt x="543030" y="56709"/>
                  </a:lnTo>
                  <a:lnTo>
                    <a:pt x="482071" y="56709"/>
                  </a:lnTo>
                  <a:lnTo>
                    <a:pt x="413484" y="56709"/>
                  </a:lnTo>
                  <a:lnTo>
                    <a:pt x="413484" y="0"/>
                  </a:lnTo>
                  <a:lnTo>
                    <a:pt x="351075" y="0"/>
                  </a:lnTo>
                  <a:lnTo>
                    <a:pt x="293065" y="58011"/>
                  </a:lnTo>
                  <a:lnTo>
                    <a:pt x="293065" y="112346"/>
                  </a:lnTo>
                  <a:lnTo>
                    <a:pt x="230887" y="112346"/>
                  </a:lnTo>
                  <a:lnTo>
                    <a:pt x="179203" y="60671"/>
                  </a:lnTo>
                  <a:lnTo>
                    <a:pt x="88950" y="60671"/>
                  </a:lnTo>
                  <a:lnTo>
                    <a:pt x="0" y="149614"/>
                  </a:lnTo>
                  <a:lnTo>
                    <a:pt x="0" y="175142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1" name="Freeform: Shape 500">
              <a:extLst>
                <a:ext uri="{FF2B5EF4-FFF2-40B4-BE49-F238E27FC236}">
                  <a16:creationId xmlns:a16="http://schemas.microsoft.com/office/drawing/2014/main" id="{190B96F6-35B2-459C-4A18-7E11AE01145A}"/>
                </a:ext>
              </a:extLst>
            </p:cNvPr>
            <p:cNvSpPr/>
            <p:nvPr/>
          </p:nvSpPr>
          <p:spPr>
            <a:xfrm>
              <a:off x="8212813" y="3742206"/>
              <a:ext cx="282329" cy="133618"/>
            </a:xfrm>
            <a:custGeom>
              <a:avLst/>
              <a:gdLst>
                <a:gd name="connsiteX0" fmla="*/ 26773 w 282329"/>
                <a:gd name="connsiteY0" fmla="*/ 63060 h 133618"/>
                <a:gd name="connsiteX1" fmla="*/ 59345 w 282329"/>
                <a:gd name="connsiteY1" fmla="*/ 63060 h 133618"/>
                <a:gd name="connsiteX2" fmla="*/ 87864 w 282329"/>
                <a:gd name="connsiteY2" fmla="*/ 91578 h 133618"/>
                <a:gd name="connsiteX3" fmla="*/ 155619 w 282329"/>
                <a:gd name="connsiteY3" fmla="*/ 91578 h 133618"/>
                <a:gd name="connsiteX4" fmla="*/ 197631 w 282329"/>
                <a:gd name="connsiteY4" fmla="*/ 133599 h 133618"/>
                <a:gd name="connsiteX5" fmla="*/ 282321 w 282329"/>
                <a:gd name="connsiteY5" fmla="*/ 133618 h 133618"/>
                <a:gd name="connsiteX6" fmla="*/ 282329 w 282329"/>
                <a:gd name="connsiteY6" fmla="*/ 112693 h 133618"/>
                <a:gd name="connsiteX7" fmla="*/ 269043 w 282329"/>
                <a:gd name="connsiteY7" fmla="*/ 99264 h 133618"/>
                <a:gd name="connsiteX8" fmla="*/ 269050 w 282329"/>
                <a:gd name="connsiteY8" fmla="*/ 66865 h 133618"/>
                <a:gd name="connsiteX9" fmla="*/ 237461 w 282329"/>
                <a:gd name="connsiteY9" fmla="*/ 66865 h 133618"/>
                <a:gd name="connsiteX10" fmla="*/ 202252 w 282329"/>
                <a:gd name="connsiteY10" fmla="*/ 66865 h 133618"/>
                <a:gd name="connsiteX11" fmla="*/ 171509 w 282329"/>
                <a:gd name="connsiteY11" fmla="*/ 36106 h 133618"/>
                <a:gd name="connsiteX12" fmla="*/ 130690 w 282329"/>
                <a:gd name="connsiteY12" fmla="*/ 36112 h 133618"/>
                <a:gd name="connsiteX13" fmla="*/ 94333 w 282329"/>
                <a:gd name="connsiteY13" fmla="*/ 0 h 133618"/>
                <a:gd name="connsiteX14" fmla="*/ 36311 w 282329"/>
                <a:gd name="connsiteY14" fmla="*/ 0 h 133618"/>
                <a:gd name="connsiteX15" fmla="*/ 0 w 282329"/>
                <a:gd name="connsiteY15" fmla="*/ 36303 h 133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2329" h="133618">
                  <a:moveTo>
                    <a:pt x="26773" y="63060"/>
                  </a:moveTo>
                  <a:lnTo>
                    <a:pt x="59345" y="63060"/>
                  </a:lnTo>
                  <a:lnTo>
                    <a:pt x="87864" y="91578"/>
                  </a:lnTo>
                  <a:lnTo>
                    <a:pt x="155619" y="91578"/>
                  </a:lnTo>
                  <a:lnTo>
                    <a:pt x="197631" y="133599"/>
                  </a:lnTo>
                  <a:lnTo>
                    <a:pt x="282321" y="133618"/>
                  </a:lnTo>
                  <a:lnTo>
                    <a:pt x="282329" y="112693"/>
                  </a:lnTo>
                  <a:lnTo>
                    <a:pt x="269043" y="99264"/>
                  </a:lnTo>
                  <a:lnTo>
                    <a:pt x="269050" y="66865"/>
                  </a:lnTo>
                  <a:lnTo>
                    <a:pt x="237461" y="66865"/>
                  </a:lnTo>
                  <a:lnTo>
                    <a:pt x="202252" y="66865"/>
                  </a:lnTo>
                  <a:lnTo>
                    <a:pt x="171509" y="36106"/>
                  </a:lnTo>
                  <a:lnTo>
                    <a:pt x="130690" y="36112"/>
                  </a:lnTo>
                  <a:lnTo>
                    <a:pt x="94333" y="0"/>
                  </a:lnTo>
                  <a:lnTo>
                    <a:pt x="36311" y="0"/>
                  </a:lnTo>
                  <a:lnTo>
                    <a:pt x="0" y="36303"/>
                  </a:lnTo>
                  <a:close/>
                </a:path>
              </a:pathLst>
            </a:custGeom>
            <a:solidFill>
              <a:schemeClr val="accent1"/>
            </a:solidFill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2" name="Freeform: Shape 501">
              <a:extLst>
                <a:ext uri="{FF2B5EF4-FFF2-40B4-BE49-F238E27FC236}">
                  <a16:creationId xmlns:a16="http://schemas.microsoft.com/office/drawing/2014/main" id="{2B0CB371-20F1-6C59-5A61-6F861FC549E7}"/>
                </a:ext>
              </a:extLst>
            </p:cNvPr>
            <p:cNvSpPr/>
            <p:nvPr/>
          </p:nvSpPr>
          <p:spPr>
            <a:xfrm>
              <a:off x="9137794" y="4488123"/>
              <a:ext cx="299358" cy="233942"/>
            </a:xfrm>
            <a:custGeom>
              <a:avLst/>
              <a:gdLst>
                <a:gd name="connsiteX0" fmla="*/ 101159 w 299358"/>
                <a:gd name="connsiteY0" fmla="*/ 167992 h 233942"/>
                <a:gd name="connsiteX1" fmla="*/ 121572 w 299358"/>
                <a:gd name="connsiteY1" fmla="*/ 167992 h 233942"/>
                <a:gd name="connsiteX2" fmla="*/ 150981 w 299358"/>
                <a:gd name="connsiteY2" fmla="*/ 167992 h 233942"/>
                <a:gd name="connsiteX3" fmla="*/ 176600 w 299358"/>
                <a:gd name="connsiteY3" fmla="*/ 167992 h 233942"/>
                <a:gd name="connsiteX4" fmla="*/ 176600 w 299358"/>
                <a:gd name="connsiteY4" fmla="*/ 128517 h 233942"/>
                <a:gd name="connsiteX5" fmla="*/ 194493 w 299358"/>
                <a:gd name="connsiteY5" fmla="*/ 110625 h 233942"/>
                <a:gd name="connsiteX6" fmla="*/ 218942 w 299358"/>
                <a:gd name="connsiteY6" fmla="*/ 86150 h 233942"/>
                <a:gd name="connsiteX7" fmla="*/ 268698 w 299358"/>
                <a:gd name="connsiteY7" fmla="*/ 86150 h 233942"/>
                <a:gd name="connsiteX8" fmla="*/ 299359 w 299358"/>
                <a:gd name="connsiteY8" fmla="*/ 55473 h 233942"/>
                <a:gd name="connsiteX9" fmla="*/ 243886 w 299358"/>
                <a:gd name="connsiteY9" fmla="*/ 0 h 233942"/>
                <a:gd name="connsiteX10" fmla="*/ 123236 w 299358"/>
                <a:gd name="connsiteY10" fmla="*/ 120634 h 233942"/>
                <a:gd name="connsiteX11" fmla="*/ 91554 w 299358"/>
                <a:gd name="connsiteY11" fmla="*/ 120634 h 233942"/>
                <a:gd name="connsiteX12" fmla="*/ 66923 w 299358"/>
                <a:gd name="connsiteY12" fmla="*/ 145273 h 233942"/>
                <a:gd name="connsiteX13" fmla="*/ 21105 w 299358"/>
                <a:gd name="connsiteY13" fmla="*/ 145273 h 233942"/>
                <a:gd name="connsiteX14" fmla="*/ 0 w 299358"/>
                <a:gd name="connsiteY14" fmla="*/ 147053 h 233942"/>
                <a:gd name="connsiteX15" fmla="*/ 0 w 299358"/>
                <a:gd name="connsiteY15" fmla="*/ 233334 h 233942"/>
                <a:gd name="connsiteX16" fmla="*/ 35241 w 299358"/>
                <a:gd name="connsiteY16" fmla="*/ 233334 h 233942"/>
                <a:gd name="connsiteX17" fmla="*/ 35241 w 299358"/>
                <a:gd name="connsiteY17" fmla="*/ 233943 h 233942"/>
                <a:gd name="connsiteX18" fmla="*/ 76133 w 299358"/>
                <a:gd name="connsiteY18" fmla="*/ 193019 h 2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99358" h="233942">
                  <a:moveTo>
                    <a:pt x="101159" y="167992"/>
                  </a:moveTo>
                  <a:lnTo>
                    <a:pt x="121572" y="167992"/>
                  </a:lnTo>
                  <a:lnTo>
                    <a:pt x="150981" y="167992"/>
                  </a:lnTo>
                  <a:lnTo>
                    <a:pt x="176600" y="167992"/>
                  </a:lnTo>
                  <a:lnTo>
                    <a:pt x="176600" y="128517"/>
                  </a:lnTo>
                  <a:lnTo>
                    <a:pt x="194493" y="110625"/>
                  </a:lnTo>
                  <a:lnTo>
                    <a:pt x="218942" y="86150"/>
                  </a:lnTo>
                  <a:lnTo>
                    <a:pt x="268698" y="86150"/>
                  </a:lnTo>
                  <a:lnTo>
                    <a:pt x="299359" y="55473"/>
                  </a:lnTo>
                  <a:lnTo>
                    <a:pt x="243886" y="0"/>
                  </a:lnTo>
                  <a:lnTo>
                    <a:pt x="123236" y="120634"/>
                  </a:lnTo>
                  <a:lnTo>
                    <a:pt x="91554" y="120634"/>
                  </a:lnTo>
                  <a:lnTo>
                    <a:pt x="66923" y="145273"/>
                  </a:lnTo>
                  <a:lnTo>
                    <a:pt x="21105" y="145273"/>
                  </a:lnTo>
                  <a:lnTo>
                    <a:pt x="0" y="147053"/>
                  </a:lnTo>
                  <a:lnTo>
                    <a:pt x="0" y="233334"/>
                  </a:lnTo>
                  <a:lnTo>
                    <a:pt x="35241" y="233334"/>
                  </a:lnTo>
                  <a:lnTo>
                    <a:pt x="35241" y="233943"/>
                  </a:lnTo>
                  <a:lnTo>
                    <a:pt x="76133" y="193019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3" name="Freeform: Shape 502">
              <a:extLst>
                <a:ext uri="{FF2B5EF4-FFF2-40B4-BE49-F238E27FC236}">
                  <a16:creationId xmlns:a16="http://schemas.microsoft.com/office/drawing/2014/main" id="{2C5CF9F8-D57C-5F6F-211A-D187814A8679}"/>
                </a:ext>
              </a:extLst>
            </p:cNvPr>
            <p:cNvSpPr/>
            <p:nvPr/>
          </p:nvSpPr>
          <p:spPr>
            <a:xfrm>
              <a:off x="9173035" y="4574273"/>
              <a:ext cx="266753" cy="234338"/>
            </a:xfrm>
            <a:custGeom>
              <a:avLst/>
              <a:gdLst>
                <a:gd name="connsiteX0" fmla="*/ 266754 w 266753"/>
                <a:gd name="connsiteY0" fmla="*/ 84676 h 234338"/>
                <a:gd name="connsiteX1" fmla="*/ 241217 w 266753"/>
                <a:gd name="connsiteY1" fmla="*/ 59123 h 234338"/>
                <a:gd name="connsiteX2" fmla="*/ 241217 w 266753"/>
                <a:gd name="connsiteY2" fmla="*/ 30941 h 234338"/>
                <a:gd name="connsiteX3" fmla="*/ 221891 w 266753"/>
                <a:gd name="connsiteY3" fmla="*/ 11566 h 234338"/>
                <a:gd name="connsiteX4" fmla="*/ 233457 w 266753"/>
                <a:gd name="connsiteY4" fmla="*/ 0 h 234338"/>
                <a:gd name="connsiteX5" fmla="*/ 183701 w 266753"/>
                <a:gd name="connsiteY5" fmla="*/ 0 h 234338"/>
                <a:gd name="connsiteX6" fmla="*/ 159252 w 266753"/>
                <a:gd name="connsiteY6" fmla="*/ 24475 h 234338"/>
                <a:gd name="connsiteX7" fmla="*/ 141359 w 266753"/>
                <a:gd name="connsiteY7" fmla="*/ 42367 h 234338"/>
                <a:gd name="connsiteX8" fmla="*/ 141359 w 266753"/>
                <a:gd name="connsiteY8" fmla="*/ 81842 h 234338"/>
                <a:gd name="connsiteX9" fmla="*/ 115740 w 266753"/>
                <a:gd name="connsiteY9" fmla="*/ 81842 h 234338"/>
                <a:gd name="connsiteX10" fmla="*/ 86331 w 266753"/>
                <a:gd name="connsiteY10" fmla="*/ 81842 h 234338"/>
                <a:gd name="connsiteX11" fmla="*/ 65918 w 266753"/>
                <a:gd name="connsiteY11" fmla="*/ 81842 h 234338"/>
                <a:gd name="connsiteX12" fmla="*/ 40892 w 266753"/>
                <a:gd name="connsiteY12" fmla="*/ 106868 h 234338"/>
                <a:gd name="connsiteX13" fmla="*/ 0 w 266753"/>
                <a:gd name="connsiteY13" fmla="*/ 147793 h 234338"/>
                <a:gd name="connsiteX14" fmla="*/ 0 w 266753"/>
                <a:gd name="connsiteY14" fmla="*/ 214099 h 234338"/>
                <a:gd name="connsiteX15" fmla="*/ 38734 w 266753"/>
                <a:gd name="connsiteY15" fmla="*/ 214099 h 234338"/>
                <a:gd name="connsiteX16" fmla="*/ 58966 w 266753"/>
                <a:gd name="connsiteY16" fmla="*/ 234339 h 234338"/>
                <a:gd name="connsiteX17" fmla="*/ 78308 w 266753"/>
                <a:gd name="connsiteY17" fmla="*/ 214980 h 234338"/>
                <a:gd name="connsiteX18" fmla="*/ 93317 w 266753"/>
                <a:gd name="connsiteY18" fmla="*/ 229940 h 234338"/>
                <a:gd name="connsiteX19" fmla="*/ 196338 w 266753"/>
                <a:gd name="connsiteY19" fmla="*/ 229940 h 234338"/>
                <a:gd name="connsiteX20" fmla="*/ 196338 w 266753"/>
                <a:gd name="connsiteY20" fmla="*/ 188570 h 234338"/>
                <a:gd name="connsiteX21" fmla="*/ 179599 w 266753"/>
                <a:gd name="connsiteY21" fmla="*/ 171848 h 234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66753" h="234338">
                  <a:moveTo>
                    <a:pt x="266754" y="84676"/>
                  </a:moveTo>
                  <a:lnTo>
                    <a:pt x="241217" y="59123"/>
                  </a:lnTo>
                  <a:lnTo>
                    <a:pt x="241217" y="30941"/>
                  </a:lnTo>
                  <a:lnTo>
                    <a:pt x="221891" y="11566"/>
                  </a:lnTo>
                  <a:lnTo>
                    <a:pt x="233457" y="0"/>
                  </a:lnTo>
                  <a:lnTo>
                    <a:pt x="183701" y="0"/>
                  </a:lnTo>
                  <a:lnTo>
                    <a:pt x="159252" y="24475"/>
                  </a:lnTo>
                  <a:lnTo>
                    <a:pt x="141359" y="42367"/>
                  </a:lnTo>
                  <a:lnTo>
                    <a:pt x="141359" y="81842"/>
                  </a:lnTo>
                  <a:lnTo>
                    <a:pt x="115740" y="81842"/>
                  </a:lnTo>
                  <a:lnTo>
                    <a:pt x="86331" y="81842"/>
                  </a:lnTo>
                  <a:lnTo>
                    <a:pt x="65918" y="81842"/>
                  </a:lnTo>
                  <a:lnTo>
                    <a:pt x="40892" y="106868"/>
                  </a:lnTo>
                  <a:lnTo>
                    <a:pt x="0" y="147793"/>
                  </a:lnTo>
                  <a:lnTo>
                    <a:pt x="0" y="214099"/>
                  </a:lnTo>
                  <a:lnTo>
                    <a:pt x="38734" y="214099"/>
                  </a:lnTo>
                  <a:lnTo>
                    <a:pt x="58966" y="234339"/>
                  </a:lnTo>
                  <a:lnTo>
                    <a:pt x="78308" y="214980"/>
                  </a:lnTo>
                  <a:lnTo>
                    <a:pt x="93317" y="229940"/>
                  </a:lnTo>
                  <a:lnTo>
                    <a:pt x="196338" y="229940"/>
                  </a:lnTo>
                  <a:lnTo>
                    <a:pt x="196338" y="188570"/>
                  </a:lnTo>
                  <a:lnTo>
                    <a:pt x="179599" y="171848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4" name="Freeform: Shape 503">
              <a:extLst>
                <a:ext uri="{FF2B5EF4-FFF2-40B4-BE49-F238E27FC236}">
                  <a16:creationId xmlns:a16="http://schemas.microsoft.com/office/drawing/2014/main" id="{2E1FDCE1-A036-8DD3-C517-6597B8CB862D}"/>
                </a:ext>
              </a:extLst>
            </p:cNvPr>
            <p:cNvSpPr/>
            <p:nvPr/>
          </p:nvSpPr>
          <p:spPr>
            <a:xfrm>
              <a:off x="7238027" y="2645049"/>
              <a:ext cx="1243648" cy="690600"/>
            </a:xfrm>
            <a:custGeom>
              <a:avLst/>
              <a:gdLst>
                <a:gd name="connsiteX0" fmla="*/ 1230699 w 1243648"/>
                <a:gd name="connsiteY0" fmla="*/ 330456 h 690600"/>
                <a:gd name="connsiteX1" fmla="*/ 1230699 w 1243648"/>
                <a:gd name="connsiteY1" fmla="*/ 304062 h 690600"/>
                <a:gd name="connsiteX2" fmla="*/ 1193267 w 1243648"/>
                <a:gd name="connsiteY2" fmla="*/ 304062 h 690600"/>
                <a:gd name="connsiteX3" fmla="*/ 1135042 w 1243648"/>
                <a:gd name="connsiteY3" fmla="*/ 245813 h 690600"/>
                <a:gd name="connsiteX4" fmla="*/ 1048249 w 1243648"/>
                <a:gd name="connsiteY4" fmla="*/ 245813 h 690600"/>
                <a:gd name="connsiteX5" fmla="*/ 922179 w 1243648"/>
                <a:gd name="connsiteY5" fmla="*/ 119768 h 690600"/>
                <a:gd name="connsiteX6" fmla="*/ 922179 w 1243648"/>
                <a:gd name="connsiteY6" fmla="*/ 68241 h 690600"/>
                <a:gd name="connsiteX7" fmla="*/ 903381 w 1243648"/>
                <a:gd name="connsiteY7" fmla="*/ 49418 h 690600"/>
                <a:gd name="connsiteX8" fmla="*/ 870694 w 1243648"/>
                <a:gd name="connsiteY8" fmla="*/ 82121 h 690600"/>
                <a:gd name="connsiteX9" fmla="*/ 797065 w 1243648"/>
                <a:gd name="connsiteY9" fmla="*/ 82121 h 690600"/>
                <a:gd name="connsiteX10" fmla="*/ 760210 w 1243648"/>
                <a:gd name="connsiteY10" fmla="*/ 45274 h 690600"/>
                <a:gd name="connsiteX11" fmla="*/ 714935 w 1243648"/>
                <a:gd name="connsiteY11" fmla="*/ 0 h 690600"/>
                <a:gd name="connsiteX12" fmla="*/ 598701 w 1243648"/>
                <a:gd name="connsiteY12" fmla="*/ 0 h 690600"/>
                <a:gd name="connsiteX13" fmla="*/ 523853 w 1243648"/>
                <a:gd name="connsiteY13" fmla="*/ 74830 h 690600"/>
                <a:gd name="connsiteX14" fmla="*/ 406844 w 1243648"/>
                <a:gd name="connsiteY14" fmla="*/ 74830 h 690600"/>
                <a:gd name="connsiteX15" fmla="*/ 406844 w 1243648"/>
                <a:gd name="connsiteY15" fmla="*/ 175397 h 690600"/>
                <a:gd name="connsiteX16" fmla="*/ 441097 w 1243648"/>
                <a:gd name="connsiteY16" fmla="*/ 209633 h 690600"/>
                <a:gd name="connsiteX17" fmla="*/ 425066 w 1243648"/>
                <a:gd name="connsiteY17" fmla="*/ 225639 h 690600"/>
                <a:gd name="connsiteX18" fmla="*/ 305323 w 1243648"/>
                <a:gd name="connsiteY18" fmla="*/ 225639 h 690600"/>
                <a:gd name="connsiteX19" fmla="*/ 248218 w 1243648"/>
                <a:gd name="connsiteY19" fmla="*/ 225639 h 690600"/>
                <a:gd name="connsiteX20" fmla="*/ 211083 w 1243648"/>
                <a:gd name="connsiteY20" fmla="*/ 188479 h 690600"/>
                <a:gd name="connsiteX21" fmla="*/ 101340 w 1243648"/>
                <a:gd name="connsiteY21" fmla="*/ 188479 h 690600"/>
                <a:gd name="connsiteX22" fmla="*/ 41815 w 1243648"/>
                <a:gd name="connsiteY22" fmla="*/ 248012 h 690600"/>
                <a:gd name="connsiteX23" fmla="*/ 41815 w 1243648"/>
                <a:gd name="connsiteY23" fmla="*/ 284572 h 690600"/>
                <a:gd name="connsiteX24" fmla="*/ 0 w 1243648"/>
                <a:gd name="connsiteY24" fmla="*/ 242749 h 690600"/>
                <a:gd name="connsiteX25" fmla="*/ 0 w 1243648"/>
                <a:gd name="connsiteY25" fmla="*/ 333281 h 690600"/>
                <a:gd name="connsiteX26" fmla="*/ 59559 w 1243648"/>
                <a:gd name="connsiteY26" fmla="*/ 392823 h 690600"/>
                <a:gd name="connsiteX27" fmla="*/ 59559 w 1243648"/>
                <a:gd name="connsiteY27" fmla="*/ 415518 h 690600"/>
                <a:gd name="connsiteX28" fmla="*/ 94602 w 1243648"/>
                <a:gd name="connsiteY28" fmla="*/ 415518 h 690600"/>
                <a:gd name="connsiteX29" fmla="*/ 117931 w 1243648"/>
                <a:gd name="connsiteY29" fmla="*/ 392197 h 690600"/>
                <a:gd name="connsiteX30" fmla="*/ 184064 w 1243648"/>
                <a:gd name="connsiteY30" fmla="*/ 392197 h 690600"/>
                <a:gd name="connsiteX31" fmla="*/ 228531 w 1243648"/>
                <a:gd name="connsiteY31" fmla="*/ 436673 h 690600"/>
                <a:gd name="connsiteX32" fmla="*/ 228531 w 1243648"/>
                <a:gd name="connsiteY32" fmla="*/ 505211 h 690600"/>
                <a:gd name="connsiteX33" fmla="*/ 191445 w 1243648"/>
                <a:gd name="connsiteY33" fmla="*/ 505211 h 690600"/>
                <a:gd name="connsiteX34" fmla="*/ 170307 w 1243648"/>
                <a:gd name="connsiteY34" fmla="*/ 484081 h 690600"/>
                <a:gd name="connsiteX35" fmla="*/ 133369 w 1243648"/>
                <a:gd name="connsiteY35" fmla="*/ 484081 h 690600"/>
                <a:gd name="connsiteX36" fmla="*/ 98836 w 1243648"/>
                <a:gd name="connsiteY36" fmla="*/ 518613 h 690600"/>
                <a:gd name="connsiteX37" fmla="*/ 121094 w 1243648"/>
                <a:gd name="connsiteY37" fmla="*/ 540847 h 690600"/>
                <a:gd name="connsiteX38" fmla="*/ 121094 w 1243648"/>
                <a:gd name="connsiteY38" fmla="*/ 569967 h 690600"/>
                <a:gd name="connsiteX39" fmla="*/ 161212 w 1243648"/>
                <a:gd name="connsiteY39" fmla="*/ 610077 h 690600"/>
                <a:gd name="connsiteX40" fmla="*/ 161212 w 1243648"/>
                <a:gd name="connsiteY40" fmla="*/ 639321 h 690600"/>
                <a:gd name="connsiteX41" fmla="*/ 195365 w 1243648"/>
                <a:gd name="connsiteY41" fmla="*/ 618479 h 690600"/>
                <a:gd name="connsiteX42" fmla="*/ 226175 w 1243648"/>
                <a:gd name="connsiteY42" fmla="*/ 618479 h 690600"/>
                <a:gd name="connsiteX43" fmla="*/ 273179 w 1243648"/>
                <a:gd name="connsiteY43" fmla="*/ 665467 h 690600"/>
                <a:gd name="connsiteX44" fmla="*/ 273179 w 1243648"/>
                <a:gd name="connsiteY44" fmla="*/ 634081 h 690600"/>
                <a:gd name="connsiteX45" fmla="*/ 273179 w 1243648"/>
                <a:gd name="connsiteY45" fmla="*/ 547775 h 690600"/>
                <a:gd name="connsiteX46" fmla="*/ 292786 w 1243648"/>
                <a:gd name="connsiteY46" fmla="*/ 528153 h 690600"/>
                <a:gd name="connsiteX47" fmla="*/ 327548 w 1243648"/>
                <a:gd name="connsiteY47" fmla="*/ 493389 h 690600"/>
                <a:gd name="connsiteX48" fmla="*/ 376530 w 1243648"/>
                <a:gd name="connsiteY48" fmla="*/ 493389 h 690600"/>
                <a:gd name="connsiteX49" fmla="*/ 406713 w 1243648"/>
                <a:gd name="connsiteY49" fmla="*/ 523556 h 690600"/>
                <a:gd name="connsiteX50" fmla="*/ 464277 w 1243648"/>
                <a:gd name="connsiteY50" fmla="*/ 581154 h 690600"/>
                <a:gd name="connsiteX51" fmla="*/ 484609 w 1243648"/>
                <a:gd name="connsiteY51" fmla="*/ 560848 h 690600"/>
                <a:gd name="connsiteX52" fmla="*/ 548632 w 1243648"/>
                <a:gd name="connsiteY52" fmla="*/ 560848 h 690600"/>
                <a:gd name="connsiteX53" fmla="*/ 571994 w 1243648"/>
                <a:gd name="connsiteY53" fmla="*/ 584252 h 690600"/>
                <a:gd name="connsiteX54" fmla="*/ 571994 w 1243648"/>
                <a:gd name="connsiteY54" fmla="*/ 620943 h 690600"/>
                <a:gd name="connsiteX55" fmla="*/ 587728 w 1243648"/>
                <a:gd name="connsiteY55" fmla="*/ 636709 h 690600"/>
                <a:gd name="connsiteX56" fmla="*/ 587728 w 1243648"/>
                <a:gd name="connsiteY56" fmla="*/ 661488 h 690600"/>
                <a:gd name="connsiteX57" fmla="*/ 616889 w 1243648"/>
                <a:gd name="connsiteY57" fmla="*/ 690600 h 690600"/>
                <a:gd name="connsiteX58" fmla="*/ 639198 w 1243648"/>
                <a:gd name="connsiteY58" fmla="*/ 690600 h 690600"/>
                <a:gd name="connsiteX59" fmla="*/ 702825 w 1243648"/>
                <a:gd name="connsiteY59" fmla="*/ 626972 h 690600"/>
                <a:gd name="connsiteX60" fmla="*/ 706283 w 1243648"/>
                <a:gd name="connsiteY60" fmla="*/ 626972 h 690600"/>
                <a:gd name="connsiteX61" fmla="*/ 712315 w 1243648"/>
                <a:gd name="connsiteY61" fmla="*/ 620943 h 690600"/>
                <a:gd name="connsiteX62" fmla="*/ 732564 w 1243648"/>
                <a:gd name="connsiteY62" fmla="*/ 620943 h 690600"/>
                <a:gd name="connsiteX63" fmla="*/ 749830 w 1243648"/>
                <a:gd name="connsiteY63" fmla="*/ 603635 h 690600"/>
                <a:gd name="connsiteX64" fmla="*/ 771890 w 1243648"/>
                <a:gd name="connsiteY64" fmla="*/ 603635 h 690600"/>
                <a:gd name="connsiteX65" fmla="*/ 799025 w 1243648"/>
                <a:gd name="connsiteY65" fmla="*/ 603635 h 690600"/>
                <a:gd name="connsiteX66" fmla="*/ 825370 w 1243648"/>
                <a:gd name="connsiteY66" fmla="*/ 577299 h 690600"/>
                <a:gd name="connsiteX67" fmla="*/ 849572 w 1243648"/>
                <a:gd name="connsiteY67" fmla="*/ 577299 h 690600"/>
                <a:gd name="connsiteX68" fmla="*/ 860858 w 1243648"/>
                <a:gd name="connsiteY68" fmla="*/ 588568 h 690600"/>
                <a:gd name="connsiteX69" fmla="*/ 919412 w 1243648"/>
                <a:gd name="connsiteY69" fmla="*/ 588568 h 690600"/>
                <a:gd name="connsiteX70" fmla="*/ 929577 w 1243648"/>
                <a:gd name="connsiteY70" fmla="*/ 598758 h 690600"/>
                <a:gd name="connsiteX71" fmla="*/ 983880 w 1243648"/>
                <a:gd name="connsiteY71" fmla="*/ 598758 h 690600"/>
                <a:gd name="connsiteX72" fmla="*/ 1000916 w 1243648"/>
                <a:gd name="connsiteY72" fmla="*/ 615752 h 690600"/>
                <a:gd name="connsiteX73" fmla="*/ 1027425 w 1243648"/>
                <a:gd name="connsiteY73" fmla="*/ 589227 h 690600"/>
                <a:gd name="connsiteX74" fmla="*/ 1027425 w 1243648"/>
                <a:gd name="connsiteY74" fmla="*/ 512031 h 690600"/>
                <a:gd name="connsiteX75" fmla="*/ 1063061 w 1243648"/>
                <a:gd name="connsiteY75" fmla="*/ 512031 h 690600"/>
                <a:gd name="connsiteX76" fmla="*/ 1086703 w 1243648"/>
                <a:gd name="connsiteY76" fmla="*/ 488397 h 690600"/>
                <a:gd name="connsiteX77" fmla="*/ 1086703 w 1243648"/>
                <a:gd name="connsiteY77" fmla="*/ 443848 h 690600"/>
                <a:gd name="connsiteX78" fmla="*/ 1086703 w 1243648"/>
                <a:gd name="connsiteY78" fmla="*/ 412816 h 690600"/>
                <a:gd name="connsiteX79" fmla="*/ 1112784 w 1243648"/>
                <a:gd name="connsiteY79" fmla="*/ 412816 h 690600"/>
                <a:gd name="connsiteX80" fmla="*/ 1131154 w 1243648"/>
                <a:gd name="connsiteY80" fmla="*/ 431187 h 690600"/>
                <a:gd name="connsiteX81" fmla="*/ 1172969 w 1243648"/>
                <a:gd name="connsiteY81" fmla="*/ 431187 h 690600"/>
                <a:gd name="connsiteX82" fmla="*/ 1172969 w 1243648"/>
                <a:gd name="connsiteY82" fmla="*/ 402964 h 690600"/>
                <a:gd name="connsiteX83" fmla="*/ 1172969 w 1243648"/>
                <a:gd name="connsiteY83" fmla="*/ 378885 h 690600"/>
                <a:gd name="connsiteX84" fmla="*/ 1194568 w 1243648"/>
                <a:gd name="connsiteY84" fmla="*/ 357286 h 690600"/>
                <a:gd name="connsiteX85" fmla="*/ 1210945 w 1243648"/>
                <a:gd name="connsiteY85" fmla="*/ 357286 h 690600"/>
                <a:gd name="connsiteX86" fmla="*/ 1243648 w 1243648"/>
                <a:gd name="connsiteY86" fmla="*/ 330456 h 690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3648" h="690600">
                  <a:moveTo>
                    <a:pt x="1230699" y="330456"/>
                  </a:moveTo>
                  <a:lnTo>
                    <a:pt x="1230699" y="304062"/>
                  </a:lnTo>
                  <a:lnTo>
                    <a:pt x="1193267" y="304062"/>
                  </a:lnTo>
                  <a:lnTo>
                    <a:pt x="1135042" y="245813"/>
                  </a:lnTo>
                  <a:lnTo>
                    <a:pt x="1048249" y="245813"/>
                  </a:lnTo>
                  <a:lnTo>
                    <a:pt x="922179" y="119768"/>
                  </a:lnTo>
                  <a:lnTo>
                    <a:pt x="922179" y="68241"/>
                  </a:lnTo>
                  <a:lnTo>
                    <a:pt x="903381" y="49418"/>
                  </a:lnTo>
                  <a:lnTo>
                    <a:pt x="870694" y="82121"/>
                  </a:lnTo>
                  <a:lnTo>
                    <a:pt x="797065" y="82121"/>
                  </a:lnTo>
                  <a:lnTo>
                    <a:pt x="760210" y="45274"/>
                  </a:lnTo>
                  <a:lnTo>
                    <a:pt x="714935" y="0"/>
                  </a:lnTo>
                  <a:lnTo>
                    <a:pt x="598701" y="0"/>
                  </a:lnTo>
                  <a:lnTo>
                    <a:pt x="523853" y="74830"/>
                  </a:lnTo>
                  <a:lnTo>
                    <a:pt x="406844" y="74830"/>
                  </a:lnTo>
                  <a:lnTo>
                    <a:pt x="406844" y="175397"/>
                  </a:lnTo>
                  <a:lnTo>
                    <a:pt x="441097" y="209633"/>
                  </a:lnTo>
                  <a:lnTo>
                    <a:pt x="425066" y="225639"/>
                  </a:lnTo>
                  <a:lnTo>
                    <a:pt x="305323" y="225639"/>
                  </a:lnTo>
                  <a:lnTo>
                    <a:pt x="248218" y="225639"/>
                  </a:lnTo>
                  <a:lnTo>
                    <a:pt x="211083" y="188479"/>
                  </a:lnTo>
                  <a:lnTo>
                    <a:pt x="101340" y="188479"/>
                  </a:lnTo>
                  <a:lnTo>
                    <a:pt x="41815" y="248012"/>
                  </a:lnTo>
                  <a:lnTo>
                    <a:pt x="41815" y="284572"/>
                  </a:lnTo>
                  <a:lnTo>
                    <a:pt x="0" y="242749"/>
                  </a:lnTo>
                  <a:lnTo>
                    <a:pt x="0" y="333281"/>
                  </a:lnTo>
                  <a:lnTo>
                    <a:pt x="59559" y="392823"/>
                  </a:lnTo>
                  <a:lnTo>
                    <a:pt x="59559" y="415518"/>
                  </a:lnTo>
                  <a:lnTo>
                    <a:pt x="94602" y="415518"/>
                  </a:lnTo>
                  <a:lnTo>
                    <a:pt x="117931" y="392197"/>
                  </a:lnTo>
                  <a:lnTo>
                    <a:pt x="184064" y="392197"/>
                  </a:lnTo>
                  <a:lnTo>
                    <a:pt x="228531" y="436673"/>
                  </a:lnTo>
                  <a:lnTo>
                    <a:pt x="228531" y="505211"/>
                  </a:lnTo>
                  <a:lnTo>
                    <a:pt x="191445" y="505211"/>
                  </a:lnTo>
                  <a:lnTo>
                    <a:pt x="170307" y="484081"/>
                  </a:lnTo>
                  <a:lnTo>
                    <a:pt x="133369" y="484081"/>
                  </a:lnTo>
                  <a:lnTo>
                    <a:pt x="98836" y="518613"/>
                  </a:lnTo>
                  <a:lnTo>
                    <a:pt x="121094" y="540847"/>
                  </a:lnTo>
                  <a:lnTo>
                    <a:pt x="121094" y="569967"/>
                  </a:lnTo>
                  <a:lnTo>
                    <a:pt x="161212" y="610077"/>
                  </a:lnTo>
                  <a:lnTo>
                    <a:pt x="161212" y="639321"/>
                  </a:lnTo>
                  <a:lnTo>
                    <a:pt x="195365" y="618479"/>
                  </a:lnTo>
                  <a:lnTo>
                    <a:pt x="226175" y="618479"/>
                  </a:lnTo>
                  <a:lnTo>
                    <a:pt x="273179" y="665467"/>
                  </a:lnTo>
                  <a:lnTo>
                    <a:pt x="273179" y="634081"/>
                  </a:lnTo>
                  <a:lnTo>
                    <a:pt x="273179" y="547775"/>
                  </a:lnTo>
                  <a:lnTo>
                    <a:pt x="292786" y="528153"/>
                  </a:lnTo>
                  <a:lnTo>
                    <a:pt x="327548" y="493389"/>
                  </a:lnTo>
                  <a:lnTo>
                    <a:pt x="376530" y="493389"/>
                  </a:lnTo>
                  <a:lnTo>
                    <a:pt x="406713" y="523556"/>
                  </a:lnTo>
                  <a:lnTo>
                    <a:pt x="464277" y="581154"/>
                  </a:lnTo>
                  <a:lnTo>
                    <a:pt x="484609" y="560848"/>
                  </a:lnTo>
                  <a:lnTo>
                    <a:pt x="548632" y="560848"/>
                  </a:lnTo>
                  <a:lnTo>
                    <a:pt x="571994" y="584252"/>
                  </a:lnTo>
                  <a:lnTo>
                    <a:pt x="571994" y="620943"/>
                  </a:lnTo>
                  <a:lnTo>
                    <a:pt x="587728" y="636709"/>
                  </a:lnTo>
                  <a:lnTo>
                    <a:pt x="587728" y="661488"/>
                  </a:lnTo>
                  <a:lnTo>
                    <a:pt x="616889" y="690600"/>
                  </a:lnTo>
                  <a:lnTo>
                    <a:pt x="639198" y="690600"/>
                  </a:lnTo>
                  <a:lnTo>
                    <a:pt x="702825" y="626972"/>
                  </a:lnTo>
                  <a:lnTo>
                    <a:pt x="706283" y="626972"/>
                  </a:lnTo>
                  <a:lnTo>
                    <a:pt x="712315" y="620943"/>
                  </a:lnTo>
                  <a:lnTo>
                    <a:pt x="732564" y="620943"/>
                  </a:lnTo>
                  <a:lnTo>
                    <a:pt x="749830" y="603635"/>
                  </a:lnTo>
                  <a:lnTo>
                    <a:pt x="771890" y="603635"/>
                  </a:lnTo>
                  <a:lnTo>
                    <a:pt x="799025" y="603635"/>
                  </a:lnTo>
                  <a:lnTo>
                    <a:pt x="825370" y="577299"/>
                  </a:lnTo>
                  <a:lnTo>
                    <a:pt x="849572" y="577299"/>
                  </a:lnTo>
                  <a:lnTo>
                    <a:pt x="860858" y="588568"/>
                  </a:lnTo>
                  <a:lnTo>
                    <a:pt x="919412" y="588568"/>
                  </a:lnTo>
                  <a:lnTo>
                    <a:pt x="929577" y="598758"/>
                  </a:lnTo>
                  <a:lnTo>
                    <a:pt x="983880" y="598758"/>
                  </a:lnTo>
                  <a:lnTo>
                    <a:pt x="1000916" y="615752"/>
                  </a:lnTo>
                  <a:lnTo>
                    <a:pt x="1027425" y="589227"/>
                  </a:lnTo>
                  <a:lnTo>
                    <a:pt x="1027425" y="512031"/>
                  </a:lnTo>
                  <a:lnTo>
                    <a:pt x="1063061" y="512031"/>
                  </a:lnTo>
                  <a:lnTo>
                    <a:pt x="1086703" y="488397"/>
                  </a:lnTo>
                  <a:lnTo>
                    <a:pt x="1086703" y="443848"/>
                  </a:lnTo>
                  <a:lnTo>
                    <a:pt x="1086703" y="412816"/>
                  </a:lnTo>
                  <a:lnTo>
                    <a:pt x="1112784" y="412816"/>
                  </a:lnTo>
                  <a:lnTo>
                    <a:pt x="1131154" y="431187"/>
                  </a:lnTo>
                  <a:lnTo>
                    <a:pt x="1172969" y="431187"/>
                  </a:lnTo>
                  <a:lnTo>
                    <a:pt x="1172969" y="402964"/>
                  </a:lnTo>
                  <a:lnTo>
                    <a:pt x="1172969" y="378885"/>
                  </a:lnTo>
                  <a:lnTo>
                    <a:pt x="1194568" y="357286"/>
                  </a:lnTo>
                  <a:lnTo>
                    <a:pt x="1210945" y="357286"/>
                  </a:lnTo>
                  <a:lnTo>
                    <a:pt x="1243648" y="330456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5" name="Freeform: Shape 504">
              <a:extLst>
                <a:ext uri="{FF2B5EF4-FFF2-40B4-BE49-F238E27FC236}">
                  <a16:creationId xmlns:a16="http://schemas.microsoft.com/office/drawing/2014/main" id="{40FF15A6-3439-AE73-718C-E46A6749D0DD}"/>
                </a:ext>
              </a:extLst>
            </p:cNvPr>
            <p:cNvSpPr/>
            <p:nvPr/>
          </p:nvSpPr>
          <p:spPr>
            <a:xfrm>
              <a:off x="7399240" y="3247481"/>
              <a:ext cx="386645" cy="308947"/>
            </a:xfrm>
            <a:custGeom>
              <a:avLst/>
              <a:gdLst>
                <a:gd name="connsiteX0" fmla="*/ 287727 w 386645"/>
                <a:gd name="connsiteY0" fmla="*/ 308947 h 308947"/>
                <a:gd name="connsiteX1" fmla="*/ 314697 w 386645"/>
                <a:gd name="connsiteY1" fmla="*/ 308947 h 308947"/>
                <a:gd name="connsiteX2" fmla="*/ 341206 w 386645"/>
                <a:gd name="connsiteY2" fmla="*/ 282447 h 308947"/>
                <a:gd name="connsiteX3" fmla="*/ 365029 w 386645"/>
                <a:gd name="connsiteY3" fmla="*/ 258623 h 308947"/>
                <a:gd name="connsiteX4" fmla="*/ 365029 w 386645"/>
                <a:gd name="connsiteY4" fmla="*/ 239652 h 308947"/>
                <a:gd name="connsiteX5" fmla="*/ 386645 w 386645"/>
                <a:gd name="connsiteY5" fmla="*/ 218028 h 308947"/>
                <a:gd name="connsiteX6" fmla="*/ 353085 w 386645"/>
                <a:gd name="connsiteY6" fmla="*/ 184451 h 308947"/>
                <a:gd name="connsiteX7" fmla="*/ 353085 w 386645"/>
                <a:gd name="connsiteY7" fmla="*/ 163914 h 308947"/>
                <a:gd name="connsiteX8" fmla="*/ 333858 w 386645"/>
                <a:gd name="connsiteY8" fmla="*/ 144712 h 308947"/>
                <a:gd name="connsiteX9" fmla="*/ 307201 w 386645"/>
                <a:gd name="connsiteY9" fmla="*/ 144712 h 308947"/>
                <a:gd name="connsiteX10" fmla="*/ 284465 w 386645"/>
                <a:gd name="connsiteY10" fmla="*/ 121976 h 308947"/>
                <a:gd name="connsiteX11" fmla="*/ 284465 w 386645"/>
                <a:gd name="connsiteY11" fmla="*/ 69609 h 308947"/>
                <a:gd name="connsiteX12" fmla="*/ 265650 w 386645"/>
                <a:gd name="connsiteY12" fmla="*/ 69609 h 308947"/>
                <a:gd name="connsiteX13" fmla="*/ 265650 w 386645"/>
                <a:gd name="connsiteY13" fmla="*/ 46016 h 308947"/>
                <a:gd name="connsiteX14" fmla="*/ 238960 w 386645"/>
                <a:gd name="connsiteY14" fmla="*/ 19334 h 308947"/>
                <a:gd name="connsiteX15" fmla="*/ 213983 w 386645"/>
                <a:gd name="connsiteY15" fmla="*/ 19334 h 308947"/>
                <a:gd name="connsiteX16" fmla="*/ 194674 w 386645"/>
                <a:gd name="connsiteY16" fmla="*/ 0 h 308947"/>
                <a:gd name="connsiteX17" fmla="*/ 165051 w 386645"/>
                <a:gd name="connsiteY17" fmla="*/ 0 h 308947"/>
                <a:gd name="connsiteX18" fmla="*/ 165051 w 386645"/>
                <a:gd name="connsiteY18" fmla="*/ 18996 h 308947"/>
                <a:gd name="connsiteX19" fmla="*/ 151179 w 386645"/>
                <a:gd name="connsiteY19" fmla="*/ 18996 h 308947"/>
                <a:gd name="connsiteX20" fmla="*/ 131655 w 386645"/>
                <a:gd name="connsiteY20" fmla="*/ 38528 h 308947"/>
                <a:gd name="connsiteX21" fmla="*/ 131655 w 386645"/>
                <a:gd name="connsiteY21" fmla="*/ 63035 h 308947"/>
                <a:gd name="connsiteX22" fmla="*/ 111967 w 386645"/>
                <a:gd name="connsiteY22" fmla="*/ 63035 h 308947"/>
                <a:gd name="connsiteX23" fmla="*/ 64963 w 386645"/>
                <a:gd name="connsiteY23" fmla="*/ 16047 h 308947"/>
                <a:gd name="connsiteX24" fmla="*/ 34153 w 386645"/>
                <a:gd name="connsiteY24" fmla="*/ 16047 h 308947"/>
                <a:gd name="connsiteX25" fmla="*/ 0 w 386645"/>
                <a:gd name="connsiteY25" fmla="*/ 36889 h 308947"/>
                <a:gd name="connsiteX26" fmla="*/ 45736 w 386645"/>
                <a:gd name="connsiteY26" fmla="*/ 36889 h 308947"/>
                <a:gd name="connsiteX27" fmla="*/ 68702 w 386645"/>
                <a:gd name="connsiteY27" fmla="*/ 59905 h 308947"/>
                <a:gd name="connsiteX28" fmla="*/ 68702 w 386645"/>
                <a:gd name="connsiteY28" fmla="*/ 83687 h 308947"/>
                <a:gd name="connsiteX29" fmla="*/ 13213 w 386645"/>
                <a:gd name="connsiteY29" fmla="*/ 83687 h 308947"/>
                <a:gd name="connsiteX30" fmla="*/ 13213 w 386645"/>
                <a:gd name="connsiteY30" fmla="*/ 108870 h 308947"/>
                <a:gd name="connsiteX31" fmla="*/ 47235 w 386645"/>
                <a:gd name="connsiteY31" fmla="*/ 142900 h 308947"/>
                <a:gd name="connsiteX32" fmla="*/ 47235 w 386645"/>
                <a:gd name="connsiteY32" fmla="*/ 187392 h 308947"/>
                <a:gd name="connsiteX33" fmla="*/ 45950 w 386645"/>
                <a:gd name="connsiteY33" fmla="*/ 204873 h 308947"/>
                <a:gd name="connsiteX34" fmla="*/ 78489 w 386645"/>
                <a:gd name="connsiteY34" fmla="*/ 204873 h 308947"/>
                <a:gd name="connsiteX35" fmla="*/ 105805 w 386645"/>
                <a:gd name="connsiteY35" fmla="*/ 177598 h 308947"/>
                <a:gd name="connsiteX36" fmla="*/ 166336 w 386645"/>
                <a:gd name="connsiteY36" fmla="*/ 177598 h 308947"/>
                <a:gd name="connsiteX37" fmla="*/ 190407 w 386645"/>
                <a:gd name="connsiteY37" fmla="*/ 201651 h 308947"/>
                <a:gd name="connsiteX38" fmla="*/ 216455 w 386645"/>
                <a:gd name="connsiteY38" fmla="*/ 227716 h 308947"/>
                <a:gd name="connsiteX39" fmla="*/ 257000 w 386645"/>
                <a:gd name="connsiteY39" fmla="*/ 227716 h 308947"/>
                <a:gd name="connsiteX40" fmla="*/ 257000 w 386645"/>
                <a:gd name="connsiteY40" fmla="*/ 290792 h 308947"/>
                <a:gd name="connsiteX41" fmla="*/ 257000 w 386645"/>
                <a:gd name="connsiteY41" fmla="*/ 293749 h 308947"/>
                <a:gd name="connsiteX42" fmla="*/ 272900 w 386645"/>
                <a:gd name="connsiteY42" fmla="*/ 294128 h 308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86645" h="308947">
                  <a:moveTo>
                    <a:pt x="287727" y="308947"/>
                  </a:moveTo>
                  <a:lnTo>
                    <a:pt x="314697" y="308947"/>
                  </a:lnTo>
                  <a:lnTo>
                    <a:pt x="341206" y="282447"/>
                  </a:lnTo>
                  <a:lnTo>
                    <a:pt x="365029" y="258623"/>
                  </a:lnTo>
                  <a:lnTo>
                    <a:pt x="365029" y="239652"/>
                  </a:lnTo>
                  <a:lnTo>
                    <a:pt x="386645" y="218028"/>
                  </a:lnTo>
                  <a:lnTo>
                    <a:pt x="353085" y="184451"/>
                  </a:lnTo>
                  <a:lnTo>
                    <a:pt x="353085" y="163914"/>
                  </a:lnTo>
                  <a:lnTo>
                    <a:pt x="333858" y="144712"/>
                  </a:lnTo>
                  <a:lnTo>
                    <a:pt x="307201" y="144712"/>
                  </a:lnTo>
                  <a:lnTo>
                    <a:pt x="284465" y="121976"/>
                  </a:lnTo>
                  <a:lnTo>
                    <a:pt x="284465" y="69609"/>
                  </a:lnTo>
                  <a:lnTo>
                    <a:pt x="265650" y="69609"/>
                  </a:lnTo>
                  <a:lnTo>
                    <a:pt x="265650" y="46016"/>
                  </a:lnTo>
                  <a:lnTo>
                    <a:pt x="238960" y="19334"/>
                  </a:lnTo>
                  <a:lnTo>
                    <a:pt x="213983" y="19334"/>
                  </a:lnTo>
                  <a:lnTo>
                    <a:pt x="194674" y="0"/>
                  </a:lnTo>
                  <a:lnTo>
                    <a:pt x="165051" y="0"/>
                  </a:lnTo>
                  <a:lnTo>
                    <a:pt x="165051" y="18996"/>
                  </a:lnTo>
                  <a:lnTo>
                    <a:pt x="151179" y="18996"/>
                  </a:lnTo>
                  <a:lnTo>
                    <a:pt x="131655" y="38528"/>
                  </a:lnTo>
                  <a:lnTo>
                    <a:pt x="131655" y="63035"/>
                  </a:lnTo>
                  <a:lnTo>
                    <a:pt x="111967" y="63035"/>
                  </a:lnTo>
                  <a:lnTo>
                    <a:pt x="64963" y="16047"/>
                  </a:lnTo>
                  <a:lnTo>
                    <a:pt x="34153" y="16047"/>
                  </a:lnTo>
                  <a:lnTo>
                    <a:pt x="0" y="36889"/>
                  </a:lnTo>
                  <a:lnTo>
                    <a:pt x="45736" y="36889"/>
                  </a:lnTo>
                  <a:lnTo>
                    <a:pt x="68702" y="59905"/>
                  </a:lnTo>
                  <a:lnTo>
                    <a:pt x="68702" y="83687"/>
                  </a:lnTo>
                  <a:lnTo>
                    <a:pt x="13213" y="83687"/>
                  </a:lnTo>
                  <a:lnTo>
                    <a:pt x="13213" y="108870"/>
                  </a:lnTo>
                  <a:lnTo>
                    <a:pt x="47235" y="142900"/>
                  </a:lnTo>
                  <a:lnTo>
                    <a:pt x="47235" y="187392"/>
                  </a:lnTo>
                  <a:lnTo>
                    <a:pt x="45950" y="204873"/>
                  </a:lnTo>
                  <a:lnTo>
                    <a:pt x="78489" y="204873"/>
                  </a:lnTo>
                  <a:lnTo>
                    <a:pt x="105805" y="177598"/>
                  </a:lnTo>
                  <a:lnTo>
                    <a:pt x="166336" y="177598"/>
                  </a:lnTo>
                  <a:lnTo>
                    <a:pt x="190407" y="201651"/>
                  </a:lnTo>
                  <a:lnTo>
                    <a:pt x="216455" y="227716"/>
                  </a:lnTo>
                  <a:lnTo>
                    <a:pt x="257000" y="227716"/>
                  </a:lnTo>
                  <a:lnTo>
                    <a:pt x="257000" y="290792"/>
                  </a:lnTo>
                  <a:lnTo>
                    <a:pt x="257000" y="293749"/>
                  </a:lnTo>
                  <a:lnTo>
                    <a:pt x="272900" y="294128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6" name="Freeform: Shape 505">
              <a:extLst>
                <a:ext uri="{FF2B5EF4-FFF2-40B4-BE49-F238E27FC236}">
                  <a16:creationId xmlns:a16="http://schemas.microsoft.com/office/drawing/2014/main" id="{69518A9D-EA5F-A23F-A5F7-4C9107FFD60A}"/>
                </a:ext>
              </a:extLst>
            </p:cNvPr>
            <p:cNvSpPr/>
            <p:nvPr/>
          </p:nvSpPr>
          <p:spPr>
            <a:xfrm>
              <a:off x="6868812" y="3468796"/>
              <a:ext cx="201988" cy="163452"/>
            </a:xfrm>
            <a:custGeom>
              <a:avLst/>
              <a:gdLst>
                <a:gd name="connsiteX0" fmla="*/ 108096 w 201988"/>
                <a:gd name="connsiteY0" fmla="*/ 163452 h 163452"/>
                <a:gd name="connsiteX1" fmla="*/ 114867 w 201988"/>
                <a:gd name="connsiteY1" fmla="*/ 156681 h 163452"/>
                <a:gd name="connsiteX2" fmla="*/ 158477 w 201988"/>
                <a:gd name="connsiteY2" fmla="*/ 113087 h 163452"/>
                <a:gd name="connsiteX3" fmla="*/ 158477 w 201988"/>
                <a:gd name="connsiteY3" fmla="*/ 100739 h 163452"/>
                <a:gd name="connsiteX4" fmla="*/ 188858 w 201988"/>
                <a:gd name="connsiteY4" fmla="*/ 70367 h 163452"/>
                <a:gd name="connsiteX5" fmla="*/ 188858 w 201988"/>
                <a:gd name="connsiteY5" fmla="*/ 45472 h 163452"/>
                <a:gd name="connsiteX6" fmla="*/ 201989 w 201988"/>
                <a:gd name="connsiteY6" fmla="*/ 32341 h 163452"/>
                <a:gd name="connsiteX7" fmla="*/ 201989 w 201988"/>
                <a:gd name="connsiteY7" fmla="*/ 12488 h 163452"/>
                <a:gd name="connsiteX8" fmla="*/ 186420 w 201988"/>
                <a:gd name="connsiteY8" fmla="*/ 12488 h 163452"/>
                <a:gd name="connsiteX9" fmla="*/ 173899 w 201988"/>
                <a:gd name="connsiteY9" fmla="*/ 0 h 163452"/>
                <a:gd name="connsiteX10" fmla="*/ 156105 w 201988"/>
                <a:gd name="connsiteY10" fmla="*/ 0 h 163452"/>
                <a:gd name="connsiteX11" fmla="*/ 138591 w 201988"/>
                <a:gd name="connsiteY11" fmla="*/ 17521 h 163452"/>
                <a:gd name="connsiteX12" fmla="*/ 100945 w 201988"/>
                <a:gd name="connsiteY12" fmla="*/ 17521 h 163452"/>
                <a:gd name="connsiteX13" fmla="*/ 49591 w 201988"/>
                <a:gd name="connsiteY13" fmla="*/ 17521 h 163452"/>
                <a:gd name="connsiteX14" fmla="*/ 21963 w 201988"/>
                <a:gd name="connsiteY14" fmla="*/ 17521 h 163452"/>
                <a:gd name="connsiteX15" fmla="*/ 21963 w 201988"/>
                <a:gd name="connsiteY15" fmla="*/ 90392 h 163452"/>
                <a:gd name="connsiteX16" fmla="*/ 0 w 201988"/>
                <a:gd name="connsiteY16" fmla="*/ 112378 h 163452"/>
                <a:gd name="connsiteX17" fmla="*/ 51058 w 201988"/>
                <a:gd name="connsiteY17" fmla="*/ 163452 h 163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01988" h="163452">
                  <a:moveTo>
                    <a:pt x="108096" y="163452"/>
                  </a:moveTo>
                  <a:lnTo>
                    <a:pt x="114867" y="156681"/>
                  </a:lnTo>
                  <a:lnTo>
                    <a:pt x="158477" y="113087"/>
                  </a:lnTo>
                  <a:lnTo>
                    <a:pt x="158477" y="100739"/>
                  </a:lnTo>
                  <a:lnTo>
                    <a:pt x="188858" y="70367"/>
                  </a:lnTo>
                  <a:lnTo>
                    <a:pt x="188858" y="45472"/>
                  </a:lnTo>
                  <a:lnTo>
                    <a:pt x="201989" y="32341"/>
                  </a:lnTo>
                  <a:lnTo>
                    <a:pt x="201989" y="12488"/>
                  </a:lnTo>
                  <a:lnTo>
                    <a:pt x="186420" y="12488"/>
                  </a:lnTo>
                  <a:lnTo>
                    <a:pt x="173899" y="0"/>
                  </a:lnTo>
                  <a:lnTo>
                    <a:pt x="156105" y="0"/>
                  </a:lnTo>
                  <a:lnTo>
                    <a:pt x="138591" y="17521"/>
                  </a:lnTo>
                  <a:lnTo>
                    <a:pt x="100945" y="17521"/>
                  </a:lnTo>
                  <a:lnTo>
                    <a:pt x="49591" y="17521"/>
                  </a:lnTo>
                  <a:lnTo>
                    <a:pt x="21963" y="17521"/>
                  </a:lnTo>
                  <a:lnTo>
                    <a:pt x="21963" y="90392"/>
                  </a:lnTo>
                  <a:lnTo>
                    <a:pt x="0" y="112378"/>
                  </a:lnTo>
                  <a:lnTo>
                    <a:pt x="51058" y="163452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7" name="Freeform: Shape 506">
              <a:extLst>
                <a:ext uri="{FF2B5EF4-FFF2-40B4-BE49-F238E27FC236}">
                  <a16:creationId xmlns:a16="http://schemas.microsoft.com/office/drawing/2014/main" id="{82E21AED-169A-1476-A56E-11A4E2297D18}"/>
                </a:ext>
              </a:extLst>
            </p:cNvPr>
            <p:cNvSpPr/>
            <p:nvPr/>
          </p:nvSpPr>
          <p:spPr>
            <a:xfrm>
              <a:off x="6785398" y="3581175"/>
              <a:ext cx="187968" cy="156039"/>
            </a:xfrm>
            <a:custGeom>
              <a:avLst/>
              <a:gdLst>
                <a:gd name="connsiteX0" fmla="*/ 39343 w 187968"/>
                <a:gd name="connsiteY0" fmla="*/ 156039 h 156039"/>
                <a:gd name="connsiteX1" fmla="*/ 70663 w 187968"/>
                <a:gd name="connsiteY1" fmla="*/ 156039 h 156039"/>
                <a:gd name="connsiteX2" fmla="*/ 96431 w 187968"/>
                <a:gd name="connsiteY2" fmla="*/ 130272 h 156039"/>
                <a:gd name="connsiteX3" fmla="*/ 124175 w 187968"/>
                <a:gd name="connsiteY3" fmla="*/ 130272 h 156039"/>
                <a:gd name="connsiteX4" fmla="*/ 124175 w 187968"/>
                <a:gd name="connsiteY4" fmla="*/ 97140 h 156039"/>
                <a:gd name="connsiteX5" fmla="*/ 163420 w 187968"/>
                <a:gd name="connsiteY5" fmla="*/ 97140 h 156039"/>
                <a:gd name="connsiteX6" fmla="*/ 187968 w 187968"/>
                <a:gd name="connsiteY6" fmla="*/ 72608 h 156039"/>
                <a:gd name="connsiteX7" fmla="*/ 187968 w 187968"/>
                <a:gd name="connsiteY7" fmla="*/ 51074 h 156039"/>
                <a:gd name="connsiteX8" fmla="*/ 134473 w 187968"/>
                <a:gd name="connsiteY8" fmla="*/ 51074 h 156039"/>
                <a:gd name="connsiteX9" fmla="*/ 83415 w 187968"/>
                <a:gd name="connsiteY9" fmla="*/ 0 h 156039"/>
                <a:gd name="connsiteX10" fmla="*/ 72821 w 187968"/>
                <a:gd name="connsiteY10" fmla="*/ 10585 h 156039"/>
                <a:gd name="connsiteX11" fmla="*/ 72821 w 187968"/>
                <a:gd name="connsiteY11" fmla="*/ 88951 h 156039"/>
                <a:gd name="connsiteX12" fmla="*/ 35405 w 187968"/>
                <a:gd name="connsiteY12" fmla="*/ 126367 h 156039"/>
                <a:gd name="connsiteX13" fmla="*/ 0 w 187968"/>
                <a:gd name="connsiteY13" fmla="*/ 126367 h 156039"/>
                <a:gd name="connsiteX14" fmla="*/ 0 w 187968"/>
                <a:gd name="connsiteY14" fmla="*/ 156039 h 156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7968" h="156039">
                  <a:moveTo>
                    <a:pt x="39343" y="156039"/>
                  </a:moveTo>
                  <a:lnTo>
                    <a:pt x="70663" y="156039"/>
                  </a:lnTo>
                  <a:lnTo>
                    <a:pt x="96431" y="130272"/>
                  </a:lnTo>
                  <a:lnTo>
                    <a:pt x="124175" y="130272"/>
                  </a:lnTo>
                  <a:lnTo>
                    <a:pt x="124175" y="97140"/>
                  </a:lnTo>
                  <a:lnTo>
                    <a:pt x="163420" y="97140"/>
                  </a:lnTo>
                  <a:lnTo>
                    <a:pt x="187968" y="72608"/>
                  </a:lnTo>
                  <a:lnTo>
                    <a:pt x="187968" y="51074"/>
                  </a:lnTo>
                  <a:lnTo>
                    <a:pt x="134473" y="51074"/>
                  </a:lnTo>
                  <a:lnTo>
                    <a:pt x="83415" y="0"/>
                  </a:lnTo>
                  <a:lnTo>
                    <a:pt x="72821" y="10585"/>
                  </a:lnTo>
                  <a:lnTo>
                    <a:pt x="72821" y="88951"/>
                  </a:lnTo>
                  <a:lnTo>
                    <a:pt x="35405" y="126367"/>
                  </a:lnTo>
                  <a:lnTo>
                    <a:pt x="0" y="126367"/>
                  </a:lnTo>
                  <a:lnTo>
                    <a:pt x="0" y="156039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8" name="Freeform: Shape 507">
              <a:extLst>
                <a:ext uri="{FF2B5EF4-FFF2-40B4-BE49-F238E27FC236}">
                  <a16:creationId xmlns:a16="http://schemas.microsoft.com/office/drawing/2014/main" id="{4FF22D3F-CAD3-94DC-2981-6C4ECA9651D4}"/>
                </a:ext>
              </a:extLst>
            </p:cNvPr>
            <p:cNvSpPr/>
            <p:nvPr/>
          </p:nvSpPr>
          <p:spPr>
            <a:xfrm>
              <a:off x="7092006" y="4132888"/>
              <a:ext cx="333413" cy="171797"/>
            </a:xfrm>
            <a:custGeom>
              <a:avLst/>
              <a:gdLst>
                <a:gd name="connsiteX0" fmla="*/ 230311 w 333413"/>
                <a:gd name="connsiteY0" fmla="*/ 0 h 171797"/>
                <a:gd name="connsiteX1" fmla="*/ 193142 w 333413"/>
                <a:gd name="connsiteY1" fmla="*/ 0 h 171797"/>
                <a:gd name="connsiteX2" fmla="*/ 175809 w 333413"/>
                <a:gd name="connsiteY2" fmla="*/ 17349 h 171797"/>
                <a:gd name="connsiteX3" fmla="*/ 141508 w 333413"/>
                <a:gd name="connsiteY3" fmla="*/ 51643 h 171797"/>
                <a:gd name="connsiteX4" fmla="*/ 127487 w 333413"/>
                <a:gd name="connsiteY4" fmla="*/ 51643 h 171797"/>
                <a:gd name="connsiteX5" fmla="*/ 103679 w 333413"/>
                <a:gd name="connsiteY5" fmla="*/ 27876 h 171797"/>
                <a:gd name="connsiteX6" fmla="*/ 68126 w 333413"/>
                <a:gd name="connsiteY6" fmla="*/ 27876 h 171797"/>
                <a:gd name="connsiteX7" fmla="*/ 24499 w 333413"/>
                <a:gd name="connsiteY7" fmla="*/ 27876 h 171797"/>
                <a:gd name="connsiteX8" fmla="*/ 0 w 333413"/>
                <a:gd name="connsiteY8" fmla="*/ 52367 h 171797"/>
                <a:gd name="connsiteX9" fmla="*/ 0 w 333413"/>
                <a:gd name="connsiteY9" fmla="*/ 87287 h 171797"/>
                <a:gd name="connsiteX10" fmla="*/ 33791 w 333413"/>
                <a:gd name="connsiteY10" fmla="*/ 121119 h 171797"/>
                <a:gd name="connsiteX11" fmla="*/ 33791 w 333413"/>
                <a:gd name="connsiteY11" fmla="*/ 171797 h 171797"/>
                <a:gd name="connsiteX12" fmla="*/ 84091 w 333413"/>
                <a:gd name="connsiteY12" fmla="*/ 171797 h 171797"/>
                <a:gd name="connsiteX13" fmla="*/ 107568 w 333413"/>
                <a:gd name="connsiteY13" fmla="*/ 148304 h 171797"/>
                <a:gd name="connsiteX14" fmla="*/ 187359 w 333413"/>
                <a:gd name="connsiteY14" fmla="*/ 148304 h 171797"/>
                <a:gd name="connsiteX15" fmla="*/ 257808 w 333413"/>
                <a:gd name="connsiteY15" fmla="*/ 77872 h 171797"/>
                <a:gd name="connsiteX16" fmla="*/ 297777 w 333413"/>
                <a:gd name="connsiteY16" fmla="*/ 77872 h 171797"/>
                <a:gd name="connsiteX17" fmla="*/ 297777 w 333413"/>
                <a:gd name="connsiteY17" fmla="*/ 52054 h 171797"/>
                <a:gd name="connsiteX18" fmla="*/ 333413 w 333413"/>
                <a:gd name="connsiteY18" fmla="*/ 52054 h 171797"/>
                <a:gd name="connsiteX19" fmla="*/ 281335 w 333413"/>
                <a:gd name="connsiteY19" fmla="*/ 0 h 171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3413" h="171797">
                  <a:moveTo>
                    <a:pt x="230311" y="0"/>
                  </a:moveTo>
                  <a:lnTo>
                    <a:pt x="193142" y="0"/>
                  </a:lnTo>
                  <a:lnTo>
                    <a:pt x="175809" y="17349"/>
                  </a:lnTo>
                  <a:lnTo>
                    <a:pt x="141508" y="51643"/>
                  </a:lnTo>
                  <a:lnTo>
                    <a:pt x="127487" y="51643"/>
                  </a:lnTo>
                  <a:lnTo>
                    <a:pt x="103679" y="27876"/>
                  </a:lnTo>
                  <a:lnTo>
                    <a:pt x="68126" y="27876"/>
                  </a:lnTo>
                  <a:lnTo>
                    <a:pt x="24499" y="27876"/>
                  </a:lnTo>
                  <a:lnTo>
                    <a:pt x="0" y="52367"/>
                  </a:lnTo>
                  <a:lnTo>
                    <a:pt x="0" y="87287"/>
                  </a:lnTo>
                  <a:lnTo>
                    <a:pt x="33791" y="121119"/>
                  </a:lnTo>
                  <a:lnTo>
                    <a:pt x="33791" y="171797"/>
                  </a:lnTo>
                  <a:lnTo>
                    <a:pt x="84091" y="171797"/>
                  </a:lnTo>
                  <a:lnTo>
                    <a:pt x="107568" y="148304"/>
                  </a:lnTo>
                  <a:lnTo>
                    <a:pt x="187359" y="148304"/>
                  </a:lnTo>
                  <a:lnTo>
                    <a:pt x="257808" y="77872"/>
                  </a:lnTo>
                  <a:lnTo>
                    <a:pt x="297777" y="77872"/>
                  </a:lnTo>
                  <a:lnTo>
                    <a:pt x="297777" y="52054"/>
                  </a:lnTo>
                  <a:lnTo>
                    <a:pt x="333413" y="52054"/>
                  </a:lnTo>
                  <a:lnTo>
                    <a:pt x="281335" y="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9" name="Freeform: Shape 508">
              <a:extLst>
                <a:ext uri="{FF2B5EF4-FFF2-40B4-BE49-F238E27FC236}">
                  <a16:creationId xmlns:a16="http://schemas.microsoft.com/office/drawing/2014/main" id="{550D79A0-A9B3-62C7-F7EC-A582702033D4}"/>
                </a:ext>
              </a:extLst>
            </p:cNvPr>
            <p:cNvSpPr/>
            <p:nvPr/>
          </p:nvSpPr>
          <p:spPr>
            <a:xfrm>
              <a:off x="7327225" y="3858589"/>
              <a:ext cx="191658" cy="144538"/>
            </a:xfrm>
            <a:custGeom>
              <a:avLst/>
              <a:gdLst>
                <a:gd name="connsiteX0" fmla="*/ 161608 w 191658"/>
                <a:gd name="connsiteY0" fmla="*/ 82517 h 144538"/>
                <a:gd name="connsiteX1" fmla="*/ 191659 w 191658"/>
                <a:gd name="connsiteY1" fmla="*/ 52482 h 144538"/>
                <a:gd name="connsiteX2" fmla="*/ 191659 w 191658"/>
                <a:gd name="connsiteY2" fmla="*/ 0 h 144538"/>
                <a:gd name="connsiteX3" fmla="*/ 124752 w 191658"/>
                <a:gd name="connsiteY3" fmla="*/ 66882 h 144538"/>
                <a:gd name="connsiteX4" fmla="*/ 36691 w 191658"/>
                <a:gd name="connsiteY4" fmla="*/ 66882 h 144538"/>
                <a:gd name="connsiteX5" fmla="*/ 36691 w 191658"/>
                <a:gd name="connsiteY5" fmla="*/ 14070 h 144538"/>
                <a:gd name="connsiteX6" fmla="*/ 17875 w 191658"/>
                <a:gd name="connsiteY6" fmla="*/ 14070 h 144538"/>
                <a:gd name="connsiteX7" fmla="*/ 1483 w 191658"/>
                <a:gd name="connsiteY7" fmla="*/ 30496 h 144538"/>
                <a:gd name="connsiteX8" fmla="*/ 0 w 191658"/>
                <a:gd name="connsiteY8" fmla="*/ 77484 h 144538"/>
                <a:gd name="connsiteX9" fmla="*/ 40249 w 191658"/>
                <a:gd name="connsiteY9" fmla="*/ 77484 h 144538"/>
                <a:gd name="connsiteX10" fmla="*/ 40249 w 191658"/>
                <a:gd name="connsiteY10" fmla="*/ 111720 h 144538"/>
                <a:gd name="connsiteX11" fmla="*/ 52062 w 191658"/>
                <a:gd name="connsiteY11" fmla="*/ 111720 h 144538"/>
                <a:gd name="connsiteX12" fmla="*/ 84897 w 191658"/>
                <a:gd name="connsiteY12" fmla="*/ 144539 h 144538"/>
                <a:gd name="connsiteX13" fmla="*/ 127553 w 191658"/>
                <a:gd name="connsiteY13" fmla="*/ 144539 h 144538"/>
                <a:gd name="connsiteX14" fmla="*/ 141556 w 191658"/>
                <a:gd name="connsiteY14" fmla="*/ 130526 h 144538"/>
                <a:gd name="connsiteX15" fmla="*/ 141556 w 191658"/>
                <a:gd name="connsiteY15" fmla="*/ 102584 h 144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1658" h="144538">
                  <a:moveTo>
                    <a:pt x="161608" y="82517"/>
                  </a:moveTo>
                  <a:lnTo>
                    <a:pt x="191659" y="52482"/>
                  </a:lnTo>
                  <a:lnTo>
                    <a:pt x="191659" y="0"/>
                  </a:lnTo>
                  <a:lnTo>
                    <a:pt x="124752" y="66882"/>
                  </a:lnTo>
                  <a:lnTo>
                    <a:pt x="36691" y="66882"/>
                  </a:lnTo>
                  <a:lnTo>
                    <a:pt x="36691" y="14070"/>
                  </a:lnTo>
                  <a:lnTo>
                    <a:pt x="17875" y="14070"/>
                  </a:lnTo>
                  <a:lnTo>
                    <a:pt x="1483" y="30496"/>
                  </a:lnTo>
                  <a:lnTo>
                    <a:pt x="0" y="77484"/>
                  </a:lnTo>
                  <a:lnTo>
                    <a:pt x="40249" y="77484"/>
                  </a:lnTo>
                  <a:lnTo>
                    <a:pt x="40249" y="111720"/>
                  </a:lnTo>
                  <a:lnTo>
                    <a:pt x="52062" y="111720"/>
                  </a:lnTo>
                  <a:lnTo>
                    <a:pt x="84897" y="144539"/>
                  </a:lnTo>
                  <a:lnTo>
                    <a:pt x="127553" y="144539"/>
                  </a:lnTo>
                  <a:lnTo>
                    <a:pt x="141556" y="130526"/>
                  </a:lnTo>
                  <a:lnTo>
                    <a:pt x="141556" y="102584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0" name="Freeform: Shape 509">
              <a:extLst>
                <a:ext uri="{FF2B5EF4-FFF2-40B4-BE49-F238E27FC236}">
                  <a16:creationId xmlns:a16="http://schemas.microsoft.com/office/drawing/2014/main" id="{F6F82311-D98E-B468-EF2C-EAE948A5FDB2}"/>
                </a:ext>
              </a:extLst>
            </p:cNvPr>
            <p:cNvSpPr/>
            <p:nvPr/>
          </p:nvSpPr>
          <p:spPr>
            <a:xfrm>
              <a:off x="7468782" y="3911071"/>
              <a:ext cx="93399" cy="77591"/>
            </a:xfrm>
            <a:custGeom>
              <a:avLst/>
              <a:gdLst>
                <a:gd name="connsiteX0" fmla="*/ 53596 w 93399"/>
                <a:gd name="connsiteY0" fmla="*/ 77592 h 77591"/>
                <a:gd name="connsiteX1" fmla="*/ 93400 w 93399"/>
                <a:gd name="connsiteY1" fmla="*/ 37753 h 77591"/>
                <a:gd name="connsiteX2" fmla="*/ 68901 w 93399"/>
                <a:gd name="connsiteY2" fmla="*/ 13247 h 77591"/>
                <a:gd name="connsiteX3" fmla="*/ 50102 w 93399"/>
                <a:gd name="connsiteY3" fmla="*/ 13247 h 77591"/>
                <a:gd name="connsiteX4" fmla="*/ 50102 w 93399"/>
                <a:gd name="connsiteY4" fmla="*/ 0 h 77591"/>
                <a:gd name="connsiteX5" fmla="*/ 20051 w 93399"/>
                <a:gd name="connsiteY5" fmla="*/ 30035 h 77591"/>
                <a:gd name="connsiteX6" fmla="*/ 0 w 93399"/>
                <a:gd name="connsiteY6" fmla="*/ 50102 h 77591"/>
                <a:gd name="connsiteX7" fmla="*/ 26114 w 93399"/>
                <a:gd name="connsiteY7" fmla="*/ 50102 h 77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399" h="77591">
                  <a:moveTo>
                    <a:pt x="53596" y="77592"/>
                  </a:moveTo>
                  <a:lnTo>
                    <a:pt x="93400" y="37753"/>
                  </a:lnTo>
                  <a:lnTo>
                    <a:pt x="68901" y="13247"/>
                  </a:lnTo>
                  <a:lnTo>
                    <a:pt x="50102" y="13247"/>
                  </a:lnTo>
                  <a:lnTo>
                    <a:pt x="50102" y="0"/>
                  </a:lnTo>
                  <a:lnTo>
                    <a:pt x="20051" y="30035"/>
                  </a:lnTo>
                  <a:lnTo>
                    <a:pt x="0" y="50102"/>
                  </a:lnTo>
                  <a:lnTo>
                    <a:pt x="26114" y="50102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1" name="Freeform: Shape 510">
              <a:extLst>
                <a:ext uri="{FF2B5EF4-FFF2-40B4-BE49-F238E27FC236}">
                  <a16:creationId xmlns:a16="http://schemas.microsoft.com/office/drawing/2014/main" id="{ACF715DC-443F-287D-945D-A475E5DBD248}"/>
                </a:ext>
              </a:extLst>
            </p:cNvPr>
            <p:cNvSpPr/>
            <p:nvPr/>
          </p:nvSpPr>
          <p:spPr>
            <a:xfrm>
              <a:off x="7373340" y="3948824"/>
              <a:ext cx="241810" cy="236117"/>
            </a:xfrm>
            <a:custGeom>
              <a:avLst/>
              <a:gdLst>
                <a:gd name="connsiteX0" fmla="*/ 188841 w 241810"/>
                <a:gd name="connsiteY0" fmla="*/ 0 h 236117"/>
                <a:gd name="connsiteX1" fmla="*/ 149037 w 241810"/>
                <a:gd name="connsiteY1" fmla="*/ 39838 h 236117"/>
                <a:gd name="connsiteX2" fmla="*/ 121555 w 241810"/>
                <a:gd name="connsiteY2" fmla="*/ 12349 h 236117"/>
                <a:gd name="connsiteX3" fmla="*/ 95442 w 241810"/>
                <a:gd name="connsiteY3" fmla="*/ 12349 h 236117"/>
                <a:gd name="connsiteX4" fmla="*/ 95442 w 241810"/>
                <a:gd name="connsiteY4" fmla="*/ 40291 h 236117"/>
                <a:gd name="connsiteX5" fmla="*/ 117404 w 241810"/>
                <a:gd name="connsiteY5" fmla="*/ 62286 h 236117"/>
                <a:gd name="connsiteX6" fmla="*/ 117404 w 241810"/>
                <a:gd name="connsiteY6" fmla="*/ 97164 h 236117"/>
                <a:gd name="connsiteX7" fmla="*/ 91175 w 241810"/>
                <a:gd name="connsiteY7" fmla="*/ 123394 h 236117"/>
                <a:gd name="connsiteX8" fmla="*/ 60679 w 241810"/>
                <a:gd name="connsiteY8" fmla="*/ 123394 h 236117"/>
                <a:gd name="connsiteX9" fmla="*/ 28799 w 241810"/>
                <a:gd name="connsiteY9" fmla="*/ 155290 h 236117"/>
                <a:gd name="connsiteX10" fmla="*/ 0 w 241810"/>
                <a:gd name="connsiteY10" fmla="*/ 184064 h 236117"/>
                <a:gd name="connsiteX11" fmla="*/ 52079 w 241810"/>
                <a:gd name="connsiteY11" fmla="*/ 236118 h 236117"/>
                <a:gd name="connsiteX12" fmla="*/ 84519 w 241810"/>
                <a:gd name="connsiteY12" fmla="*/ 236118 h 236117"/>
                <a:gd name="connsiteX13" fmla="*/ 173766 w 241810"/>
                <a:gd name="connsiteY13" fmla="*/ 146920 h 236117"/>
                <a:gd name="connsiteX14" fmla="*/ 204246 w 241810"/>
                <a:gd name="connsiteY14" fmla="*/ 116416 h 236117"/>
                <a:gd name="connsiteX15" fmla="*/ 204246 w 241810"/>
                <a:gd name="connsiteY15" fmla="*/ 90549 h 236117"/>
                <a:gd name="connsiteX16" fmla="*/ 241810 w 241810"/>
                <a:gd name="connsiteY16" fmla="*/ 52960 h 236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1810" h="236117">
                  <a:moveTo>
                    <a:pt x="188841" y="0"/>
                  </a:moveTo>
                  <a:lnTo>
                    <a:pt x="149037" y="39838"/>
                  </a:lnTo>
                  <a:lnTo>
                    <a:pt x="121555" y="12349"/>
                  </a:lnTo>
                  <a:lnTo>
                    <a:pt x="95442" y="12349"/>
                  </a:lnTo>
                  <a:lnTo>
                    <a:pt x="95442" y="40291"/>
                  </a:lnTo>
                  <a:lnTo>
                    <a:pt x="117404" y="62286"/>
                  </a:lnTo>
                  <a:lnTo>
                    <a:pt x="117404" y="97164"/>
                  </a:lnTo>
                  <a:lnTo>
                    <a:pt x="91175" y="123394"/>
                  </a:lnTo>
                  <a:lnTo>
                    <a:pt x="60679" y="123394"/>
                  </a:lnTo>
                  <a:lnTo>
                    <a:pt x="28799" y="155290"/>
                  </a:lnTo>
                  <a:lnTo>
                    <a:pt x="0" y="184064"/>
                  </a:lnTo>
                  <a:lnTo>
                    <a:pt x="52079" y="236118"/>
                  </a:lnTo>
                  <a:lnTo>
                    <a:pt x="84519" y="236118"/>
                  </a:lnTo>
                  <a:lnTo>
                    <a:pt x="173766" y="146920"/>
                  </a:lnTo>
                  <a:lnTo>
                    <a:pt x="204246" y="116416"/>
                  </a:lnTo>
                  <a:lnTo>
                    <a:pt x="204246" y="90549"/>
                  </a:lnTo>
                  <a:lnTo>
                    <a:pt x="241810" y="5296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BE430509-B489-BEBD-0DA9-4A8AFA74BCAD}"/>
                </a:ext>
              </a:extLst>
            </p:cNvPr>
            <p:cNvSpPr/>
            <p:nvPr/>
          </p:nvSpPr>
          <p:spPr>
            <a:xfrm>
              <a:off x="6785398" y="3653782"/>
              <a:ext cx="705346" cy="531472"/>
            </a:xfrm>
            <a:custGeom>
              <a:avLst/>
              <a:gdLst>
                <a:gd name="connsiteX0" fmla="*/ 683384 w 705346"/>
                <a:gd name="connsiteY0" fmla="*/ 335333 h 531472"/>
                <a:gd name="connsiteX1" fmla="*/ 669381 w 705346"/>
                <a:gd name="connsiteY1" fmla="*/ 349345 h 531472"/>
                <a:gd name="connsiteX2" fmla="*/ 626725 w 705346"/>
                <a:gd name="connsiteY2" fmla="*/ 349345 h 531472"/>
                <a:gd name="connsiteX3" fmla="*/ 593890 w 705346"/>
                <a:gd name="connsiteY3" fmla="*/ 316526 h 531472"/>
                <a:gd name="connsiteX4" fmla="*/ 582077 w 705346"/>
                <a:gd name="connsiteY4" fmla="*/ 316526 h 531472"/>
                <a:gd name="connsiteX5" fmla="*/ 582077 w 705346"/>
                <a:gd name="connsiteY5" fmla="*/ 282290 h 531472"/>
                <a:gd name="connsiteX6" fmla="*/ 541828 w 705346"/>
                <a:gd name="connsiteY6" fmla="*/ 282290 h 531472"/>
                <a:gd name="connsiteX7" fmla="*/ 543311 w 705346"/>
                <a:gd name="connsiteY7" fmla="*/ 235302 h 531472"/>
                <a:gd name="connsiteX8" fmla="*/ 543311 w 705346"/>
                <a:gd name="connsiteY8" fmla="*/ 193067 h 531472"/>
                <a:gd name="connsiteX9" fmla="*/ 456435 w 705346"/>
                <a:gd name="connsiteY9" fmla="*/ 106192 h 531472"/>
                <a:gd name="connsiteX10" fmla="*/ 473273 w 705346"/>
                <a:gd name="connsiteY10" fmla="*/ 89330 h 531472"/>
                <a:gd name="connsiteX11" fmla="*/ 424522 w 705346"/>
                <a:gd name="connsiteY11" fmla="*/ 89330 h 531472"/>
                <a:gd name="connsiteX12" fmla="*/ 424522 w 705346"/>
                <a:gd name="connsiteY12" fmla="*/ 123557 h 531472"/>
                <a:gd name="connsiteX13" fmla="*/ 389826 w 705346"/>
                <a:gd name="connsiteY13" fmla="*/ 123557 h 531472"/>
                <a:gd name="connsiteX14" fmla="*/ 372032 w 705346"/>
                <a:gd name="connsiteY14" fmla="*/ 105747 h 531472"/>
                <a:gd name="connsiteX15" fmla="*/ 344304 w 705346"/>
                <a:gd name="connsiteY15" fmla="*/ 105747 h 531472"/>
                <a:gd name="connsiteX16" fmla="*/ 328849 w 705346"/>
                <a:gd name="connsiteY16" fmla="*/ 90310 h 531472"/>
                <a:gd name="connsiteX17" fmla="*/ 328849 w 705346"/>
                <a:gd name="connsiteY17" fmla="*/ 65515 h 531472"/>
                <a:gd name="connsiteX18" fmla="*/ 253475 w 705346"/>
                <a:gd name="connsiteY18" fmla="*/ 65515 h 531472"/>
                <a:gd name="connsiteX19" fmla="*/ 222912 w 705346"/>
                <a:gd name="connsiteY19" fmla="*/ 34969 h 531472"/>
                <a:gd name="connsiteX20" fmla="*/ 187968 w 705346"/>
                <a:gd name="connsiteY20" fmla="*/ 0 h 531472"/>
                <a:gd name="connsiteX21" fmla="*/ 163420 w 705346"/>
                <a:gd name="connsiteY21" fmla="*/ 24532 h 531472"/>
                <a:gd name="connsiteX22" fmla="*/ 124175 w 705346"/>
                <a:gd name="connsiteY22" fmla="*/ 24532 h 531472"/>
                <a:gd name="connsiteX23" fmla="*/ 124175 w 705346"/>
                <a:gd name="connsiteY23" fmla="*/ 57664 h 531472"/>
                <a:gd name="connsiteX24" fmla="*/ 96431 w 705346"/>
                <a:gd name="connsiteY24" fmla="*/ 57664 h 531472"/>
                <a:gd name="connsiteX25" fmla="*/ 70663 w 705346"/>
                <a:gd name="connsiteY25" fmla="*/ 83431 h 531472"/>
                <a:gd name="connsiteX26" fmla="*/ 39343 w 705346"/>
                <a:gd name="connsiteY26" fmla="*/ 83431 h 531472"/>
                <a:gd name="connsiteX27" fmla="*/ 0 w 705346"/>
                <a:gd name="connsiteY27" fmla="*/ 83431 h 531472"/>
                <a:gd name="connsiteX28" fmla="*/ 0 w 705346"/>
                <a:gd name="connsiteY28" fmla="*/ 98210 h 531472"/>
                <a:gd name="connsiteX29" fmla="*/ 44335 w 705346"/>
                <a:gd name="connsiteY29" fmla="*/ 142562 h 531472"/>
                <a:gd name="connsiteX30" fmla="*/ 73711 w 705346"/>
                <a:gd name="connsiteY30" fmla="*/ 142562 h 531472"/>
                <a:gd name="connsiteX31" fmla="*/ 120072 w 705346"/>
                <a:gd name="connsiteY31" fmla="*/ 188940 h 531472"/>
                <a:gd name="connsiteX32" fmla="*/ 120072 w 705346"/>
                <a:gd name="connsiteY32" fmla="*/ 261127 h 531472"/>
                <a:gd name="connsiteX33" fmla="*/ 189616 w 705346"/>
                <a:gd name="connsiteY33" fmla="*/ 330711 h 531472"/>
                <a:gd name="connsiteX34" fmla="*/ 189616 w 705346"/>
                <a:gd name="connsiteY34" fmla="*/ 387914 h 531472"/>
                <a:gd name="connsiteX35" fmla="*/ 306608 w 705346"/>
                <a:gd name="connsiteY35" fmla="*/ 504898 h 531472"/>
                <a:gd name="connsiteX36" fmla="*/ 306608 w 705346"/>
                <a:gd name="connsiteY36" fmla="*/ 531472 h 531472"/>
                <a:gd name="connsiteX37" fmla="*/ 331107 w 705346"/>
                <a:gd name="connsiteY37" fmla="*/ 506982 h 531472"/>
                <a:gd name="connsiteX38" fmla="*/ 374734 w 705346"/>
                <a:gd name="connsiteY38" fmla="*/ 506982 h 531472"/>
                <a:gd name="connsiteX39" fmla="*/ 410287 w 705346"/>
                <a:gd name="connsiteY39" fmla="*/ 506982 h 531472"/>
                <a:gd name="connsiteX40" fmla="*/ 434095 w 705346"/>
                <a:gd name="connsiteY40" fmla="*/ 530748 h 531472"/>
                <a:gd name="connsiteX41" fmla="*/ 448115 w 705346"/>
                <a:gd name="connsiteY41" fmla="*/ 530748 h 531472"/>
                <a:gd name="connsiteX42" fmla="*/ 482417 w 705346"/>
                <a:gd name="connsiteY42" fmla="*/ 496454 h 531472"/>
                <a:gd name="connsiteX43" fmla="*/ 499749 w 705346"/>
                <a:gd name="connsiteY43" fmla="*/ 479105 h 531472"/>
                <a:gd name="connsiteX44" fmla="*/ 536919 w 705346"/>
                <a:gd name="connsiteY44" fmla="*/ 479105 h 531472"/>
                <a:gd name="connsiteX45" fmla="*/ 587943 w 705346"/>
                <a:gd name="connsiteY45" fmla="*/ 479105 h 531472"/>
                <a:gd name="connsiteX46" fmla="*/ 616741 w 705346"/>
                <a:gd name="connsiteY46" fmla="*/ 450331 h 531472"/>
                <a:gd name="connsiteX47" fmla="*/ 648621 w 705346"/>
                <a:gd name="connsiteY47" fmla="*/ 418435 h 531472"/>
                <a:gd name="connsiteX48" fmla="*/ 679118 w 705346"/>
                <a:gd name="connsiteY48" fmla="*/ 418435 h 531472"/>
                <a:gd name="connsiteX49" fmla="*/ 705347 w 705346"/>
                <a:gd name="connsiteY49" fmla="*/ 392206 h 531472"/>
                <a:gd name="connsiteX50" fmla="*/ 705347 w 705346"/>
                <a:gd name="connsiteY50" fmla="*/ 357327 h 531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05346" h="531472">
                  <a:moveTo>
                    <a:pt x="683384" y="335333"/>
                  </a:moveTo>
                  <a:lnTo>
                    <a:pt x="669381" y="349345"/>
                  </a:lnTo>
                  <a:lnTo>
                    <a:pt x="626725" y="349345"/>
                  </a:lnTo>
                  <a:lnTo>
                    <a:pt x="593890" y="316526"/>
                  </a:lnTo>
                  <a:lnTo>
                    <a:pt x="582077" y="316526"/>
                  </a:lnTo>
                  <a:lnTo>
                    <a:pt x="582077" y="282290"/>
                  </a:lnTo>
                  <a:lnTo>
                    <a:pt x="541828" y="282290"/>
                  </a:lnTo>
                  <a:lnTo>
                    <a:pt x="543311" y="235302"/>
                  </a:lnTo>
                  <a:lnTo>
                    <a:pt x="543311" y="193067"/>
                  </a:lnTo>
                  <a:lnTo>
                    <a:pt x="456435" y="106192"/>
                  </a:lnTo>
                  <a:lnTo>
                    <a:pt x="473273" y="89330"/>
                  </a:lnTo>
                  <a:lnTo>
                    <a:pt x="424522" y="89330"/>
                  </a:lnTo>
                  <a:lnTo>
                    <a:pt x="424522" y="123557"/>
                  </a:lnTo>
                  <a:lnTo>
                    <a:pt x="389826" y="123557"/>
                  </a:lnTo>
                  <a:lnTo>
                    <a:pt x="372032" y="105747"/>
                  </a:lnTo>
                  <a:lnTo>
                    <a:pt x="344304" y="105747"/>
                  </a:lnTo>
                  <a:lnTo>
                    <a:pt x="328849" y="90310"/>
                  </a:lnTo>
                  <a:lnTo>
                    <a:pt x="328849" y="65515"/>
                  </a:lnTo>
                  <a:lnTo>
                    <a:pt x="253475" y="65515"/>
                  </a:lnTo>
                  <a:lnTo>
                    <a:pt x="222912" y="34969"/>
                  </a:lnTo>
                  <a:lnTo>
                    <a:pt x="187968" y="0"/>
                  </a:lnTo>
                  <a:lnTo>
                    <a:pt x="163420" y="24532"/>
                  </a:lnTo>
                  <a:lnTo>
                    <a:pt x="124175" y="24532"/>
                  </a:lnTo>
                  <a:lnTo>
                    <a:pt x="124175" y="57664"/>
                  </a:lnTo>
                  <a:lnTo>
                    <a:pt x="96431" y="57664"/>
                  </a:lnTo>
                  <a:lnTo>
                    <a:pt x="70663" y="83431"/>
                  </a:lnTo>
                  <a:lnTo>
                    <a:pt x="39343" y="83431"/>
                  </a:lnTo>
                  <a:lnTo>
                    <a:pt x="0" y="83431"/>
                  </a:lnTo>
                  <a:lnTo>
                    <a:pt x="0" y="98210"/>
                  </a:lnTo>
                  <a:lnTo>
                    <a:pt x="44335" y="142562"/>
                  </a:lnTo>
                  <a:lnTo>
                    <a:pt x="73711" y="142562"/>
                  </a:lnTo>
                  <a:lnTo>
                    <a:pt x="120072" y="188940"/>
                  </a:lnTo>
                  <a:lnTo>
                    <a:pt x="120072" y="261127"/>
                  </a:lnTo>
                  <a:lnTo>
                    <a:pt x="189616" y="330711"/>
                  </a:lnTo>
                  <a:lnTo>
                    <a:pt x="189616" y="387914"/>
                  </a:lnTo>
                  <a:lnTo>
                    <a:pt x="306608" y="504898"/>
                  </a:lnTo>
                  <a:lnTo>
                    <a:pt x="306608" y="531472"/>
                  </a:lnTo>
                  <a:lnTo>
                    <a:pt x="331107" y="506982"/>
                  </a:lnTo>
                  <a:lnTo>
                    <a:pt x="374734" y="506982"/>
                  </a:lnTo>
                  <a:lnTo>
                    <a:pt x="410287" y="506982"/>
                  </a:lnTo>
                  <a:lnTo>
                    <a:pt x="434095" y="530748"/>
                  </a:lnTo>
                  <a:lnTo>
                    <a:pt x="448115" y="530748"/>
                  </a:lnTo>
                  <a:lnTo>
                    <a:pt x="482417" y="496454"/>
                  </a:lnTo>
                  <a:lnTo>
                    <a:pt x="499749" y="479105"/>
                  </a:lnTo>
                  <a:lnTo>
                    <a:pt x="536919" y="479105"/>
                  </a:lnTo>
                  <a:lnTo>
                    <a:pt x="587943" y="479105"/>
                  </a:lnTo>
                  <a:lnTo>
                    <a:pt x="616741" y="450331"/>
                  </a:lnTo>
                  <a:lnTo>
                    <a:pt x="648621" y="418435"/>
                  </a:lnTo>
                  <a:lnTo>
                    <a:pt x="679118" y="418435"/>
                  </a:lnTo>
                  <a:lnTo>
                    <a:pt x="705347" y="392206"/>
                  </a:lnTo>
                  <a:lnTo>
                    <a:pt x="705347" y="357327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1F95419F-EFCB-4674-D895-41C97EB6806F}"/>
                </a:ext>
              </a:extLst>
            </p:cNvPr>
            <p:cNvSpPr/>
            <p:nvPr/>
          </p:nvSpPr>
          <p:spPr>
            <a:xfrm>
              <a:off x="6973366" y="3465237"/>
              <a:ext cx="299919" cy="312102"/>
            </a:xfrm>
            <a:custGeom>
              <a:avLst/>
              <a:gdLst>
                <a:gd name="connsiteX0" fmla="*/ 65506 w 299919"/>
                <a:gd name="connsiteY0" fmla="*/ 254060 h 312102"/>
                <a:gd name="connsiteX1" fmla="*/ 140881 w 299919"/>
                <a:gd name="connsiteY1" fmla="*/ 254060 h 312102"/>
                <a:gd name="connsiteX2" fmla="*/ 140881 w 299919"/>
                <a:gd name="connsiteY2" fmla="*/ 278855 h 312102"/>
                <a:gd name="connsiteX3" fmla="*/ 156336 w 299919"/>
                <a:gd name="connsiteY3" fmla="*/ 294293 h 312102"/>
                <a:gd name="connsiteX4" fmla="*/ 184064 w 299919"/>
                <a:gd name="connsiteY4" fmla="*/ 294293 h 312102"/>
                <a:gd name="connsiteX5" fmla="*/ 201858 w 299919"/>
                <a:gd name="connsiteY5" fmla="*/ 312102 h 312102"/>
                <a:gd name="connsiteX6" fmla="*/ 236554 w 299919"/>
                <a:gd name="connsiteY6" fmla="*/ 312102 h 312102"/>
                <a:gd name="connsiteX7" fmla="*/ 236554 w 299919"/>
                <a:gd name="connsiteY7" fmla="*/ 277875 h 312102"/>
                <a:gd name="connsiteX8" fmla="*/ 285305 w 299919"/>
                <a:gd name="connsiteY8" fmla="*/ 277875 h 312102"/>
                <a:gd name="connsiteX9" fmla="*/ 299919 w 299919"/>
                <a:gd name="connsiteY9" fmla="*/ 263270 h 312102"/>
                <a:gd name="connsiteX10" fmla="*/ 253376 w 299919"/>
                <a:gd name="connsiteY10" fmla="*/ 216735 h 312102"/>
                <a:gd name="connsiteX11" fmla="*/ 253376 w 299919"/>
                <a:gd name="connsiteY11" fmla="*/ 185077 h 312102"/>
                <a:gd name="connsiteX12" fmla="*/ 230722 w 299919"/>
                <a:gd name="connsiteY12" fmla="*/ 162432 h 312102"/>
                <a:gd name="connsiteX13" fmla="*/ 198924 w 299919"/>
                <a:gd name="connsiteY13" fmla="*/ 130626 h 312102"/>
                <a:gd name="connsiteX14" fmla="*/ 178610 w 299919"/>
                <a:gd name="connsiteY14" fmla="*/ 110295 h 312102"/>
                <a:gd name="connsiteX15" fmla="*/ 229486 w 299919"/>
                <a:gd name="connsiteY15" fmla="*/ 59402 h 312102"/>
                <a:gd name="connsiteX16" fmla="*/ 178890 w 299919"/>
                <a:gd name="connsiteY16" fmla="*/ 8798 h 312102"/>
                <a:gd name="connsiteX17" fmla="*/ 178890 w 299919"/>
                <a:gd name="connsiteY17" fmla="*/ 0 h 312102"/>
                <a:gd name="connsiteX18" fmla="*/ 122082 w 299919"/>
                <a:gd name="connsiteY18" fmla="*/ 0 h 312102"/>
                <a:gd name="connsiteX19" fmla="*/ 106019 w 299919"/>
                <a:gd name="connsiteY19" fmla="*/ 16047 h 312102"/>
                <a:gd name="connsiteX20" fmla="*/ 97435 w 299919"/>
                <a:gd name="connsiteY20" fmla="*/ 16047 h 312102"/>
                <a:gd name="connsiteX21" fmla="*/ 97435 w 299919"/>
                <a:gd name="connsiteY21" fmla="*/ 35900 h 312102"/>
                <a:gd name="connsiteX22" fmla="*/ 84305 w 299919"/>
                <a:gd name="connsiteY22" fmla="*/ 49031 h 312102"/>
                <a:gd name="connsiteX23" fmla="*/ 84305 w 299919"/>
                <a:gd name="connsiteY23" fmla="*/ 73926 h 312102"/>
                <a:gd name="connsiteX24" fmla="*/ 53924 w 299919"/>
                <a:gd name="connsiteY24" fmla="*/ 104298 h 312102"/>
                <a:gd name="connsiteX25" fmla="*/ 53924 w 299919"/>
                <a:gd name="connsiteY25" fmla="*/ 116646 h 312102"/>
                <a:gd name="connsiteX26" fmla="*/ 10313 w 299919"/>
                <a:gd name="connsiteY26" fmla="*/ 160240 h 312102"/>
                <a:gd name="connsiteX27" fmla="*/ 3542 w 299919"/>
                <a:gd name="connsiteY27" fmla="*/ 167011 h 312102"/>
                <a:gd name="connsiteX28" fmla="*/ 0 w 299919"/>
                <a:gd name="connsiteY28" fmla="*/ 167011 h 312102"/>
                <a:gd name="connsiteX29" fmla="*/ 0 w 299919"/>
                <a:gd name="connsiteY29" fmla="*/ 188545 h 312102"/>
                <a:gd name="connsiteX30" fmla="*/ 34944 w 299919"/>
                <a:gd name="connsiteY30" fmla="*/ 223514 h 312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99919" h="312102">
                  <a:moveTo>
                    <a:pt x="65506" y="254060"/>
                  </a:moveTo>
                  <a:lnTo>
                    <a:pt x="140881" y="254060"/>
                  </a:lnTo>
                  <a:lnTo>
                    <a:pt x="140881" y="278855"/>
                  </a:lnTo>
                  <a:lnTo>
                    <a:pt x="156336" y="294293"/>
                  </a:lnTo>
                  <a:lnTo>
                    <a:pt x="184064" y="294293"/>
                  </a:lnTo>
                  <a:lnTo>
                    <a:pt x="201858" y="312102"/>
                  </a:lnTo>
                  <a:lnTo>
                    <a:pt x="236554" y="312102"/>
                  </a:lnTo>
                  <a:lnTo>
                    <a:pt x="236554" y="277875"/>
                  </a:lnTo>
                  <a:lnTo>
                    <a:pt x="285305" y="277875"/>
                  </a:lnTo>
                  <a:lnTo>
                    <a:pt x="299919" y="263270"/>
                  </a:lnTo>
                  <a:lnTo>
                    <a:pt x="253376" y="216735"/>
                  </a:lnTo>
                  <a:lnTo>
                    <a:pt x="253376" y="185077"/>
                  </a:lnTo>
                  <a:lnTo>
                    <a:pt x="230722" y="162432"/>
                  </a:lnTo>
                  <a:lnTo>
                    <a:pt x="198924" y="130626"/>
                  </a:lnTo>
                  <a:lnTo>
                    <a:pt x="178610" y="110295"/>
                  </a:lnTo>
                  <a:lnTo>
                    <a:pt x="229486" y="59402"/>
                  </a:lnTo>
                  <a:lnTo>
                    <a:pt x="178890" y="8798"/>
                  </a:lnTo>
                  <a:lnTo>
                    <a:pt x="178890" y="0"/>
                  </a:lnTo>
                  <a:lnTo>
                    <a:pt x="122082" y="0"/>
                  </a:lnTo>
                  <a:lnTo>
                    <a:pt x="106019" y="16047"/>
                  </a:lnTo>
                  <a:lnTo>
                    <a:pt x="97435" y="16047"/>
                  </a:lnTo>
                  <a:lnTo>
                    <a:pt x="97435" y="35900"/>
                  </a:lnTo>
                  <a:lnTo>
                    <a:pt x="84305" y="49031"/>
                  </a:lnTo>
                  <a:lnTo>
                    <a:pt x="84305" y="73926"/>
                  </a:lnTo>
                  <a:lnTo>
                    <a:pt x="53924" y="104298"/>
                  </a:lnTo>
                  <a:lnTo>
                    <a:pt x="53924" y="116646"/>
                  </a:lnTo>
                  <a:lnTo>
                    <a:pt x="10313" y="160240"/>
                  </a:lnTo>
                  <a:lnTo>
                    <a:pt x="3542" y="167011"/>
                  </a:lnTo>
                  <a:lnTo>
                    <a:pt x="0" y="167011"/>
                  </a:lnTo>
                  <a:lnTo>
                    <a:pt x="0" y="188545"/>
                  </a:lnTo>
                  <a:lnTo>
                    <a:pt x="34944" y="223514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FA3EC174-B71D-50B6-770A-50092AAA919A}"/>
                </a:ext>
              </a:extLst>
            </p:cNvPr>
            <p:cNvSpPr/>
            <p:nvPr/>
          </p:nvSpPr>
          <p:spPr>
            <a:xfrm>
              <a:off x="3741124" y="900938"/>
              <a:ext cx="866966" cy="1394674"/>
            </a:xfrm>
            <a:custGeom>
              <a:avLst/>
              <a:gdLst>
                <a:gd name="connsiteX0" fmla="*/ 497076 w 866966"/>
                <a:gd name="connsiteY0" fmla="*/ 1394674 h 1394674"/>
                <a:gd name="connsiteX1" fmla="*/ 459060 w 866966"/>
                <a:gd name="connsiteY1" fmla="*/ 1356653 h 1394674"/>
                <a:gd name="connsiteX2" fmla="*/ 435281 w 866966"/>
                <a:gd name="connsiteY2" fmla="*/ 1356653 h 1394674"/>
                <a:gd name="connsiteX3" fmla="*/ 387935 w 866966"/>
                <a:gd name="connsiteY3" fmla="*/ 1309311 h 1394674"/>
                <a:gd name="connsiteX4" fmla="*/ 353551 w 866966"/>
                <a:gd name="connsiteY4" fmla="*/ 1309311 h 1394674"/>
                <a:gd name="connsiteX5" fmla="*/ 332524 w 866966"/>
                <a:gd name="connsiteY5" fmla="*/ 1288293 h 1394674"/>
                <a:gd name="connsiteX6" fmla="*/ 332524 w 866966"/>
                <a:gd name="connsiteY6" fmla="*/ 1248332 h 1394674"/>
                <a:gd name="connsiteX7" fmla="*/ 302127 w 866966"/>
                <a:gd name="connsiteY7" fmla="*/ 1217922 h 1394674"/>
                <a:gd name="connsiteX8" fmla="*/ 302127 w 866966"/>
                <a:gd name="connsiteY8" fmla="*/ 1137299 h 1394674"/>
                <a:gd name="connsiteX9" fmla="*/ 315587 w 866966"/>
                <a:gd name="connsiteY9" fmla="*/ 1123831 h 1394674"/>
                <a:gd name="connsiteX10" fmla="*/ 338162 w 866966"/>
                <a:gd name="connsiteY10" fmla="*/ 1101263 h 1394674"/>
                <a:gd name="connsiteX11" fmla="*/ 338162 w 866966"/>
                <a:gd name="connsiteY11" fmla="*/ 1053757 h 1394674"/>
                <a:gd name="connsiteX12" fmla="*/ 338162 w 866966"/>
                <a:gd name="connsiteY12" fmla="*/ 1015274 h 1394674"/>
                <a:gd name="connsiteX13" fmla="*/ 313169 w 866966"/>
                <a:gd name="connsiteY13" fmla="*/ 990281 h 1394674"/>
                <a:gd name="connsiteX14" fmla="*/ 329579 w 866966"/>
                <a:gd name="connsiteY14" fmla="*/ 990281 h 1394674"/>
                <a:gd name="connsiteX15" fmla="*/ 294478 w 866966"/>
                <a:gd name="connsiteY15" fmla="*/ 955189 h 1394674"/>
                <a:gd name="connsiteX16" fmla="*/ 280363 w 866966"/>
                <a:gd name="connsiteY16" fmla="*/ 969312 h 1394674"/>
                <a:gd name="connsiteX17" fmla="*/ 263125 w 866966"/>
                <a:gd name="connsiteY17" fmla="*/ 952074 h 1394674"/>
                <a:gd name="connsiteX18" fmla="*/ 263125 w 866966"/>
                <a:gd name="connsiteY18" fmla="*/ 915252 h 1394674"/>
                <a:gd name="connsiteX19" fmla="*/ 294436 w 866966"/>
                <a:gd name="connsiteY19" fmla="*/ 883941 h 1394674"/>
                <a:gd name="connsiteX20" fmla="*/ 294436 w 866966"/>
                <a:gd name="connsiteY20" fmla="*/ 863321 h 1394674"/>
                <a:gd name="connsiteX21" fmla="*/ 257911 w 866966"/>
                <a:gd name="connsiteY21" fmla="*/ 826791 h 1394674"/>
                <a:gd name="connsiteX22" fmla="*/ 229268 w 866966"/>
                <a:gd name="connsiteY22" fmla="*/ 826791 h 1394674"/>
                <a:gd name="connsiteX23" fmla="*/ 229268 w 866966"/>
                <a:gd name="connsiteY23" fmla="*/ 785779 h 1394674"/>
                <a:gd name="connsiteX24" fmla="*/ 205094 w 866966"/>
                <a:gd name="connsiteY24" fmla="*/ 761594 h 1394674"/>
                <a:gd name="connsiteX25" fmla="*/ 183911 w 866966"/>
                <a:gd name="connsiteY25" fmla="*/ 740423 h 1394674"/>
                <a:gd name="connsiteX26" fmla="*/ 183911 w 866966"/>
                <a:gd name="connsiteY26" fmla="*/ 707204 h 1394674"/>
                <a:gd name="connsiteX27" fmla="*/ 159775 w 866966"/>
                <a:gd name="connsiteY27" fmla="*/ 683064 h 1394674"/>
                <a:gd name="connsiteX28" fmla="*/ 109253 w 866966"/>
                <a:gd name="connsiteY28" fmla="*/ 683064 h 1394674"/>
                <a:gd name="connsiteX29" fmla="*/ 75503 w 866966"/>
                <a:gd name="connsiteY29" fmla="*/ 716814 h 1394674"/>
                <a:gd name="connsiteX30" fmla="*/ 48281 w 866966"/>
                <a:gd name="connsiteY30" fmla="*/ 716814 h 1394674"/>
                <a:gd name="connsiteX31" fmla="*/ 17538 w 866966"/>
                <a:gd name="connsiteY31" fmla="*/ 686074 h 1394674"/>
                <a:gd name="connsiteX32" fmla="*/ 38993 w 866966"/>
                <a:gd name="connsiteY32" fmla="*/ 664624 h 1394674"/>
                <a:gd name="connsiteX33" fmla="*/ 1532 w 866966"/>
                <a:gd name="connsiteY33" fmla="*/ 664624 h 1394674"/>
                <a:gd name="connsiteX34" fmla="*/ 37214 w 866966"/>
                <a:gd name="connsiteY34" fmla="*/ 628933 h 1394674"/>
                <a:gd name="connsiteX35" fmla="*/ 91941 w 866966"/>
                <a:gd name="connsiteY35" fmla="*/ 628933 h 1394674"/>
                <a:gd name="connsiteX36" fmla="*/ 91941 w 866966"/>
                <a:gd name="connsiteY36" fmla="*/ 604014 h 1394674"/>
                <a:gd name="connsiteX37" fmla="*/ 30385 w 866966"/>
                <a:gd name="connsiteY37" fmla="*/ 604014 h 1394674"/>
                <a:gd name="connsiteX38" fmla="*/ 0 w 866966"/>
                <a:gd name="connsiteY38" fmla="*/ 573617 h 1394674"/>
                <a:gd name="connsiteX39" fmla="*/ 0 w 866966"/>
                <a:gd name="connsiteY39" fmla="*/ 545691 h 1394674"/>
                <a:gd name="connsiteX40" fmla="*/ 46819 w 866966"/>
                <a:gd name="connsiteY40" fmla="*/ 498872 h 1394674"/>
                <a:gd name="connsiteX41" fmla="*/ 69378 w 866966"/>
                <a:gd name="connsiteY41" fmla="*/ 476301 h 1394674"/>
                <a:gd name="connsiteX42" fmla="*/ 69378 w 866966"/>
                <a:gd name="connsiteY42" fmla="*/ 429725 h 1394674"/>
                <a:gd name="connsiteX43" fmla="*/ 48677 w 866966"/>
                <a:gd name="connsiteY43" fmla="*/ 409019 h 1394674"/>
                <a:gd name="connsiteX44" fmla="*/ 48677 w 866966"/>
                <a:gd name="connsiteY44" fmla="*/ 388688 h 1394674"/>
                <a:gd name="connsiteX45" fmla="*/ 84054 w 866966"/>
                <a:gd name="connsiteY45" fmla="*/ 353299 h 1394674"/>
                <a:gd name="connsiteX46" fmla="*/ 84054 w 866966"/>
                <a:gd name="connsiteY46" fmla="*/ 311732 h 1394674"/>
                <a:gd name="connsiteX47" fmla="*/ 160537 w 866966"/>
                <a:gd name="connsiteY47" fmla="*/ 235249 h 1394674"/>
                <a:gd name="connsiteX48" fmla="*/ 190435 w 866966"/>
                <a:gd name="connsiteY48" fmla="*/ 235249 h 1394674"/>
                <a:gd name="connsiteX49" fmla="*/ 229227 w 866966"/>
                <a:gd name="connsiteY49" fmla="*/ 196449 h 1394674"/>
                <a:gd name="connsiteX50" fmla="*/ 280087 w 866966"/>
                <a:gd name="connsiteY50" fmla="*/ 247309 h 1394674"/>
                <a:gd name="connsiteX51" fmla="*/ 317000 w 866966"/>
                <a:gd name="connsiteY51" fmla="*/ 247309 h 1394674"/>
                <a:gd name="connsiteX52" fmla="*/ 317000 w 866966"/>
                <a:gd name="connsiteY52" fmla="*/ 216998 h 1394674"/>
                <a:gd name="connsiteX53" fmla="*/ 275646 w 866966"/>
                <a:gd name="connsiteY53" fmla="*/ 175645 h 1394674"/>
                <a:gd name="connsiteX54" fmla="*/ 315105 w 866966"/>
                <a:gd name="connsiteY54" fmla="*/ 175645 h 1394674"/>
                <a:gd name="connsiteX55" fmla="*/ 357430 w 866966"/>
                <a:gd name="connsiteY55" fmla="*/ 217962 h 1394674"/>
                <a:gd name="connsiteX56" fmla="*/ 403558 w 866966"/>
                <a:gd name="connsiteY56" fmla="*/ 217962 h 1394674"/>
                <a:gd name="connsiteX57" fmla="*/ 369964 w 866966"/>
                <a:gd name="connsiteY57" fmla="*/ 184360 h 1394674"/>
                <a:gd name="connsiteX58" fmla="*/ 389973 w 866966"/>
                <a:gd name="connsiteY58" fmla="*/ 164351 h 1394674"/>
                <a:gd name="connsiteX59" fmla="*/ 339905 w 866966"/>
                <a:gd name="connsiteY59" fmla="*/ 114303 h 1394674"/>
                <a:gd name="connsiteX60" fmla="*/ 339905 w 866966"/>
                <a:gd name="connsiteY60" fmla="*/ 74646 h 1394674"/>
                <a:gd name="connsiteX61" fmla="*/ 373243 w 866966"/>
                <a:gd name="connsiteY61" fmla="*/ 41312 h 1394674"/>
                <a:gd name="connsiteX62" fmla="*/ 418950 w 866966"/>
                <a:gd name="connsiteY62" fmla="*/ 41312 h 1394674"/>
                <a:gd name="connsiteX63" fmla="*/ 453919 w 866966"/>
                <a:gd name="connsiteY63" fmla="*/ 76282 h 1394674"/>
                <a:gd name="connsiteX64" fmla="*/ 475724 w 866966"/>
                <a:gd name="connsiteY64" fmla="*/ 54480 h 1394674"/>
                <a:gd name="connsiteX65" fmla="*/ 452675 w 866966"/>
                <a:gd name="connsiteY65" fmla="*/ 31427 h 1394674"/>
                <a:gd name="connsiteX66" fmla="*/ 484093 w 866966"/>
                <a:gd name="connsiteY66" fmla="*/ 0 h 1394674"/>
                <a:gd name="connsiteX67" fmla="*/ 513210 w 866966"/>
                <a:gd name="connsiteY67" fmla="*/ 0 h 1394674"/>
                <a:gd name="connsiteX68" fmla="*/ 555523 w 866966"/>
                <a:gd name="connsiteY68" fmla="*/ 0 h 1394674"/>
                <a:gd name="connsiteX69" fmla="*/ 580401 w 866966"/>
                <a:gd name="connsiteY69" fmla="*/ 24878 h 1394674"/>
                <a:gd name="connsiteX70" fmla="*/ 609386 w 866966"/>
                <a:gd name="connsiteY70" fmla="*/ 24878 h 1394674"/>
                <a:gd name="connsiteX71" fmla="*/ 569111 w 866966"/>
                <a:gd name="connsiteY71" fmla="*/ 65148 h 1394674"/>
                <a:gd name="connsiteX72" fmla="*/ 584504 w 866966"/>
                <a:gd name="connsiteY72" fmla="*/ 65148 h 1394674"/>
                <a:gd name="connsiteX73" fmla="*/ 626697 w 866966"/>
                <a:gd name="connsiteY73" fmla="*/ 65148 h 1394674"/>
                <a:gd name="connsiteX74" fmla="*/ 645525 w 866966"/>
                <a:gd name="connsiteY74" fmla="*/ 46329 h 1394674"/>
                <a:gd name="connsiteX75" fmla="*/ 680081 w 866966"/>
                <a:gd name="connsiteY75" fmla="*/ 80898 h 1394674"/>
                <a:gd name="connsiteX76" fmla="*/ 706949 w 866966"/>
                <a:gd name="connsiteY76" fmla="*/ 107762 h 1394674"/>
                <a:gd name="connsiteX77" fmla="*/ 706949 w 866966"/>
                <a:gd name="connsiteY77" fmla="*/ 137306 h 1394674"/>
                <a:gd name="connsiteX78" fmla="*/ 645932 w 866966"/>
                <a:gd name="connsiteY78" fmla="*/ 137306 h 1394674"/>
                <a:gd name="connsiteX79" fmla="*/ 607462 w 866966"/>
                <a:gd name="connsiteY79" fmla="*/ 137306 h 1394674"/>
                <a:gd name="connsiteX80" fmla="*/ 575314 w 866966"/>
                <a:gd name="connsiteY80" fmla="*/ 169458 h 1394674"/>
                <a:gd name="connsiteX81" fmla="*/ 575314 w 866966"/>
                <a:gd name="connsiteY81" fmla="*/ 195732 h 1394674"/>
                <a:gd name="connsiteX82" fmla="*/ 610493 w 866966"/>
                <a:gd name="connsiteY82" fmla="*/ 160562 h 1394674"/>
                <a:gd name="connsiteX83" fmla="*/ 660912 w 866966"/>
                <a:gd name="connsiteY83" fmla="*/ 160562 h 1394674"/>
                <a:gd name="connsiteX84" fmla="*/ 660912 w 866966"/>
                <a:gd name="connsiteY84" fmla="*/ 195732 h 1394674"/>
                <a:gd name="connsiteX85" fmla="*/ 632607 w 866966"/>
                <a:gd name="connsiteY85" fmla="*/ 224053 h 1394674"/>
                <a:gd name="connsiteX86" fmla="*/ 658338 w 866966"/>
                <a:gd name="connsiteY86" fmla="*/ 249784 h 1394674"/>
                <a:gd name="connsiteX87" fmla="*/ 704300 w 866966"/>
                <a:gd name="connsiteY87" fmla="*/ 203818 h 1394674"/>
                <a:gd name="connsiteX88" fmla="*/ 704300 w 866966"/>
                <a:gd name="connsiteY88" fmla="*/ 165059 h 1394674"/>
                <a:gd name="connsiteX89" fmla="*/ 740188 w 866966"/>
                <a:gd name="connsiteY89" fmla="*/ 165059 h 1394674"/>
                <a:gd name="connsiteX90" fmla="*/ 767067 w 866966"/>
                <a:gd name="connsiteY90" fmla="*/ 191943 h 1394674"/>
                <a:gd name="connsiteX91" fmla="*/ 743994 w 866966"/>
                <a:gd name="connsiteY91" fmla="*/ 215021 h 1394674"/>
                <a:gd name="connsiteX92" fmla="*/ 714111 w 866966"/>
                <a:gd name="connsiteY92" fmla="*/ 244899 h 1394674"/>
                <a:gd name="connsiteX93" fmla="*/ 735690 w 866966"/>
                <a:gd name="connsiteY93" fmla="*/ 266478 h 1394674"/>
                <a:gd name="connsiteX94" fmla="*/ 773530 w 866966"/>
                <a:gd name="connsiteY94" fmla="*/ 228634 h 1394674"/>
                <a:gd name="connsiteX95" fmla="*/ 803663 w 866966"/>
                <a:gd name="connsiteY95" fmla="*/ 228634 h 1394674"/>
                <a:gd name="connsiteX96" fmla="*/ 830144 w 866966"/>
                <a:gd name="connsiteY96" fmla="*/ 202157 h 1394674"/>
                <a:gd name="connsiteX97" fmla="*/ 866966 w 866966"/>
                <a:gd name="connsiteY97" fmla="*/ 202157 h 1394674"/>
                <a:gd name="connsiteX98" fmla="*/ 866966 w 866966"/>
                <a:gd name="connsiteY98" fmla="*/ 260988 h 1394674"/>
                <a:gd name="connsiteX99" fmla="*/ 841920 w 866966"/>
                <a:gd name="connsiteY99" fmla="*/ 286026 h 1394674"/>
                <a:gd name="connsiteX100" fmla="*/ 841920 w 866966"/>
                <a:gd name="connsiteY100" fmla="*/ 322795 h 1394674"/>
                <a:gd name="connsiteX101" fmla="*/ 808050 w 866966"/>
                <a:gd name="connsiteY101" fmla="*/ 356652 h 1394674"/>
                <a:gd name="connsiteX102" fmla="*/ 808050 w 866966"/>
                <a:gd name="connsiteY102" fmla="*/ 412681 h 1394674"/>
                <a:gd name="connsiteX103" fmla="*/ 779655 w 866966"/>
                <a:gd name="connsiteY103" fmla="*/ 441085 h 1394674"/>
                <a:gd name="connsiteX104" fmla="*/ 779655 w 866966"/>
                <a:gd name="connsiteY104" fmla="*/ 482454 h 1394674"/>
                <a:gd name="connsiteX105" fmla="*/ 749921 w 866966"/>
                <a:gd name="connsiteY105" fmla="*/ 512180 h 1394674"/>
                <a:gd name="connsiteX106" fmla="*/ 749921 w 866966"/>
                <a:gd name="connsiteY106" fmla="*/ 552232 h 1394674"/>
                <a:gd name="connsiteX107" fmla="*/ 778576 w 866966"/>
                <a:gd name="connsiteY107" fmla="*/ 580895 h 1394674"/>
                <a:gd name="connsiteX108" fmla="*/ 821416 w 866966"/>
                <a:gd name="connsiteY108" fmla="*/ 580895 h 1394674"/>
                <a:gd name="connsiteX109" fmla="*/ 821416 w 866966"/>
                <a:gd name="connsiteY109" fmla="*/ 625947 h 1394674"/>
                <a:gd name="connsiteX110" fmla="*/ 783016 w 866966"/>
                <a:gd name="connsiteY110" fmla="*/ 664347 h 1394674"/>
                <a:gd name="connsiteX111" fmla="*/ 809319 w 866966"/>
                <a:gd name="connsiteY111" fmla="*/ 664347 h 1394674"/>
                <a:gd name="connsiteX112" fmla="*/ 809319 w 866966"/>
                <a:gd name="connsiteY112" fmla="*/ 684761 h 1394674"/>
                <a:gd name="connsiteX113" fmla="*/ 773600 w 866966"/>
                <a:gd name="connsiteY113" fmla="*/ 720483 h 1394674"/>
                <a:gd name="connsiteX114" fmla="*/ 804261 w 866966"/>
                <a:gd name="connsiteY114" fmla="*/ 751148 h 1394674"/>
                <a:gd name="connsiteX115" fmla="*/ 804261 w 866966"/>
                <a:gd name="connsiteY115" fmla="*/ 785779 h 1394674"/>
                <a:gd name="connsiteX116" fmla="*/ 782727 w 866966"/>
                <a:gd name="connsiteY116" fmla="*/ 807309 h 1394674"/>
                <a:gd name="connsiteX117" fmla="*/ 767117 w 866966"/>
                <a:gd name="connsiteY117" fmla="*/ 822915 h 1394674"/>
                <a:gd name="connsiteX118" fmla="*/ 736860 w 866966"/>
                <a:gd name="connsiteY118" fmla="*/ 822915 h 1394674"/>
                <a:gd name="connsiteX119" fmla="*/ 713275 w 866966"/>
                <a:gd name="connsiteY119" fmla="*/ 846508 h 1394674"/>
                <a:gd name="connsiteX120" fmla="*/ 764955 w 866966"/>
                <a:gd name="connsiteY120" fmla="*/ 898187 h 1394674"/>
                <a:gd name="connsiteX121" fmla="*/ 764955 w 866966"/>
                <a:gd name="connsiteY121" fmla="*/ 923741 h 1394674"/>
                <a:gd name="connsiteX122" fmla="*/ 795525 w 866966"/>
                <a:gd name="connsiteY122" fmla="*/ 954319 h 1394674"/>
                <a:gd name="connsiteX123" fmla="*/ 770334 w 866966"/>
                <a:gd name="connsiteY123" fmla="*/ 979514 h 1394674"/>
                <a:gd name="connsiteX124" fmla="*/ 737700 w 866966"/>
                <a:gd name="connsiteY124" fmla="*/ 946872 h 1394674"/>
                <a:gd name="connsiteX125" fmla="*/ 713568 w 866966"/>
                <a:gd name="connsiteY125" fmla="*/ 922736 h 1394674"/>
                <a:gd name="connsiteX126" fmla="*/ 689427 w 866966"/>
                <a:gd name="connsiteY126" fmla="*/ 946872 h 1394674"/>
                <a:gd name="connsiteX127" fmla="*/ 689427 w 866966"/>
                <a:gd name="connsiteY127" fmla="*/ 972961 h 1394674"/>
                <a:gd name="connsiteX128" fmla="*/ 711776 w 866966"/>
                <a:gd name="connsiteY128" fmla="*/ 995310 h 1394674"/>
                <a:gd name="connsiteX129" fmla="*/ 757500 w 866966"/>
                <a:gd name="connsiteY129" fmla="*/ 995310 h 1394674"/>
                <a:gd name="connsiteX130" fmla="*/ 728276 w 866966"/>
                <a:gd name="connsiteY130" fmla="*/ 1024534 h 1394674"/>
                <a:gd name="connsiteX131" fmla="*/ 697866 w 866966"/>
                <a:gd name="connsiteY131" fmla="*/ 1024534 h 1394674"/>
                <a:gd name="connsiteX132" fmla="*/ 671630 w 866966"/>
                <a:gd name="connsiteY132" fmla="*/ 1050766 h 1394674"/>
                <a:gd name="connsiteX133" fmla="*/ 620746 w 866966"/>
                <a:gd name="connsiteY133" fmla="*/ 1101655 h 1394674"/>
                <a:gd name="connsiteX134" fmla="*/ 620746 w 866966"/>
                <a:gd name="connsiteY134" fmla="*/ 1137299 h 1394674"/>
                <a:gd name="connsiteX135" fmla="*/ 577571 w 866966"/>
                <a:gd name="connsiteY135" fmla="*/ 1180465 h 1394674"/>
                <a:gd name="connsiteX136" fmla="*/ 545411 w 866966"/>
                <a:gd name="connsiteY136" fmla="*/ 1212634 h 1394674"/>
                <a:gd name="connsiteX137" fmla="*/ 545411 w 866966"/>
                <a:gd name="connsiteY137" fmla="*/ 1240201 h 1394674"/>
                <a:gd name="connsiteX138" fmla="*/ 520241 w 866966"/>
                <a:gd name="connsiteY138" fmla="*/ 1265375 h 1394674"/>
                <a:gd name="connsiteX139" fmla="*/ 520241 w 866966"/>
                <a:gd name="connsiteY139" fmla="*/ 1299776 h 1394674"/>
                <a:gd name="connsiteX140" fmla="*/ 496018 w 866966"/>
                <a:gd name="connsiteY140" fmla="*/ 1323992 h 1394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</a:cxnLst>
              <a:rect l="l" t="t" r="r" b="b"/>
              <a:pathLst>
                <a:path w="866966" h="1394674">
                  <a:moveTo>
                    <a:pt x="497076" y="1394674"/>
                  </a:moveTo>
                  <a:lnTo>
                    <a:pt x="459060" y="1356653"/>
                  </a:lnTo>
                  <a:lnTo>
                    <a:pt x="435281" y="1356653"/>
                  </a:lnTo>
                  <a:lnTo>
                    <a:pt x="387935" y="1309311"/>
                  </a:lnTo>
                  <a:lnTo>
                    <a:pt x="353551" y="1309311"/>
                  </a:lnTo>
                  <a:lnTo>
                    <a:pt x="332524" y="1288293"/>
                  </a:lnTo>
                  <a:lnTo>
                    <a:pt x="332524" y="1248332"/>
                  </a:lnTo>
                  <a:lnTo>
                    <a:pt x="302127" y="1217922"/>
                  </a:lnTo>
                  <a:lnTo>
                    <a:pt x="302127" y="1137299"/>
                  </a:lnTo>
                  <a:lnTo>
                    <a:pt x="315587" y="1123831"/>
                  </a:lnTo>
                  <a:lnTo>
                    <a:pt x="338162" y="1101263"/>
                  </a:lnTo>
                  <a:lnTo>
                    <a:pt x="338162" y="1053757"/>
                  </a:lnTo>
                  <a:lnTo>
                    <a:pt x="338162" y="1015274"/>
                  </a:lnTo>
                  <a:lnTo>
                    <a:pt x="313169" y="990281"/>
                  </a:lnTo>
                  <a:lnTo>
                    <a:pt x="329579" y="990281"/>
                  </a:lnTo>
                  <a:lnTo>
                    <a:pt x="294478" y="955189"/>
                  </a:lnTo>
                  <a:lnTo>
                    <a:pt x="280363" y="969312"/>
                  </a:lnTo>
                  <a:lnTo>
                    <a:pt x="263125" y="952074"/>
                  </a:lnTo>
                  <a:lnTo>
                    <a:pt x="263125" y="915252"/>
                  </a:lnTo>
                  <a:lnTo>
                    <a:pt x="294436" y="883941"/>
                  </a:lnTo>
                  <a:lnTo>
                    <a:pt x="294436" y="863321"/>
                  </a:lnTo>
                  <a:lnTo>
                    <a:pt x="257911" y="826791"/>
                  </a:lnTo>
                  <a:lnTo>
                    <a:pt x="229268" y="826791"/>
                  </a:lnTo>
                  <a:lnTo>
                    <a:pt x="229268" y="785779"/>
                  </a:lnTo>
                  <a:lnTo>
                    <a:pt x="205094" y="761594"/>
                  </a:lnTo>
                  <a:lnTo>
                    <a:pt x="183911" y="740423"/>
                  </a:lnTo>
                  <a:lnTo>
                    <a:pt x="183911" y="707204"/>
                  </a:lnTo>
                  <a:lnTo>
                    <a:pt x="159775" y="683064"/>
                  </a:lnTo>
                  <a:lnTo>
                    <a:pt x="109253" y="683064"/>
                  </a:lnTo>
                  <a:lnTo>
                    <a:pt x="75503" y="716814"/>
                  </a:lnTo>
                  <a:lnTo>
                    <a:pt x="48281" y="716814"/>
                  </a:lnTo>
                  <a:lnTo>
                    <a:pt x="17538" y="686074"/>
                  </a:lnTo>
                  <a:lnTo>
                    <a:pt x="38993" y="664624"/>
                  </a:lnTo>
                  <a:lnTo>
                    <a:pt x="1532" y="664624"/>
                  </a:lnTo>
                  <a:lnTo>
                    <a:pt x="37214" y="628933"/>
                  </a:lnTo>
                  <a:lnTo>
                    <a:pt x="91941" y="628933"/>
                  </a:lnTo>
                  <a:lnTo>
                    <a:pt x="91941" y="604014"/>
                  </a:lnTo>
                  <a:lnTo>
                    <a:pt x="30385" y="604014"/>
                  </a:lnTo>
                  <a:lnTo>
                    <a:pt x="0" y="573617"/>
                  </a:lnTo>
                  <a:lnTo>
                    <a:pt x="0" y="545691"/>
                  </a:lnTo>
                  <a:lnTo>
                    <a:pt x="46819" y="498872"/>
                  </a:lnTo>
                  <a:lnTo>
                    <a:pt x="69378" y="476301"/>
                  </a:lnTo>
                  <a:lnTo>
                    <a:pt x="69378" y="429725"/>
                  </a:lnTo>
                  <a:lnTo>
                    <a:pt x="48677" y="409019"/>
                  </a:lnTo>
                  <a:lnTo>
                    <a:pt x="48677" y="388688"/>
                  </a:lnTo>
                  <a:lnTo>
                    <a:pt x="84054" y="353299"/>
                  </a:lnTo>
                  <a:lnTo>
                    <a:pt x="84054" y="311732"/>
                  </a:lnTo>
                  <a:lnTo>
                    <a:pt x="160537" y="235249"/>
                  </a:lnTo>
                  <a:lnTo>
                    <a:pt x="190435" y="235249"/>
                  </a:lnTo>
                  <a:lnTo>
                    <a:pt x="229227" y="196449"/>
                  </a:lnTo>
                  <a:lnTo>
                    <a:pt x="280087" y="247309"/>
                  </a:lnTo>
                  <a:lnTo>
                    <a:pt x="317000" y="247309"/>
                  </a:lnTo>
                  <a:lnTo>
                    <a:pt x="317000" y="216998"/>
                  </a:lnTo>
                  <a:lnTo>
                    <a:pt x="275646" y="175645"/>
                  </a:lnTo>
                  <a:lnTo>
                    <a:pt x="315105" y="175645"/>
                  </a:lnTo>
                  <a:lnTo>
                    <a:pt x="357430" y="217962"/>
                  </a:lnTo>
                  <a:lnTo>
                    <a:pt x="403558" y="217962"/>
                  </a:lnTo>
                  <a:lnTo>
                    <a:pt x="369964" y="184360"/>
                  </a:lnTo>
                  <a:lnTo>
                    <a:pt x="389973" y="164351"/>
                  </a:lnTo>
                  <a:lnTo>
                    <a:pt x="339905" y="114303"/>
                  </a:lnTo>
                  <a:lnTo>
                    <a:pt x="339905" y="74646"/>
                  </a:lnTo>
                  <a:lnTo>
                    <a:pt x="373243" y="41312"/>
                  </a:lnTo>
                  <a:lnTo>
                    <a:pt x="418950" y="41312"/>
                  </a:lnTo>
                  <a:lnTo>
                    <a:pt x="453919" y="76282"/>
                  </a:lnTo>
                  <a:lnTo>
                    <a:pt x="475724" y="54480"/>
                  </a:lnTo>
                  <a:lnTo>
                    <a:pt x="452675" y="31427"/>
                  </a:lnTo>
                  <a:lnTo>
                    <a:pt x="484093" y="0"/>
                  </a:lnTo>
                  <a:lnTo>
                    <a:pt x="513210" y="0"/>
                  </a:lnTo>
                  <a:lnTo>
                    <a:pt x="555523" y="0"/>
                  </a:lnTo>
                  <a:lnTo>
                    <a:pt x="580401" y="24878"/>
                  </a:lnTo>
                  <a:lnTo>
                    <a:pt x="609386" y="24878"/>
                  </a:lnTo>
                  <a:lnTo>
                    <a:pt x="569111" y="65148"/>
                  </a:lnTo>
                  <a:lnTo>
                    <a:pt x="584504" y="65148"/>
                  </a:lnTo>
                  <a:lnTo>
                    <a:pt x="626697" y="65148"/>
                  </a:lnTo>
                  <a:lnTo>
                    <a:pt x="645525" y="46329"/>
                  </a:lnTo>
                  <a:lnTo>
                    <a:pt x="680081" y="80898"/>
                  </a:lnTo>
                  <a:lnTo>
                    <a:pt x="706949" y="107762"/>
                  </a:lnTo>
                  <a:lnTo>
                    <a:pt x="706949" y="137306"/>
                  </a:lnTo>
                  <a:lnTo>
                    <a:pt x="645932" y="137306"/>
                  </a:lnTo>
                  <a:lnTo>
                    <a:pt x="607462" y="137306"/>
                  </a:lnTo>
                  <a:lnTo>
                    <a:pt x="575314" y="169458"/>
                  </a:lnTo>
                  <a:lnTo>
                    <a:pt x="575314" y="195732"/>
                  </a:lnTo>
                  <a:lnTo>
                    <a:pt x="610493" y="160562"/>
                  </a:lnTo>
                  <a:lnTo>
                    <a:pt x="660912" y="160562"/>
                  </a:lnTo>
                  <a:lnTo>
                    <a:pt x="660912" y="195732"/>
                  </a:lnTo>
                  <a:lnTo>
                    <a:pt x="632607" y="224053"/>
                  </a:lnTo>
                  <a:lnTo>
                    <a:pt x="658338" y="249784"/>
                  </a:lnTo>
                  <a:lnTo>
                    <a:pt x="704300" y="203818"/>
                  </a:lnTo>
                  <a:lnTo>
                    <a:pt x="704300" y="165059"/>
                  </a:lnTo>
                  <a:lnTo>
                    <a:pt x="740188" y="165059"/>
                  </a:lnTo>
                  <a:lnTo>
                    <a:pt x="767067" y="191943"/>
                  </a:lnTo>
                  <a:lnTo>
                    <a:pt x="743994" y="215021"/>
                  </a:lnTo>
                  <a:lnTo>
                    <a:pt x="714111" y="244899"/>
                  </a:lnTo>
                  <a:lnTo>
                    <a:pt x="735690" y="266478"/>
                  </a:lnTo>
                  <a:lnTo>
                    <a:pt x="773530" y="228634"/>
                  </a:lnTo>
                  <a:lnTo>
                    <a:pt x="803663" y="228634"/>
                  </a:lnTo>
                  <a:lnTo>
                    <a:pt x="830144" y="202157"/>
                  </a:lnTo>
                  <a:lnTo>
                    <a:pt x="866966" y="202157"/>
                  </a:lnTo>
                  <a:lnTo>
                    <a:pt x="866966" y="260988"/>
                  </a:lnTo>
                  <a:lnTo>
                    <a:pt x="841920" y="286026"/>
                  </a:lnTo>
                  <a:lnTo>
                    <a:pt x="841920" y="322795"/>
                  </a:lnTo>
                  <a:lnTo>
                    <a:pt x="808050" y="356652"/>
                  </a:lnTo>
                  <a:lnTo>
                    <a:pt x="808050" y="412681"/>
                  </a:lnTo>
                  <a:lnTo>
                    <a:pt x="779655" y="441085"/>
                  </a:lnTo>
                  <a:lnTo>
                    <a:pt x="779655" y="482454"/>
                  </a:lnTo>
                  <a:lnTo>
                    <a:pt x="749921" y="512180"/>
                  </a:lnTo>
                  <a:lnTo>
                    <a:pt x="749921" y="552232"/>
                  </a:lnTo>
                  <a:lnTo>
                    <a:pt x="778576" y="580895"/>
                  </a:lnTo>
                  <a:lnTo>
                    <a:pt x="821416" y="580895"/>
                  </a:lnTo>
                  <a:lnTo>
                    <a:pt x="821416" y="625947"/>
                  </a:lnTo>
                  <a:lnTo>
                    <a:pt x="783016" y="664347"/>
                  </a:lnTo>
                  <a:lnTo>
                    <a:pt x="809319" y="664347"/>
                  </a:lnTo>
                  <a:lnTo>
                    <a:pt x="809319" y="684761"/>
                  </a:lnTo>
                  <a:lnTo>
                    <a:pt x="773600" y="720483"/>
                  </a:lnTo>
                  <a:lnTo>
                    <a:pt x="804261" y="751148"/>
                  </a:lnTo>
                  <a:lnTo>
                    <a:pt x="804261" y="785779"/>
                  </a:lnTo>
                  <a:lnTo>
                    <a:pt x="782727" y="807309"/>
                  </a:lnTo>
                  <a:lnTo>
                    <a:pt x="767117" y="822915"/>
                  </a:lnTo>
                  <a:lnTo>
                    <a:pt x="736860" y="822915"/>
                  </a:lnTo>
                  <a:lnTo>
                    <a:pt x="713275" y="846508"/>
                  </a:lnTo>
                  <a:lnTo>
                    <a:pt x="764955" y="898187"/>
                  </a:lnTo>
                  <a:lnTo>
                    <a:pt x="764955" y="923741"/>
                  </a:lnTo>
                  <a:lnTo>
                    <a:pt x="795525" y="954319"/>
                  </a:lnTo>
                  <a:lnTo>
                    <a:pt x="770334" y="979514"/>
                  </a:lnTo>
                  <a:lnTo>
                    <a:pt x="737700" y="946872"/>
                  </a:lnTo>
                  <a:lnTo>
                    <a:pt x="713568" y="922736"/>
                  </a:lnTo>
                  <a:lnTo>
                    <a:pt x="689427" y="946872"/>
                  </a:lnTo>
                  <a:lnTo>
                    <a:pt x="689427" y="972961"/>
                  </a:lnTo>
                  <a:lnTo>
                    <a:pt x="711776" y="995310"/>
                  </a:lnTo>
                  <a:lnTo>
                    <a:pt x="757500" y="995310"/>
                  </a:lnTo>
                  <a:lnTo>
                    <a:pt x="728276" y="1024534"/>
                  </a:lnTo>
                  <a:lnTo>
                    <a:pt x="697866" y="1024534"/>
                  </a:lnTo>
                  <a:lnTo>
                    <a:pt x="671630" y="1050766"/>
                  </a:lnTo>
                  <a:lnTo>
                    <a:pt x="620746" y="1101655"/>
                  </a:lnTo>
                  <a:lnTo>
                    <a:pt x="620746" y="1137299"/>
                  </a:lnTo>
                  <a:lnTo>
                    <a:pt x="577571" y="1180465"/>
                  </a:lnTo>
                  <a:lnTo>
                    <a:pt x="545411" y="1212634"/>
                  </a:lnTo>
                  <a:lnTo>
                    <a:pt x="545411" y="1240201"/>
                  </a:lnTo>
                  <a:lnTo>
                    <a:pt x="520241" y="1265375"/>
                  </a:lnTo>
                  <a:lnTo>
                    <a:pt x="520241" y="1299776"/>
                  </a:lnTo>
                  <a:lnTo>
                    <a:pt x="496018" y="1323992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0" name="Freeform: Shape 639">
              <a:extLst>
                <a:ext uri="{FF2B5EF4-FFF2-40B4-BE49-F238E27FC236}">
                  <a16:creationId xmlns:a16="http://schemas.microsoft.com/office/drawing/2014/main" id="{4633158E-C267-1EF2-5411-321160773B72}"/>
                </a:ext>
              </a:extLst>
            </p:cNvPr>
            <p:cNvSpPr/>
            <p:nvPr/>
          </p:nvSpPr>
          <p:spPr>
            <a:xfrm>
              <a:off x="8839111" y="3997830"/>
              <a:ext cx="211066" cy="264817"/>
            </a:xfrm>
            <a:custGeom>
              <a:avLst/>
              <a:gdLst>
                <a:gd name="connsiteX0" fmla="*/ 179631 w 211066"/>
                <a:gd name="connsiteY0" fmla="*/ 172020 h 264817"/>
                <a:gd name="connsiteX1" fmla="*/ 164490 w 211066"/>
                <a:gd name="connsiteY1" fmla="*/ 156863 h 264817"/>
                <a:gd name="connsiteX2" fmla="*/ 164490 w 211066"/>
                <a:gd name="connsiteY2" fmla="*/ 132644 h 264817"/>
                <a:gd name="connsiteX3" fmla="*/ 151030 w 211066"/>
                <a:gd name="connsiteY3" fmla="*/ 119192 h 264817"/>
                <a:gd name="connsiteX4" fmla="*/ 138772 w 211066"/>
                <a:gd name="connsiteY4" fmla="*/ 106901 h 264817"/>
                <a:gd name="connsiteX5" fmla="*/ 127799 w 211066"/>
                <a:gd name="connsiteY5" fmla="*/ 95953 h 264817"/>
                <a:gd name="connsiteX6" fmla="*/ 150569 w 211066"/>
                <a:gd name="connsiteY6" fmla="*/ 73184 h 264817"/>
                <a:gd name="connsiteX7" fmla="*/ 125477 w 211066"/>
                <a:gd name="connsiteY7" fmla="*/ 48067 h 264817"/>
                <a:gd name="connsiteX8" fmla="*/ 92147 w 211066"/>
                <a:gd name="connsiteY8" fmla="*/ 48067 h 264817"/>
                <a:gd name="connsiteX9" fmla="*/ 92147 w 211066"/>
                <a:gd name="connsiteY9" fmla="*/ 19466 h 264817"/>
                <a:gd name="connsiteX10" fmla="*/ 72656 w 211066"/>
                <a:gd name="connsiteY10" fmla="*/ 0 h 264817"/>
                <a:gd name="connsiteX11" fmla="*/ 51387 w 211066"/>
                <a:gd name="connsiteY11" fmla="*/ 21262 h 264817"/>
                <a:gd name="connsiteX12" fmla="*/ 24564 w 211066"/>
                <a:gd name="connsiteY12" fmla="*/ 48067 h 264817"/>
                <a:gd name="connsiteX13" fmla="*/ 0 w 211066"/>
                <a:gd name="connsiteY13" fmla="*/ 72632 h 264817"/>
                <a:gd name="connsiteX14" fmla="*/ 31237 w 211066"/>
                <a:gd name="connsiteY14" fmla="*/ 101225 h 264817"/>
                <a:gd name="connsiteX15" fmla="*/ 31237 w 211066"/>
                <a:gd name="connsiteY15" fmla="*/ 120213 h 264817"/>
                <a:gd name="connsiteX16" fmla="*/ 31237 w 211066"/>
                <a:gd name="connsiteY16" fmla="*/ 154638 h 264817"/>
                <a:gd name="connsiteX17" fmla="*/ 70564 w 211066"/>
                <a:gd name="connsiteY17" fmla="*/ 154638 h 264817"/>
                <a:gd name="connsiteX18" fmla="*/ 90779 w 211066"/>
                <a:gd name="connsiteY18" fmla="*/ 134423 h 264817"/>
                <a:gd name="connsiteX19" fmla="*/ 113515 w 211066"/>
                <a:gd name="connsiteY19" fmla="*/ 134423 h 264817"/>
                <a:gd name="connsiteX20" fmla="*/ 150223 w 211066"/>
                <a:gd name="connsiteY20" fmla="*/ 171130 h 264817"/>
                <a:gd name="connsiteX21" fmla="*/ 150223 w 211066"/>
                <a:gd name="connsiteY21" fmla="*/ 205918 h 264817"/>
                <a:gd name="connsiteX22" fmla="*/ 174787 w 211066"/>
                <a:gd name="connsiteY22" fmla="*/ 230483 h 264817"/>
                <a:gd name="connsiteX23" fmla="*/ 174787 w 211066"/>
                <a:gd name="connsiteY23" fmla="*/ 264817 h 264817"/>
                <a:gd name="connsiteX24" fmla="*/ 202680 w 211066"/>
                <a:gd name="connsiteY24" fmla="*/ 264817 h 264817"/>
                <a:gd name="connsiteX25" fmla="*/ 211066 w 211066"/>
                <a:gd name="connsiteY25" fmla="*/ 264817 h 264817"/>
                <a:gd name="connsiteX26" fmla="*/ 211066 w 211066"/>
                <a:gd name="connsiteY26" fmla="*/ 231126 h 264817"/>
                <a:gd name="connsiteX27" fmla="*/ 211066 w 211066"/>
                <a:gd name="connsiteY27" fmla="*/ 203455 h 264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1066" h="264817">
                  <a:moveTo>
                    <a:pt x="179631" y="172020"/>
                  </a:moveTo>
                  <a:lnTo>
                    <a:pt x="164490" y="156863"/>
                  </a:lnTo>
                  <a:lnTo>
                    <a:pt x="164490" y="132644"/>
                  </a:lnTo>
                  <a:lnTo>
                    <a:pt x="151030" y="119192"/>
                  </a:lnTo>
                  <a:lnTo>
                    <a:pt x="138772" y="106901"/>
                  </a:lnTo>
                  <a:lnTo>
                    <a:pt x="127799" y="95953"/>
                  </a:lnTo>
                  <a:lnTo>
                    <a:pt x="150569" y="73184"/>
                  </a:lnTo>
                  <a:lnTo>
                    <a:pt x="125477" y="48067"/>
                  </a:lnTo>
                  <a:lnTo>
                    <a:pt x="92147" y="48067"/>
                  </a:lnTo>
                  <a:lnTo>
                    <a:pt x="92147" y="19466"/>
                  </a:lnTo>
                  <a:lnTo>
                    <a:pt x="72656" y="0"/>
                  </a:lnTo>
                  <a:lnTo>
                    <a:pt x="51387" y="21262"/>
                  </a:lnTo>
                  <a:lnTo>
                    <a:pt x="24564" y="48067"/>
                  </a:lnTo>
                  <a:lnTo>
                    <a:pt x="0" y="72632"/>
                  </a:lnTo>
                  <a:lnTo>
                    <a:pt x="31237" y="101225"/>
                  </a:lnTo>
                  <a:lnTo>
                    <a:pt x="31237" y="120213"/>
                  </a:lnTo>
                  <a:lnTo>
                    <a:pt x="31237" y="154638"/>
                  </a:lnTo>
                  <a:lnTo>
                    <a:pt x="70564" y="154638"/>
                  </a:lnTo>
                  <a:lnTo>
                    <a:pt x="90779" y="134423"/>
                  </a:lnTo>
                  <a:lnTo>
                    <a:pt x="113515" y="134423"/>
                  </a:lnTo>
                  <a:lnTo>
                    <a:pt x="150223" y="171130"/>
                  </a:lnTo>
                  <a:lnTo>
                    <a:pt x="150223" y="205918"/>
                  </a:lnTo>
                  <a:lnTo>
                    <a:pt x="174787" y="230483"/>
                  </a:lnTo>
                  <a:lnTo>
                    <a:pt x="174787" y="264817"/>
                  </a:lnTo>
                  <a:lnTo>
                    <a:pt x="202680" y="264817"/>
                  </a:lnTo>
                  <a:lnTo>
                    <a:pt x="211066" y="264817"/>
                  </a:lnTo>
                  <a:lnTo>
                    <a:pt x="211066" y="231126"/>
                  </a:lnTo>
                  <a:lnTo>
                    <a:pt x="211066" y="203455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1" name="Freeform: Shape 640">
              <a:extLst>
                <a:ext uri="{FF2B5EF4-FFF2-40B4-BE49-F238E27FC236}">
                  <a16:creationId xmlns:a16="http://schemas.microsoft.com/office/drawing/2014/main" id="{AC032F29-A6C2-5ADF-4E23-6D9626D425F7}"/>
                </a:ext>
              </a:extLst>
            </p:cNvPr>
            <p:cNvSpPr/>
            <p:nvPr/>
          </p:nvSpPr>
          <p:spPr>
            <a:xfrm>
              <a:off x="8960823" y="4606384"/>
              <a:ext cx="27917" cy="37868"/>
            </a:xfrm>
            <a:custGeom>
              <a:avLst/>
              <a:gdLst>
                <a:gd name="connsiteX0" fmla="*/ 9959 w 27917"/>
                <a:gd name="connsiteY0" fmla="*/ 37869 h 37868"/>
                <a:gd name="connsiteX1" fmla="*/ 27918 w 27917"/>
                <a:gd name="connsiteY1" fmla="*/ 19985 h 37868"/>
                <a:gd name="connsiteX2" fmla="*/ 27918 w 27917"/>
                <a:gd name="connsiteY2" fmla="*/ 0 h 37868"/>
                <a:gd name="connsiteX3" fmla="*/ 0 w 27917"/>
                <a:gd name="connsiteY3" fmla="*/ 27910 h 3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17" h="37868">
                  <a:moveTo>
                    <a:pt x="9959" y="37869"/>
                  </a:moveTo>
                  <a:lnTo>
                    <a:pt x="27918" y="19985"/>
                  </a:lnTo>
                  <a:lnTo>
                    <a:pt x="27918" y="0"/>
                  </a:lnTo>
                  <a:lnTo>
                    <a:pt x="0" y="2791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2" name="Freeform: Shape 641">
              <a:extLst>
                <a:ext uri="{FF2B5EF4-FFF2-40B4-BE49-F238E27FC236}">
                  <a16:creationId xmlns:a16="http://schemas.microsoft.com/office/drawing/2014/main" id="{6D9286C6-BDC7-25D1-105F-BDC52727AD0B}"/>
                </a:ext>
              </a:extLst>
            </p:cNvPr>
            <p:cNvSpPr/>
            <p:nvPr/>
          </p:nvSpPr>
          <p:spPr>
            <a:xfrm>
              <a:off x="8857233" y="4470230"/>
              <a:ext cx="131506" cy="164063"/>
            </a:xfrm>
            <a:custGeom>
              <a:avLst/>
              <a:gdLst>
                <a:gd name="connsiteX0" fmla="*/ 11154 w 131506"/>
                <a:gd name="connsiteY0" fmla="*/ 11146 h 164063"/>
                <a:gd name="connsiteX1" fmla="*/ 11154 w 131506"/>
                <a:gd name="connsiteY1" fmla="*/ 71619 h 164063"/>
                <a:gd name="connsiteX2" fmla="*/ 103589 w 131506"/>
                <a:gd name="connsiteY2" fmla="*/ 164063 h 164063"/>
                <a:gd name="connsiteX3" fmla="*/ 131507 w 131506"/>
                <a:gd name="connsiteY3" fmla="*/ 136154 h 164063"/>
                <a:gd name="connsiteX4" fmla="*/ 131507 w 131506"/>
                <a:gd name="connsiteY4" fmla="*/ 62220 h 164063"/>
                <a:gd name="connsiteX5" fmla="*/ 69279 w 131506"/>
                <a:gd name="connsiteY5" fmla="*/ 0 h 164063"/>
                <a:gd name="connsiteX6" fmla="*/ 32869 w 131506"/>
                <a:gd name="connsiteY6" fmla="*/ 0 h 164063"/>
                <a:gd name="connsiteX7" fmla="*/ 0 w 131506"/>
                <a:gd name="connsiteY7" fmla="*/ 0 h 164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1506" h="164063">
                  <a:moveTo>
                    <a:pt x="11154" y="11146"/>
                  </a:moveTo>
                  <a:lnTo>
                    <a:pt x="11154" y="71619"/>
                  </a:lnTo>
                  <a:lnTo>
                    <a:pt x="103589" y="164063"/>
                  </a:lnTo>
                  <a:lnTo>
                    <a:pt x="131507" y="136154"/>
                  </a:lnTo>
                  <a:lnTo>
                    <a:pt x="131507" y="62220"/>
                  </a:lnTo>
                  <a:lnTo>
                    <a:pt x="69279" y="0"/>
                  </a:lnTo>
                  <a:lnTo>
                    <a:pt x="3286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3" name="Freeform: Shape 642">
              <a:extLst>
                <a:ext uri="{FF2B5EF4-FFF2-40B4-BE49-F238E27FC236}">
                  <a16:creationId xmlns:a16="http://schemas.microsoft.com/office/drawing/2014/main" id="{9C38A2CE-775F-A7D3-AAAD-CDDCBF7B7F9C}"/>
                </a:ext>
              </a:extLst>
            </p:cNvPr>
            <p:cNvSpPr/>
            <p:nvPr/>
          </p:nvSpPr>
          <p:spPr>
            <a:xfrm>
              <a:off x="6233232" y="2876521"/>
              <a:ext cx="7211" cy="7216"/>
            </a:xfrm>
            <a:custGeom>
              <a:avLst/>
              <a:gdLst>
                <a:gd name="connsiteX0" fmla="*/ 0 w 7211"/>
                <a:gd name="connsiteY0" fmla="*/ 7216 h 7216"/>
                <a:gd name="connsiteX1" fmla="*/ 7211 w 7211"/>
                <a:gd name="connsiteY1" fmla="*/ 0 h 7216"/>
                <a:gd name="connsiteX2" fmla="*/ 0 w 7211"/>
                <a:gd name="connsiteY2" fmla="*/ 7216 h 7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11" h="7216">
                  <a:moveTo>
                    <a:pt x="0" y="7216"/>
                  </a:moveTo>
                  <a:lnTo>
                    <a:pt x="7211" y="0"/>
                  </a:lnTo>
                  <a:lnTo>
                    <a:pt x="0" y="7216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4" name="Freeform: Shape 643">
              <a:extLst>
                <a:ext uri="{FF2B5EF4-FFF2-40B4-BE49-F238E27FC236}">
                  <a16:creationId xmlns:a16="http://schemas.microsoft.com/office/drawing/2014/main" id="{E459C73D-7EBF-029D-4318-F6A9DC1E0617}"/>
                </a:ext>
              </a:extLst>
            </p:cNvPr>
            <p:cNvSpPr/>
            <p:nvPr/>
          </p:nvSpPr>
          <p:spPr>
            <a:xfrm>
              <a:off x="5971721" y="3031480"/>
              <a:ext cx="124278" cy="78616"/>
            </a:xfrm>
            <a:custGeom>
              <a:avLst/>
              <a:gdLst>
                <a:gd name="connsiteX0" fmla="*/ 64443 w 124278"/>
                <a:gd name="connsiteY0" fmla="*/ 58261 h 78616"/>
                <a:gd name="connsiteX1" fmla="*/ 84799 w 124278"/>
                <a:gd name="connsiteY1" fmla="*/ 78616 h 78616"/>
                <a:gd name="connsiteX2" fmla="*/ 104042 w 124278"/>
                <a:gd name="connsiteY2" fmla="*/ 59374 h 78616"/>
                <a:gd name="connsiteX3" fmla="*/ 124278 w 124278"/>
                <a:gd name="connsiteY3" fmla="*/ 59374 h 78616"/>
                <a:gd name="connsiteX4" fmla="*/ 124278 w 124278"/>
                <a:gd name="connsiteY4" fmla="*/ 33742 h 78616"/>
                <a:gd name="connsiteX5" fmla="*/ 108931 w 124278"/>
                <a:gd name="connsiteY5" fmla="*/ 18395 h 78616"/>
                <a:gd name="connsiteX6" fmla="*/ 104491 w 124278"/>
                <a:gd name="connsiteY6" fmla="*/ 13955 h 78616"/>
                <a:gd name="connsiteX7" fmla="*/ 104491 w 124278"/>
                <a:gd name="connsiteY7" fmla="*/ 0 h 78616"/>
                <a:gd name="connsiteX8" fmla="*/ 71936 w 124278"/>
                <a:gd name="connsiteY8" fmla="*/ 0 h 78616"/>
                <a:gd name="connsiteX9" fmla="*/ 39924 w 124278"/>
                <a:gd name="connsiteY9" fmla="*/ 0 h 78616"/>
                <a:gd name="connsiteX10" fmla="*/ 24779 w 124278"/>
                <a:gd name="connsiteY10" fmla="*/ 15145 h 78616"/>
                <a:gd name="connsiteX11" fmla="*/ 24779 w 124278"/>
                <a:gd name="connsiteY11" fmla="*/ 23412 h 78616"/>
                <a:gd name="connsiteX12" fmla="*/ 0 w 124278"/>
                <a:gd name="connsiteY12" fmla="*/ 48207 h 78616"/>
                <a:gd name="connsiteX13" fmla="*/ 0 w 124278"/>
                <a:gd name="connsiteY13" fmla="*/ 72237 h 78616"/>
                <a:gd name="connsiteX14" fmla="*/ 19590 w 124278"/>
                <a:gd name="connsiteY14" fmla="*/ 72237 h 78616"/>
                <a:gd name="connsiteX15" fmla="*/ 50468 w 124278"/>
                <a:gd name="connsiteY15" fmla="*/ 72237 h 78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4278" h="78616">
                  <a:moveTo>
                    <a:pt x="64443" y="58261"/>
                  </a:moveTo>
                  <a:lnTo>
                    <a:pt x="84799" y="78616"/>
                  </a:lnTo>
                  <a:lnTo>
                    <a:pt x="104042" y="59374"/>
                  </a:lnTo>
                  <a:lnTo>
                    <a:pt x="124278" y="59374"/>
                  </a:lnTo>
                  <a:lnTo>
                    <a:pt x="124278" y="33742"/>
                  </a:lnTo>
                  <a:lnTo>
                    <a:pt x="108931" y="18395"/>
                  </a:lnTo>
                  <a:lnTo>
                    <a:pt x="104491" y="13955"/>
                  </a:lnTo>
                  <a:lnTo>
                    <a:pt x="104491" y="0"/>
                  </a:lnTo>
                  <a:lnTo>
                    <a:pt x="71936" y="0"/>
                  </a:lnTo>
                  <a:lnTo>
                    <a:pt x="39924" y="0"/>
                  </a:lnTo>
                  <a:lnTo>
                    <a:pt x="24779" y="15145"/>
                  </a:lnTo>
                  <a:lnTo>
                    <a:pt x="24779" y="23412"/>
                  </a:lnTo>
                  <a:lnTo>
                    <a:pt x="0" y="48207"/>
                  </a:lnTo>
                  <a:lnTo>
                    <a:pt x="0" y="72237"/>
                  </a:lnTo>
                  <a:lnTo>
                    <a:pt x="19590" y="72237"/>
                  </a:lnTo>
                  <a:lnTo>
                    <a:pt x="50468" y="72237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5" name="Freeform: Shape 644">
              <a:extLst>
                <a:ext uri="{FF2B5EF4-FFF2-40B4-BE49-F238E27FC236}">
                  <a16:creationId xmlns:a16="http://schemas.microsoft.com/office/drawing/2014/main" id="{C66C3632-EC7B-1585-F896-A1891B4E444F}"/>
                </a:ext>
              </a:extLst>
            </p:cNvPr>
            <p:cNvSpPr/>
            <p:nvPr/>
          </p:nvSpPr>
          <p:spPr>
            <a:xfrm>
              <a:off x="5954059" y="2676261"/>
              <a:ext cx="286384" cy="370364"/>
            </a:xfrm>
            <a:custGeom>
              <a:avLst/>
              <a:gdLst>
                <a:gd name="connsiteX0" fmla="*/ 266490 w 286384"/>
                <a:gd name="connsiteY0" fmla="*/ 129283 h 370364"/>
                <a:gd name="connsiteX1" fmla="*/ 266490 w 286384"/>
                <a:gd name="connsiteY1" fmla="*/ 71051 h 370364"/>
                <a:gd name="connsiteX2" fmla="*/ 258772 w 286384"/>
                <a:gd name="connsiteY2" fmla="*/ 71051 h 370364"/>
                <a:gd name="connsiteX3" fmla="*/ 223556 w 286384"/>
                <a:gd name="connsiteY3" fmla="*/ 35835 h 370364"/>
                <a:gd name="connsiteX4" fmla="*/ 205935 w 286384"/>
                <a:gd name="connsiteY4" fmla="*/ 35835 h 370364"/>
                <a:gd name="connsiteX5" fmla="*/ 186568 w 286384"/>
                <a:gd name="connsiteY5" fmla="*/ 55210 h 370364"/>
                <a:gd name="connsiteX6" fmla="*/ 153106 w 286384"/>
                <a:gd name="connsiteY6" fmla="*/ 55210 h 370364"/>
                <a:gd name="connsiteX7" fmla="*/ 153106 w 286384"/>
                <a:gd name="connsiteY7" fmla="*/ 30571 h 370364"/>
                <a:gd name="connsiteX8" fmla="*/ 122578 w 286384"/>
                <a:gd name="connsiteY8" fmla="*/ 0 h 370364"/>
                <a:gd name="connsiteX9" fmla="*/ 89726 w 286384"/>
                <a:gd name="connsiteY9" fmla="*/ 0 h 370364"/>
                <a:gd name="connsiteX10" fmla="*/ 89726 w 286384"/>
                <a:gd name="connsiteY10" fmla="*/ 49921 h 370364"/>
                <a:gd name="connsiteX11" fmla="*/ 74757 w 286384"/>
                <a:gd name="connsiteY11" fmla="*/ 64897 h 370364"/>
                <a:gd name="connsiteX12" fmla="*/ 51560 w 286384"/>
                <a:gd name="connsiteY12" fmla="*/ 64897 h 370364"/>
                <a:gd name="connsiteX13" fmla="*/ 51560 w 286384"/>
                <a:gd name="connsiteY13" fmla="*/ 110798 h 370364"/>
                <a:gd name="connsiteX14" fmla="*/ 33553 w 286384"/>
                <a:gd name="connsiteY14" fmla="*/ 128797 h 370364"/>
                <a:gd name="connsiteX15" fmla="*/ 33553 w 286384"/>
                <a:gd name="connsiteY15" fmla="*/ 153889 h 370364"/>
                <a:gd name="connsiteX16" fmla="*/ 22407 w 286384"/>
                <a:gd name="connsiteY16" fmla="*/ 165043 h 370364"/>
                <a:gd name="connsiteX17" fmla="*/ 22407 w 286384"/>
                <a:gd name="connsiteY17" fmla="*/ 189451 h 370364"/>
                <a:gd name="connsiteX18" fmla="*/ 0 w 286384"/>
                <a:gd name="connsiteY18" fmla="*/ 189451 h 370364"/>
                <a:gd name="connsiteX19" fmla="*/ 0 w 286384"/>
                <a:gd name="connsiteY19" fmla="*/ 211537 h 370364"/>
                <a:gd name="connsiteX20" fmla="*/ 14911 w 286384"/>
                <a:gd name="connsiteY20" fmla="*/ 222040 h 370364"/>
                <a:gd name="connsiteX21" fmla="*/ 14911 w 286384"/>
                <a:gd name="connsiteY21" fmla="*/ 251630 h 370364"/>
                <a:gd name="connsiteX22" fmla="*/ 30265 w 286384"/>
                <a:gd name="connsiteY22" fmla="*/ 251630 h 370364"/>
                <a:gd name="connsiteX23" fmla="*/ 30265 w 286384"/>
                <a:gd name="connsiteY23" fmla="*/ 284993 h 370364"/>
                <a:gd name="connsiteX24" fmla="*/ 36502 w 286384"/>
                <a:gd name="connsiteY24" fmla="*/ 284993 h 370364"/>
                <a:gd name="connsiteX25" fmla="*/ 59658 w 286384"/>
                <a:gd name="connsiteY25" fmla="*/ 308140 h 370364"/>
                <a:gd name="connsiteX26" fmla="*/ 59658 w 286384"/>
                <a:gd name="connsiteY26" fmla="*/ 342435 h 370364"/>
                <a:gd name="connsiteX27" fmla="*/ 42441 w 286384"/>
                <a:gd name="connsiteY27" fmla="*/ 359651 h 370364"/>
                <a:gd name="connsiteX28" fmla="*/ 42441 w 286384"/>
                <a:gd name="connsiteY28" fmla="*/ 370364 h 370364"/>
                <a:gd name="connsiteX29" fmla="*/ 57586 w 286384"/>
                <a:gd name="connsiteY29" fmla="*/ 355219 h 370364"/>
                <a:gd name="connsiteX30" fmla="*/ 89598 w 286384"/>
                <a:gd name="connsiteY30" fmla="*/ 355219 h 370364"/>
                <a:gd name="connsiteX31" fmla="*/ 122154 w 286384"/>
                <a:gd name="connsiteY31" fmla="*/ 355219 h 370364"/>
                <a:gd name="connsiteX32" fmla="*/ 150903 w 286384"/>
                <a:gd name="connsiteY32" fmla="*/ 355219 h 370364"/>
                <a:gd name="connsiteX33" fmla="*/ 164125 w 286384"/>
                <a:gd name="connsiteY33" fmla="*/ 368441 h 370364"/>
                <a:gd name="connsiteX34" fmla="*/ 181482 w 286384"/>
                <a:gd name="connsiteY34" fmla="*/ 368441 h 370364"/>
                <a:gd name="connsiteX35" fmla="*/ 192573 w 286384"/>
                <a:gd name="connsiteY35" fmla="*/ 357348 h 370364"/>
                <a:gd name="connsiteX36" fmla="*/ 216805 w 286384"/>
                <a:gd name="connsiteY36" fmla="*/ 357348 h 370364"/>
                <a:gd name="connsiteX37" fmla="*/ 216805 w 286384"/>
                <a:gd name="connsiteY37" fmla="*/ 333076 h 370364"/>
                <a:gd name="connsiteX38" fmla="*/ 233812 w 286384"/>
                <a:gd name="connsiteY38" fmla="*/ 316069 h 370364"/>
                <a:gd name="connsiteX39" fmla="*/ 240097 w 286384"/>
                <a:gd name="connsiteY39" fmla="*/ 322359 h 370364"/>
                <a:gd name="connsiteX40" fmla="*/ 254637 w 286384"/>
                <a:gd name="connsiteY40" fmla="*/ 310991 h 370364"/>
                <a:gd name="connsiteX41" fmla="*/ 197747 w 286384"/>
                <a:gd name="connsiteY41" fmla="*/ 254101 h 370364"/>
                <a:gd name="connsiteX42" fmla="*/ 197747 w 286384"/>
                <a:gd name="connsiteY42" fmla="*/ 234537 h 370364"/>
                <a:gd name="connsiteX43" fmla="*/ 211747 w 286384"/>
                <a:gd name="connsiteY43" fmla="*/ 234537 h 370364"/>
                <a:gd name="connsiteX44" fmla="*/ 229458 w 286384"/>
                <a:gd name="connsiteY44" fmla="*/ 216826 h 370364"/>
                <a:gd name="connsiteX45" fmla="*/ 242903 w 286384"/>
                <a:gd name="connsiteY45" fmla="*/ 216826 h 370364"/>
                <a:gd name="connsiteX46" fmla="*/ 265713 w 286384"/>
                <a:gd name="connsiteY46" fmla="*/ 194015 h 370364"/>
                <a:gd name="connsiteX47" fmla="*/ 279173 w 286384"/>
                <a:gd name="connsiteY47" fmla="*/ 207476 h 370364"/>
                <a:gd name="connsiteX48" fmla="*/ 286384 w 286384"/>
                <a:gd name="connsiteY48" fmla="*/ 200260 h 370364"/>
                <a:gd name="connsiteX49" fmla="*/ 286384 w 286384"/>
                <a:gd name="connsiteY49" fmla="*/ 149194 h 3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286384" h="370364">
                  <a:moveTo>
                    <a:pt x="266490" y="129283"/>
                  </a:moveTo>
                  <a:lnTo>
                    <a:pt x="266490" y="71051"/>
                  </a:lnTo>
                  <a:lnTo>
                    <a:pt x="258772" y="71051"/>
                  </a:lnTo>
                  <a:lnTo>
                    <a:pt x="223556" y="35835"/>
                  </a:lnTo>
                  <a:lnTo>
                    <a:pt x="205935" y="35835"/>
                  </a:lnTo>
                  <a:lnTo>
                    <a:pt x="186568" y="55210"/>
                  </a:lnTo>
                  <a:lnTo>
                    <a:pt x="153106" y="55210"/>
                  </a:lnTo>
                  <a:lnTo>
                    <a:pt x="153106" y="30571"/>
                  </a:lnTo>
                  <a:lnTo>
                    <a:pt x="122578" y="0"/>
                  </a:lnTo>
                  <a:lnTo>
                    <a:pt x="89726" y="0"/>
                  </a:lnTo>
                  <a:lnTo>
                    <a:pt x="89726" y="49921"/>
                  </a:lnTo>
                  <a:lnTo>
                    <a:pt x="74757" y="64897"/>
                  </a:lnTo>
                  <a:lnTo>
                    <a:pt x="51560" y="64897"/>
                  </a:lnTo>
                  <a:lnTo>
                    <a:pt x="51560" y="110798"/>
                  </a:lnTo>
                  <a:lnTo>
                    <a:pt x="33553" y="128797"/>
                  </a:lnTo>
                  <a:lnTo>
                    <a:pt x="33553" y="153889"/>
                  </a:lnTo>
                  <a:lnTo>
                    <a:pt x="22407" y="165043"/>
                  </a:lnTo>
                  <a:lnTo>
                    <a:pt x="22407" y="189451"/>
                  </a:lnTo>
                  <a:lnTo>
                    <a:pt x="0" y="189451"/>
                  </a:lnTo>
                  <a:lnTo>
                    <a:pt x="0" y="211537"/>
                  </a:lnTo>
                  <a:lnTo>
                    <a:pt x="14911" y="222040"/>
                  </a:lnTo>
                  <a:lnTo>
                    <a:pt x="14911" y="251630"/>
                  </a:lnTo>
                  <a:lnTo>
                    <a:pt x="30265" y="251630"/>
                  </a:lnTo>
                  <a:lnTo>
                    <a:pt x="30265" y="284993"/>
                  </a:lnTo>
                  <a:lnTo>
                    <a:pt x="36502" y="284993"/>
                  </a:lnTo>
                  <a:lnTo>
                    <a:pt x="59658" y="308140"/>
                  </a:lnTo>
                  <a:lnTo>
                    <a:pt x="59658" y="342435"/>
                  </a:lnTo>
                  <a:lnTo>
                    <a:pt x="42441" y="359651"/>
                  </a:lnTo>
                  <a:lnTo>
                    <a:pt x="42441" y="370364"/>
                  </a:lnTo>
                  <a:lnTo>
                    <a:pt x="57586" y="355219"/>
                  </a:lnTo>
                  <a:lnTo>
                    <a:pt x="89598" y="355219"/>
                  </a:lnTo>
                  <a:lnTo>
                    <a:pt x="122154" y="355219"/>
                  </a:lnTo>
                  <a:lnTo>
                    <a:pt x="150903" y="355219"/>
                  </a:lnTo>
                  <a:lnTo>
                    <a:pt x="164125" y="368441"/>
                  </a:lnTo>
                  <a:lnTo>
                    <a:pt x="181482" y="368441"/>
                  </a:lnTo>
                  <a:lnTo>
                    <a:pt x="192573" y="357348"/>
                  </a:lnTo>
                  <a:lnTo>
                    <a:pt x="216805" y="357348"/>
                  </a:lnTo>
                  <a:lnTo>
                    <a:pt x="216805" y="333076"/>
                  </a:lnTo>
                  <a:lnTo>
                    <a:pt x="233812" y="316069"/>
                  </a:lnTo>
                  <a:lnTo>
                    <a:pt x="240097" y="322359"/>
                  </a:lnTo>
                  <a:lnTo>
                    <a:pt x="254637" y="310991"/>
                  </a:lnTo>
                  <a:lnTo>
                    <a:pt x="197747" y="254101"/>
                  </a:lnTo>
                  <a:lnTo>
                    <a:pt x="197747" y="234537"/>
                  </a:lnTo>
                  <a:lnTo>
                    <a:pt x="211747" y="234537"/>
                  </a:lnTo>
                  <a:lnTo>
                    <a:pt x="229458" y="216826"/>
                  </a:lnTo>
                  <a:lnTo>
                    <a:pt x="242903" y="216826"/>
                  </a:lnTo>
                  <a:lnTo>
                    <a:pt x="265713" y="194015"/>
                  </a:lnTo>
                  <a:lnTo>
                    <a:pt x="279173" y="207476"/>
                  </a:lnTo>
                  <a:lnTo>
                    <a:pt x="286384" y="200260"/>
                  </a:lnTo>
                  <a:lnTo>
                    <a:pt x="286384" y="149194"/>
                  </a:lnTo>
                  <a:close/>
                </a:path>
              </a:pathLst>
            </a:custGeom>
            <a:solidFill>
              <a:schemeClr val="accent1"/>
            </a:solidFill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6" name="Freeform: Shape 645">
              <a:extLst>
                <a:ext uri="{FF2B5EF4-FFF2-40B4-BE49-F238E27FC236}">
                  <a16:creationId xmlns:a16="http://schemas.microsoft.com/office/drawing/2014/main" id="{5F0979D6-B8AC-269D-C118-64132F15FC2C}"/>
                </a:ext>
              </a:extLst>
            </p:cNvPr>
            <p:cNvSpPr/>
            <p:nvPr/>
          </p:nvSpPr>
          <p:spPr>
            <a:xfrm>
              <a:off x="6151806" y="2870276"/>
              <a:ext cx="197940" cy="116975"/>
            </a:xfrm>
            <a:custGeom>
              <a:avLst/>
              <a:gdLst>
                <a:gd name="connsiteX0" fmla="*/ 191094 w 197940"/>
                <a:gd name="connsiteY0" fmla="*/ 61664 h 116975"/>
                <a:gd name="connsiteX1" fmla="*/ 171423 w 197940"/>
                <a:gd name="connsiteY1" fmla="*/ 41988 h 116975"/>
                <a:gd name="connsiteX2" fmla="*/ 143546 w 197940"/>
                <a:gd name="connsiteY2" fmla="*/ 41988 h 116975"/>
                <a:gd name="connsiteX3" fmla="*/ 125555 w 197940"/>
                <a:gd name="connsiteY3" fmla="*/ 23997 h 116975"/>
                <a:gd name="connsiteX4" fmla="*/ 104846 w 197940"/>
                <a:gd name="connsiteY4" fmla="*/ 23997 h 116975"/>
                <a:gd name="connsiteX5" fmla="*/ 87538 w 197940"/>
                <a:gd name="connsiteY5" fmla="*/ 7345 h 116975"/>
                <a:gd name="connsiteX6" fmla="*/ 81426 w 197940"/>
                <a:gd name="connsiteY6" fmla="*/ 13461 h 116975"/>
                <a:gd name="connsiteX7" fmla="*/ 67966 w 197940"/>
                <a:gd name="connsiteY7" fmla="*/ 0 h 116975"/>
                <a:gd name="connsiteX8" fmla="*/ 45156 w 197940"/>
                <a:gd name="connsiteY8" fmla="*/ 22811 h 116975"/>
                <a:gd name="connsiteX9" fmla="*/ 31711 w 197940"/>
                <a:gd name="connsiteY9" fmla="*/ 22811 h 116975"/>
                <a:gd name="connsiteX10" fmla="*/ 14000 w 197940"/>
                <a:gd name="connsiteY10" fmla="*/ 40522 h 116975"/>
                <a:gd name="connsiteX11" fmla="*/ 0 w 197940"/>
                <a:gd name="connsiteY11" fmla="*/ 40522 h 116975"/>
                <a:gd name="connsiteX12" fmla="*/ 0 w 197940"/>
                <a:gd name="connsiteY12" fmla="*/ 60086 h 116975"/>
                <a:gd name="connsiteX13" fmla="*/ 56890 w 197940"/>
                <a:gd name="connsiteY13" fmla="*/ 116976 h 116975"/>
                <a:gd name="connsiteX14" fmla="*/ 72834 w 197940"/>
                <a:gd name="connsiteY14" fmla="*/ 103124 h 116975"/>
                <a:gd name="connsiteX15" fmla="*/ 85034 w 197940"/>
                <a:gd name="connsiteY15" fmla="*/ 115864 h 116975"/>
                <a:gd name="connsiteX16" fmla="*/ 110793 w 197940"/>
                <a:gd name="connsiteY16" fmla="*/ 115864 h 116975"/>
                <a:gd name="connsiteX17" fmla="*/ 150202 w 197940"/>
                <a:gd name="connsiteY17" fmla="*/ 115864 h 116975"/>
                <a:gd name="connsiteX18" fmla="*/ 197941 w 197940"/>
                <a:gd name="connsiteY18" fmla="*/ 68509 h 116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7940" h="116975">
                  <a:moveTo>
                    <a:pt x="191094" y="61664"/>
                  </a:moveTo>
                  <a:lnTo>
                    <a:pt x="171423" y="41988"/>
                  </a:lnTo>
                  <a:lnTo>
                    <a:pt x="143546" y="41988"/>
                  </a:lnTo>
                  <a:lnTo>
                    <a:pt x="125555" y="23997"/>
                  </a:lnTo>
                  <a:lnTo>
                    <a:pt x="104846" y="23997"/>
                  </a:lnTo>
                  <a:lnTo>
                    <a:pt x="87538" y="7345"/>
                  </a:lnTo>
                  <a:lnTo>
                    <a:pt x="81426" y="13461"/>
                  </a:lnTo>
                  <a:lnTo>
                    <a:pt x="67966" y="0"/>
                  </a:lnTo>
                  <a:lnTo>
                    <a:pt x="45156" y="22811"/>
                  </a:lnTo>
                  <a:lnTo>
                    <a:pt x="31711" y="22811"/>
                  </a:lnTo>
                  <a:lnTo>
                    <a:pt x="14000" y="40522"/>
                  </a:lnTo>
                  <a:lnTo>
                    <a:pt x="0" y="40522"/>
                  </a:lnTo>
                  <a:lnTo>
                    <a:pt x="0" y="60086"/>
                  </a:lnTo>
                  <a:lnTo>
                    <a:pt x="56890" y="116976"/>
                  </a:lnTo>
                  <a:lnTo>
                    <a:pt x="72834" y="103124"/>
                  </a:lnTo>
                  <a:lnTo>
                    <a:pt x="85034" y="115864"/>
                  </a:lnTo>
                  <a:lnTo>
                    <a:pt x="110793" y="115864"/>
                  </a:lnTo>
                  <a:lnTo>
                    <a:pt x="150202" y="115864"/>
                  </a:lnTo>
                  <a:lnTo>
                    <a:pt x="197941" y="68509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7" name="Freeform: Shape 646">
              <a:extLst>
                <a:ext uri="{FF2B5EF4-FFF2-40B4-BE49-F238E27FC236}">
                  <a16:creationId xmlns:a16="http://schemas.microsoft.com/office/drawing/2014/main" id="{71883AEB-631D-FAB8-2EE7-D18FA448E87B}"/>
                </a:ext>
              </a:extLst>
            </p:cNvPr>
            <p:cNvSpPr/>
            <p:nvPr/>
          </p:nvSpPr>
          <p:spPr>
            <a:xfrm>
              <a:off x="6076212" y="2973400"/>
              <a:ext cx="225795" cy="109220"/>
            </a:xfrm>
            <a:custGeom>
              <a:avLst/>
              <a:gdLst>
                <a:gd name="connsiteX0" fmla="*/ 160627 w 225795"/>
                <a:gd name="connsiteY0" fmla="*/ 12740 h 109220"/>
                <a:gd name="connsiteX1" fmla="*/ 148427 w 225795"/>
                <a:gd name="connsiteY1" fmla="*/ 0 h 109220"/>
                <a:gd name="connsiteX2" fmla="*/ 132483 w 225795"/>
                <a:gd name="connsiteY2" fmla="*/ 13852 h 109220"/>
                <a:gd name="connsiteX3" fmla="*/ 117943 w 225795"/>
                <a:gd name="connsiteY3" fmla="*/ 25220 h 109220"/>
                <a:gd name="connsiteX4" fmla="*/ 111658 w 225795"/>
                <a:gd name="connsiteY4" fmla="*/ 18931 h 109220"/>
                <a:gd name="connsiteX5" fmla="*/ 94651 w 225795"/>
                <a:gd name="connsiteY5" fmla="*/ 35938 h 109220"/>
                <a:gd name="connsiteX6" fmla="*/ 94651 w 225795"/>
                <a:gd name="connsiteY6" fmla="*/ 60210 h 109220"/>
                <a:gd name="connsiteX7" fmla="*/ 70420 w 225795"/>
                <a:gd name="connsiteY7" fmla="*/ 60210 h 109220"/>
                <a:gd name="connsiteX8" fmla="*/ 59328 w 225795"/>
                <a:gd name="connsiteY8" fmla="*/ 71302 h 109220"/>
                <a:gd name="connsiteX9" fmla="*/ 41971 w 225795"/>
                <a:gd name="connsiteY9" fmla="*/ 71302 h 109220"/>
                <a:gd name="connsiteX10" fmla="*/ 28750 w 225795"/>
                <a:gd name="connsiteY10" fmla="*/ 58081 h 109220"/>
                <a:gd name="connsiteX11" fmla="*/ 0 w 225795"/>
                <a:gd name="connsiteY11" fmla="*/ 58081 h 109220"/>
                <a:gd name="connsiteX12" fmla="*/ 0 w 225795"/>
                <a:gd name="connsiteY12" fmla="*/ 72035 h 109220"/>
                <a:gd name="connsiteX13" fmla="*/ 4440 w 225795"/>
                <a:gd name="connsiteY13" fmla="*/ 76476 h 109220"/>
                <a:gd name="connsiteX14" fmla="*/ 19787 w 225795"/>
                <a:gd name="connsiteY14" fmla="*/ 91822 h 109220"/>
                <a:gd name="connsiteX15" fmla="*/ 44039 w 225795"/>
                <a:gd name="connsiteY15" fmla="*/ 91822 h 109220"/>
                <a:gd name="connsiteX16" fmla="*/ 76726 w 225795"/>
                <a:gd name="connsiteY16" fmla="*/ 91822 h 109220"/>
                <a:gd name="connsiteX17" fmla="*/ 94124 w 225795"/>
                <a:gd name="connsiteY17" fmla="*/ 109220 h 109220"/>
                <a:gd name="connsiteX18" fmla="*/ 125757 w 225795"/>
                <a:gd name="connsiteY18" fmla="*/ 109220 h 109220"/>
                <a:gd name="connsiteX19" fmla="*/ 157020 w 225795"/>
                <a:gd name="connsiteY19" fmla="*/ 109220 h 109220"/>
                <a:gd name="connsiteX20" fmla="*/ 177424 w 225795"/>
                <a:gd name="connsiteY20" fmla="*/ 109220 h 109220"/>
                <a:gd name="connsiteX21" fmla="*/ 200886 w 225795"/>
                <a:gd name="connsiteY21" fmla="*/ 85760 h 109220"/>
                <a:gd name="connsiteX22" fmla="*/ 200886 w 225795"/>
                <a:gd name="connsiteY22" fmla="*/ 64934 h 109220"/>
                <a:gd name="connsiteX23" fmla="*/ 225796 w 225795"/>
                <a:gd name="connsiteY23" fmla="*/ 40024 h 109220"/>
                <a:gd name="connsiteX24" fmla="*/ 225796 w 225795"/>
                <a:gd name="connsiteY24" fmla="*/ 12740 h 109220"/>
                <a:gd name="connsiteX25" fmla="*/ 186387 w 225795"/>
                <a:gd name="connsiteY25" fmla="*/ 12740 h 10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25795" h="109220">
                  <a:moveTo>
                    <a:pt x="160627" y="12740"/>
                  </a:moveTo>
                  <a:lnTo>
                    <a:pt x="148427" y="0"/>
                  </a:lnTo>
                  <a:lnTo>
                    <a:pt x="132483" y="13852"/>
                  </a:lnTo>
                  <a:lnTo>
                    <a:pt x="117943" y="25220"/>
                  </a:lnTo>
                  <a:lnTo>
                    <a:pt x="111658" y="18931"/>
                  </a:lnTo>
                  <a:lnTo>
                    <a:pt x="94651" y="35938"/>
                  </a:lnTo>
                  <a:lnTo>
                    <a:pt x="94651" y="60210"/>
                  </a:lnTo>
                  <a:lnTo>
                    <a:pt x="70420" y="60210"/>
                  </a:lnTo>
                  <a:lnTo>
                    <a:pt x="59328" y="71302"/>
                  </a:lnTo>
                  <a:lnTo>
                    <a:pt x="41971" y="71302"/>
                  </a:lnTo>
                  <a:lnTo>
                    <a:pt x="28750" y="58081"/>
                  </a:lnTo>
                  <a:lnTo>
                    <a:pt x="0" y="58081"/>
                  </a:lnTo>
                  <a:lnTo>
                    <a:pt x="0" y="72035"/>
                  </a:lnTo>
                  <a:lnTo>
                    <a:pt x="4440" y="76476"/>
                  </a:lnTo>
                  <a:lnTo>
                    <a:pt x="19787" y="91822"/>
                  </a:lnTo>
                  <a:lnTo>
                    <a:pt x="44039" y="91822"/>
                  </a:lnTo>
                  <a:lnTo>
                    <a:pt x="76726" y="91822"/>
                  </a:lnTo>
                  <a:lnTo>
                    <a:pt x="94124" y="109220"/>
                  </a:lnTo>
                  <a:lnTo>
                    <a:pt x="125757" y="109220"/>
                  </a:lnTo>
                  <a:lnTo>
                    <a:pt x="157020" y="109220"/>
                  </a:lnTo>
                  <a:lnTo>
                    <a:pt x="177424" y="109220"/>
                  </a:lnTo>
                  <a:lnTo>
                    <a:pt x="200886" y="85760"/>
                  </a:lnTo>
                  <a:lnTo>
                    <a:pt x="200886" y="64934"/>
                  </a:lnTo>
                  <a:lnTo>
                    <a:pt x="225796" y="40024"/>
                  </a:lnTo>
                  <a:lnTo>
                    <a:pt x="225796" y="12740"/>
                  </a:lnTo>
                  <a:lnTo>
                    <a:pt x="186387" y="1274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E48A516C-C407-C9A8-907A-E62FEAA33C2F}"/>
                </a:ext>
              </a:extLst>
            </p:cNvPr>
            <p:cNvSpPr/>
            <p:nvPr/>
          </p:nvSpPr>
          <p:spPr>
            <a:xfrm>
              <a:off x="6195236" y="3079399"/>
              <a:ext cx="72223" cy="50068"/>
            </a:xfrm>
            <a:custGeom>
              <a:avLst/>
              <a:gdLst>
                <a:gd name="connsiteX0" fmla="*/ 51547 w 72223"/>
                <a:gd name="connsiteY0" fmla="*/ 50069 h 50068"/>
                <a:gd name="connsiteX1" fmla="*/ 72224 w 72223"/>
                <a:gd name="connsiteY1" fmla="*/ 29392 h 50068"/>
                <a:gd name="connsiteX2" fmla="*/ 72224 w 72223"/>
                <a:gd name="connsiteY2" fmla="*/ 10602 h 50068"/>
                <a:gd name="connsiteX3" fmla="*/ 61621 w 72223"/>
                <a:gd name="connsiteY3" fmla="*/ 0 h 50068"/>
                <a:gd name="connsiteX4" fmla="*/ 58401 w 72223"/>
                <a:gd name="connsiteY4" fmla="*/ 3221 h 50068"/>
                <a:gd name="connsiteX5" fmla="*/ 37996 w 72223"/>
                <a:gd name="connsiteY5" fmla="*/ 3221 h 50068"/>
                <a:gd name="connsiteX6" fmla="*/ 15614 w 72223"/>
                <a:gd name="connsiteY6" fmla="*/ 3221 h 50068"/>
                <a:gd name="connsiteX7" fmla="*/ 0 w 72223"/>
                <a:gd name="connsiteY7" fmla="*/ 18510 h 50068"/>
                <a:gd name="connsiteX8" fmla="*/ 0 w 72223"/>
                <a:gd name="connsiteY8" fmla="*/ 50069 h 50068"/>
                <a:gd name="connsiteX9" fmla="*/ 29404 w 72223"/>
                <a:gd name="connsiteY9" fmla="*/ 50069 h 50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223" h="50068">
                  <a:moveTo>
                    <a:pt x="51547" y="50069"/>
                  </a:moveTo>
                  <a:lnTo>
                    <a:pt x="72224" y="29392"/>
                  </a:lnTo>
                  <a:lnTo>
                    <a:pt x="72224" y="10602"/>
                  </a:lnTo>
                  <a:lnTo>
                    <a:pt x="61621" y="0"/>
                  </a:lnTo>
                  <a:lnTo>
                    <a:pt x="58401" y="3221"/>
                  </a:lnTo>
                  <a:lnTo>
                    <a:pt x="37996" y="3221"/>
                  </a:lnTo>
                  <a:lnTo>
                    <a:pt x="15614" y="3221"/>
                  </a:lnTo>
                  <a:lnTo>
                    <a:pt x="0" y="18510"/>
                  </a:lnTo>
                  <a:lnTo>
                    <a:pt x="0" y="50069"/>
                  </a:lnTo>
                  <a:lnTo>
                    <a:pt x="29404" y="50069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649" name="Graphic 6">
              <a:extLst>
                <a:ext uri="{FF2B5EF4-FFF2-40B4-BE49-F238E27FC236}">
                  <a16:creationId xmlns:a16="http://schemas.microsoft.com/office/drawing/2014/main" id="{3DB08B2D-9BFF-4F45-A77A-51BAA8F219C4}"/>
                </a:ext>
              </a:extLst>
            </p:cNvPr>
            <p:cNvGrpSpPr/>
            <p:nvPr/>
          </p:nvGrpSpPr>
          <p:grpSpPr>
            <a:xfrm>
              <a:off x="5979423" y="3065222"/>
              <a:ext cx="360181" cy="416482"/>
              <a:chOff x="5979423" y="3065222"/>
              <a:chExt cx="360181" cy="416482"/>
            </a:xfrm>
            <a:grpFill/>
          </p:grpSpPr>
          <p:sp>
            <p:nvSpPr>
              <p:cNvPr id="876" name="Freeform: Shape 875">
                <a:extLst>
                  <a:ext uri="{FF2B5EF4-FFF2-40B4-BE49-F238E27FC236}">
                    <a16:creationId xmlns:a16="http://schemas.microsoft.com/office/drawing/2014/main" id="{0BBA8975-130F-9CB8-094A-499375593F71}"/>
                  </a:ext>
                </a:extLst>
              </p:cNvPr>
              <p:cNvSpPr/>
              <p:nvPr/>
            </p:nvSpPr>
            <p:spPr>
              <a:xfrm>
                <a:off x="6033208" y="3309092"/>
                <a:ext cx="43164" cy="94684"/>
              </a:xfrm>
              <a:custGeom>
                <a:avLst/>
                <a:gdLst>
                  <a:gd name="connsiteX0" fmla="*/ 0 w 43164"/>
                  <a:gd name="connsiteY0" fmla="*/ 70473 h 94684"/>
                  <a:gd name="connsiteX1" fmla="*/ 24227 w 43164"/>
                  <a:gd name="connsiteY1" fmla="*/ 94684 h 94684"/>
                  <a:gd name="connsiteX2" fmla="*/ 43165 w 43164"/>
                  <a:gd name="connsiteY2" fmla="*/ 75738 h 94684"/>
                  <a:gd name="connsiteX3" fmla="*/ 43165 w 43164"/>
                  <a:gd name="connsiteY3" fmla="*/ 18510 h 94684"/>
                  <a:gd name="connsiteX4" fmla="*/ 24655 w 43164"/>
                  <a:gd name="connsiteY4" fmla="*/ 0 h 94684"/>
                  <a:gd name="connsiteX5" fmla="*/ 0 w 43164"/>
                  <a:gd name="connsiteY5" fmla="*/ 12339 h 94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3164" h="94684">
                    <a:moveTo>
                      <a:pt x="0" y="70473"/>
                    </a:moveTo>
                    <a:lnTo>
                      <a:pt x="24227" y="94684"/>
                    </a:lnTo>
                    <a:lnTo>
                      <a:pt x="43165" y="75738"/>
                    </a:lnTo>
                    <a:lnTo>
                      <a:pt x="43165" y="18510"/>
                    </a:lnTo>
                    <a:lnTo>
                      <a:pt x="24655" y="0"/>
                    </a:lnTo>
                    <a:lnTo>
                      <a:pt x="0" y="12339"/>
                    </a:lnTo>
                    <a:close/>
                  </a:path>
                </a:pathLst>
              </a:custGeom>
              <a:solidFill>
                <a:schemeClr val="accent1"/>
              </a:solidFill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7" name="Freeform: Shape 876">
                <a:extLst>
                  <a:ext uri="{FF2B5EF4-FFF2-40B4-BE49-F238E27FC236}">
                    <a16:creationId xmlns:a16="http://schemas.microsoft.com/office/drawing/2014/main" id="{7BD9B497-7128-39CB-9064-507DA5520B90}"/>
                  </a:ext>
                </a:extLst>
              </p:cNvPr>
              <p:cNvSpPr/>
              <p:nvPr/>
            </p:nvSpPr>
            <p:spPr>
              <a:xfrm>
                <a:off x="6163100" y="3420943"/>
                <a:ext cx="95499" cy="60761"/>
              </a:xfrm>
              <a:custGeom>
                <a:avLst/>
                <a:gdLst>
                  <a:gd name="connsiteX0" fmla="*/ 62054 w 95499"/>
                  <a:gd name="connsiteY0" fmla="*/ 60761 h 60761"/>
                  <a:gd name="connsiteX1" fmla="*/ 80532 w 95499"/>
                  <a:gd name="connsiteY1" fmla="*/ 60761 h 60761"/>
                  <a:gd name="connsiteX2" fmla="*/ 80532 w 95499"/>
                  <a:gd name="connsiteY2" fmla="*/ 31699 h 60761"/>
                  <a:gd name="connsiteX3" fmla="*/ 95500 w 95499"/>
                  <a:gd name="connsiteY3" fmla="*/ 16731 h 60761"/>
                  <a:gd name="connsiteX4" fmla="*/ 39179 w 95499"/>
                  <a:gd name="connsiteY4" fmla="*/ 16731 h 60761"/>
                  <a:gd name="connsiteX5" fmla="*/ 15405 w 95499"/>
                  <a:gd name="connsiteY5" fmla="*/ 0 h 60761"/>
                  <a:gd name="connsiteX6" fmla="*/ 0 w 95499"/>
                  <a:gd name="connsiteY6" fmla="*/ 15405 h 60761"/>
                  <a:gd name="connsiteX7" fmla="*/ 23337 w 95499"/>
                  <a:gd name="connsiteY7" fmla="*/ 38734 h 60761"/>
                  <a:gd name="connsiteX8" fmla="*/ 40044 w 95499"/>
                  <a:gd name="connsiteY8" fmla="*/ 38734 h 60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5499" h="60761">
                    <a:moveTo>
                      <a:pt x="62054" y="60761"/>
                    </a:moveTo>
                    <a:lnTo>
                      <a:pt x="80532" y="60761"/>
                    </a:lnTo>
                    <a:lnTo>
                      <a:pt x="80532" y="31699"/>
                    </a:lnTo>
                    <a:lnTo>
                      <a:pt x="95500" y="16731"/>
                    </a:lnTo>
                    <a:lnTo>
                      <a:pt x="39179" y="16731"/>
                    </a:lnTo>
                    <a:lnTo>
                      <a:pt x="15405" y="0"/>
                    </a:lnTo>
                    <a:lnTo>
                      <a:pt x="0" y="15405"/>
                    </a:lnTo>
                    <a:lnTo>
                      <a:pt x="23337" y="38734"/>
                    </a:lnTo>
                    <a:lnTo>
                      <a:pt x="40044" y="38734"/>
                    </a:lnTo>
                    <a:close/>
                  </a:path>
                </a:pathLst>
              </a:custGeom>
              <a:solidFill>
                <a:schemeClr val="accent1"/>
              </a:solidFill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8" name="Freeform: Shape 877">
                <a:extLst>
                  <a:ext uri="{FF2B5EF4-FFF2-40B4-BE49-F238E27FC236}">
                    <a16:creationId xmlns:a16="http://schemas.microsoft.com/office/drawing/2014/main" id="{ABC3996C-4D80-418B-C1B9-AE9C3AEF49BF}"/>
                  </a:ext>
                </a:extLst>
              </p:cNvPr>
              <p:cNvSpPr/>
              <p:nvPr/>
            </p:nvSpPr>
            <p:spPr>
              <a:xfrm>
                <a:off x="6047336" y="3237769"/>
                <a:ext cx="23764" cy="55044"/>
              </a:xfrm>
              <a:custGeom>
                <a:avLst/>
                <a:gdLst>
                  <a:gd name="connsiteX0" fmla="*/ 23765 w 23764"/>
                  <a:gd name="connsiteY0" fmla="*/ 7051 h 55044"/>
                  <a:gd name="connsiteX1" fmla="*/ 16697 w 23764"/>
                  <a:gd name="connsiteY1" fmla="*/ 0 h 55044"/>
                  <a:gd name="connsiteX2" fmla="*/ 0 w 23764"/>
                  <a:gd name="connsiteY2" fmla="*/ 16739 h 55044"/>
                  <a:gd name="connsiteX3" fmla="*/ 8368 w 23764"/>
                  <a:gd name="connsiteY3" fmla="*/ 55044 h 55044"/>
                  <a:gd name="connsiteX4" fmla="*/ 23765 w 23764"/>
                  <a:gd name="connsiteY4" fmla="*/ 39615 h 55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764" h="55044">
                    <a:moveTo>
                      <a:pt x="23765" y="7051"/>
                    </a:moveTo>
                    <a:lnTo>
                      <a:pt x="16697" y="0"/>
                    </a:lnTo>
                    <a:lnTo>
                      <a:pt x="0" y="16739"/>
                    </a:lnTo>
                    <a:lnTo>
                      <a:pt x="8368" y="55044"/>
                    </a:lnTo>
                    <a:lnTo>
                      <a:pt x="23765" y="39615"/>
                    </a:lnTo>
                    <a:close/>
                  </a:path>
                </a:pathLst>
              </a:custGeom>
              <a:solidFill>
                <a:schemeClr val="accent1"/>
              </a:solidFill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9" name="Freeform: Shape 878">
                <a:extLst>
                  <a:ext uri="{FF2B5EF4-FFF2-40B4-BE49-F238E27FC236}">
                    <a16:creationId xmlns:a16="http://schemas.microsoft.com/office/drawing/2014/main" id="{D4596E01-6B7C-A83D-E17F-6EAACA78FC48}"/>
                  </a:ext>
                </a:extLst>
              </p:cNvPr>
              <p:cNvSpPr/>
              <p:nvPr/>
            </p:nvSpPr>
            <p:spPr>
              <a:xfrm>
                <a:off x="5979423" y="3065222"/>
                <a:ext cx="360181" cy="370672"/>
              </a:xfrm>
              <a:custGeom>
                <a:avLst/>
                <a:gdLst>
                  <a:gd name="connsiteX0" fmla="*/ 231426 w 360181"/>
                  <a:gd name="connsiteY0" fmla="*/ 17398 h 370672"/>
                  <a:gd name="connsiteX1" fmla="*/ 222546 w 360181"/>
                  <a:gd name="connsiteY1" fmla="*/ 17398 h 370672"/>
                  <a:gd name="connsiteX2" fmla="*/ 190913 w 360181"/>
                  <a:gd name="connsiteY2" fmla="*/ 17398 h 370672"/>
                  <a:gd name="connsiteX3" fmla="*/ 173515 w 360181"/>
                  <a:gd name="connsiteY3" fmla="*/ 0 h 370672"/>
                  <a:gd name="connsiteX4" fmla="*/ 140828 w 360181"/>
                  <a:gd name="connsiteY4" fmla="*/ 0 h 370672"/>
                  <a:gd name="connsiteX5" fmla="*/ 116576 w 360181"/>
                  <a:gd name="connsiteY5" fmla="*/ 0 h 370672"/>
                  <a:gd name="connsiteX6" fmla="*/ 116576 w 360181"/>
                  <a:gd name="connsiteY6" fmla="*/ 25632 h 370672"/>
                  <a:gd name="connsiteX7" fmla="*/ 96340 w 360181"/>
                  <a:gd name="connsiteY7" fmla="*/ 25632 h 370672"/>
                  <a:gd name="connsiteX8" fmla="*/ 77096 w 360181"/>
                  <a:gd name="connsiteY8" fmla="*/ 44875 h 370672"/>
                  <a:gd name="connsiteX9" fmla="*/ 56741 w 360181"/>
                  <a:gd name="connsiteY9" fmla="*/ 24519 h 370672"/>
                  <a:gd name="connsiteX10" fmla="*/ 42766 w 360181"/>
                  <a:gd name="connsiteY10" fmla="*/ 38495 h 370672"/>
                  <a:gd name="connsiteX11" fmla="*/ 11888 w 360181"/>
                  <a:gd name="connsiteY11" fmla="*/ 38495 h 370672"/>
                  <a:gd name="connsiteX12" fmla="*/ 11888 w 360181"/>
                  <a:gd name="connsiteY12" fmla="*/ 57631 h 370672"/>
                  <a:gd name="connsiteX13" fmla="*/ 11888 w 360181"/>
                  <a:gd name="connsiteY13" fmla="*/ 67632 h 370672"/>
                  <a:gd name="connsiteX14" fmla="*/ 11888 w 360181"/>
                  <a:gd name="connsiteY14" fmla="*/ 86966 h 370672"/>
                  <a:gd name="connsiteX15" fmla="*/ 0 w 360181"/>
                  <a:gd name="connsiteY15" fmla="*/ 98853 h 370672"/>
                  <a:gd name="connsiteX16" fmla="*/ 29837 w 360181"/>
                  <a:gd name="connsiteY16" fmla="*/ 128706 h 370672"/>
                  <a:gd name="connsiteX17" fmla="*/ 37943 w 360181"/>
                  <a:gd name="connsiteY17" fmla="*/ 120609 h 370672"/>
                  <a:gd name="connsiteX18" fmla="*/ 104857 w 360181"/>
                  <a:gd name="connsiteY18" fmla="*/ 120609 h 370672"/>
                  <a:gd name="connsiteX19" fmla="*/ 126869 w 360181"/>
                  <a:gd name="connsiteY19" fmla="*/ 142603 h 370672"/>
                  <a:gd name="connsiteX20" fmla="*/ 126869 w 360181"/>
                  <a:gd name="connsiteY20" fmla="*/ 183989 h 370672"/>
                  <a:gd name="connsiteX21" fmla="*/ 155931 w 360181"/>
                  <a:gd name="connsiteY21" fmla="*/ 183989 h 370672"/>
                  <a:gd name="connsiteX22" fmla="*/ 207014 w 360181"/>
                  <a:gd name="connsiteY22" fmla="*/ 235063 h 370672"/>
                  <a:gd name="connsiteX23" fmla="*/ 233408 w 360181"/>
                  <a:gd name="connsiteY23" fmla="*/ 235063 h 370672"/>
                  <a:gd name="connsiteX24" fmla="*/ 233408 w 360181"/>
                  <a:gd name="connsiteY24" fmla="*/ 265007 h 370672"/>
                  <a:gd name="connsiteX25" fmla="*/ 254537 w 360181"/>
                  <a:gd name="connsiteY25" fmla="*/ 265007 h 370672"/>
                  <a:gd name="connsiteX26" fmla="*/ 281854 w 360181"/>
                  <a:gd name="connsiteY26" fmla="*/ 292324 h 370672"/>
                  <a:gd name="connsiteX27" fmla="*/ 281854 w 360181"/>
                  <a:gd name="connsiteY27" fmla="*/ 317836 h 370672"/>
                  <a:gd name="connsiteX28" fmla="*/ 296360 w 360181"/>
                  <a:gd name="connsiteY28" fmla="*/ 332375 h 370672"/>
                  <a:gd name="connsiteX29" fmla="*/ 296360 w 360181"/>
                  <a:gd name="connsiteY29" fmla="*/ 370673 h 370672"/>
                  <a:gd name="connsiteX30" fmla="*/ 326733 w 360181"/>
                  <a:gd name="connsiteY30" fmla="*/ 370673 h 370672"/>
                  <a:gd name="connsiteX31" fmla="*/ 326733 w 360181"/>
                  <a:gd name="connsiteY31" fmla="*/ 319607 h 370672"/>
                  <a:gd name="connsiteX32" fmla="*/ 303840 w 360181"/>
                  <a:gd name="connsiteY32" fmla="*/ 296723 h 370672"/>
                  <a:gd name="connsiteX33" fmla="*/ 329369 w 360181"/>
                  <a:gd name="connsiteY33" fmla="*/ 271153 h 370672"/>
                  <a:gd name="connsiteX34" fmla="*/ 348747 w 360181"/>
                  <a:gd name="connsiteY34" fmla="*/ 290552 h 370672"/>
                  <a:gd name="connsiteX35" fmla="*/ 360182 w 360181"/>
                  <a:gd name="connsiteY35" fmla="*/ 279102 h 370672"/>
                  <a:gd name="connsiteX36" fmla="*/ 324986 w 360181"/>
                  <a:gd name="connsiteY36" fmla="*/ 243870 h 370672"/>
                  <a:gd name="connsiteX37" fmla="*/ 295059 w 360181"/>
                  <a:gd name="connsiteY37" fmla="*/ 243870 h 370672"/>
                  <a:gd name="connsiteX38" fmla="*/ 282710 w 360181"/>
                  <a:gd name="connsiteY38" fmla="*/ 231546 h 370672"/>
                  <a:gd name="connsiteX39" fmla="*/ 295932 w 360181"/>
                  <a:gd name="connsiteY39" fmla="*/ 218333 h 370672"/>
                  <a:gd name="connsiteX40" fmla="*/ 285346 w 360181"/>
                  <a:gd name="connsiteY40" fmla="*/ 207788 h 370672"/>
                  <a:gd name="connsiteX41" fmla="*/ 254537 w 360181"/>
                  <a:gd name="connsiteY41" fmla="*/ 207788 h 370672"/>
                  <a:gd name="connsiteX42" fmla="*/ 232097 w 360181"/>
                  <a:gd name="connsiteY42" fmla="*/ 185299 h 370672"/>
                  <a:gd name="connsiteX43" fmla="*/ 232097 w 360181"/>
                  <a:gd name="connsiteY43" fmla="*/ 147027 h 370672"/>
                  <a:gd name="connsiteX44" fmla="*/ 163181 w 360181"/>
                  <a:gd name="connsiteY44" fmla="*/ 78110 h 370672"/>
                  <a:gd name="connsiteX45" fmla="*/ 169838 w 360181"/>
                  <a:gd name="connsiteY45" fmla="*/ 71445 h 370672"/>
                  <a:gd name="connsiteX46" fmla="*/ 177046 w 360181"/>
                  <a:gd name="connsiteY46" fmla="*/ 64246 h 370672"/>
                  <a:gd name="connsiteX47" fmla="*/ 215812 w 360181"/>
                  <a:gd name="connsiteY47" fmla="*/ 64246 h 370672"/>
                  <a:gd name="connsiteX48" fmla="*/ 215812 w 360181"/>
                  <a:gd name="connsiteY48" fmla="*/ 32687 h 370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360181" h="370672">
                    <a:moveTo>
                      <a:pt x="231426" y="17398"/>
                    </a:moveTo>
                    <a:lnTo>
                      <a:pt x="222546" y="17398"/>
                    </a:lnTo>
                    <a:lnTo>
                      <a:pt x="190913" y="17398"/>
                    </a:lnTo>
                    <a:lnTo>
                      <a:pt x="173515" y="0"/>
                    </a:lnTo>
                    <a:lnTo>
                      <a:pt x="140828" y="0"/>
                    </a:lnTo>
                    <a:lnTo>
                      <a:pt x="116576" y="0"/>
                    </a:lnTo>
                    <a:lnTo>
                      <a:pt x="116576" y="25632"/>
                    </a:lnTo>
                    <a:lnTo>
                      <a:pt x="96340" y="25632"/>
                    </a:lnTo>
                    <a:lnTo>
                      <a:pt x="77096" y="44875"/>
                    </a:lnTo>
                    <a:lnTo>
                      <a:pt x="56741" y="24519"/>
                    </a:lnTo>
                    <a:lnTo>
                      <a:pt x="42766" y="38495"/>
                    </a:lnTo>
                    <a:lnTo>
                      <a:pt x="11888" y="38495"/>
                    </a:lnTo>
                    <a:lnTo>
                      <a:pt x="11888" y="57631"/>
                    </a:lnTo>
                    <a:lnTo>
                      <a:pt x="11888" y="67632"/>
                    </a:lnTo>
                    <a:lnTo>
                      <a:pt x="11888" y="86966"/>
                    </a:lnTo>
                    <a:lnTo>
                      <a:pt x="0" y="98853"/>
                    </a:lnTo>
                    <a:lnTo>
                      <a:pt x="29837" y="128706"/>
                    </a:lnTo>
                    <a:lnTo>
                      <a:pt x="37943" y="120609"/>
                    </a:lnTo>
                    <a:lnTo>
                      <a:pt x="104857" y="120609"/>
                    </a:lnTo>
                    <a:lnTo>
                      <a:pt x="126869" y="142603"/>
                    </a:lnTo>
                    <a:lnTo>
                      <a:pt x="126869" y="183989"/>
                    </a:lnTo>
                    <a:lnTo>
                      <a:pt x="155931" y="183989"/>
                    </a:lnTo>
                    <a:lnTo>
                      <a:pt x="207014" y="235063"/>
                    </a:lnTo>
                    <a:lnTo>
                      <a:pt x="233408" y="235063"/>
                    </a:lnTo>
                    <a:lnTo>
                      <a:pt x="233408" y="265007"/>
                    </a:lnTo>
                    <a:lnTo>
                      <a:pt x="254537" y="265007"/>
                    </a:lnTo>
                    <a:lnTo>
                      <a:pt x="281854" y="292324"/>
                    </a:lnTo>
                    <a:lnTo>
                      <a:pt x="281854" y="317836"/>
                    </a:lnTo>
                    <a:lnTo>
                      <a:pt x="296360" y="332375"/>
                    </a:lnTo>
                    <a:lnTo>
                      <a:pt x="296360" y="370673"/>
                    </a:lnTo>
                    <a:lnTo>
                      <a:pt x="326733" y="370673"/>
                    </a:lnTo>
                    <a:lnTo>
                      <a:pt x="326733" y="319607"/>
                    </a:lnTo>
                    <a:lnTo>
                      <a:pt x="303840" y="296723"/>
                    </a:lnTo>
                    <a:lnTo>
                      <a:pt x="329369" y="271153"/>
                    </a:lnTo>
                    <a:lnTo>
                      <a:pt x="348747" y="290552"/>
                    </a:lnTo>
                    <a:lnTo>
                      <a:pt x="360182" y="279102"/>
                    </a:lnTo>
                    <a:lnTo>
                      <a:pt x="324986" y="243870"/>
                    </a:lnTo>
                    <a:lnTo>
                      <a:pt x="295059" y="243870"/>
                    </a:lnTo>
                    <a:lnTo>
                      <a:pt x="282710" y="231546"/>
                    </a:lnTo>
                    <a:lnTo>
                      <a:pt x="295932" y="218333"/>
                    </a:lnTo>
                    <a:lnTo>
                      <a:pt x="285346" y="207788"/>
                    </a:lnTo>
                    <a:lnTo>
                      <a:pt x="254537" y="207788"/>
                    </a:lnTo>
                    <a:lnTo>
                      <a:pt x="232097" y="185299"/>
                    </a:lnTo>
                    <a:lnTo>
                      <a:pt x="232097" y="147027"/>
                    </a:lnTo>
                    <a:lnTo>
                      <a:pt x="163181" y="78110"/>
                    </a:lnTo>
                    <a:lnTo>
                      <a:pt x="169838" y="71445"/>
                    </a:lnTo>
                    <a:lnTo>
                      <a:pt x="177046" y="64246"/>
                    </a:lnTo>
                    <a:lnTo>
                      <a:pt x="215812" y="64246"/>
                    </a:lnTo>
                    <a:lnTo>
                      <a:pt x="215812" y="32687"/>
                    </a:lnTo>
                    <a:close/>
                  </a:path>
                </a:pathLst>
              </a:custGeom>
              <a:solidFill>
                <a:schemeClr val="accent1"/>
              </a:solidFill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50" name="Freeform: Shape 649">
              <a:extLst>
                <a:ext uri="{FF2B5EF4-FFF2-40B4-BE49-F238E27FC236}">
                  <a16:creationId xmlns:a16="http://schemas.microsoft.com/office/drawing/2014/main" id="{F6573183-4FFD-D32C-3CB1-50F57C0117E4}"/>
                </a:ext>
              </a:extLst>
            </p:cNvPr>
            <p:cNvSpPr/>
            <p:nvPr/>
          </p:nvSpPr>
          <p:spPr>
            <a:xfrm>
              <a:off x="6343790" y="3214160"/>
              <a:ext cx="58520" cy="74097"/>
            </a:xfrm>
            <a:custGeom>
              <a:avLst/>
              <a:gdLst>
                <a:gd name="connsiteX0" fmla="*/ 42564 w 58520"/>
                <a:gd name="connsiteY0" fmla="*/ 29927 h 74097"/>
                <a:gd name="connsiteX1" fmla="*/ 58521 w 58520"/>
                <a:gd name="connsiteY1" fmla="*/ 13971 h 74097"/>
                <a:gd name="connsiteX2" fmla="*/ 34269 w 58520"/>
                <a:gd name="connsiteY2" fmla="*/ 13971 h 74097"/>
                <a:gd name="connsiteX3" fmla="*/ 20298 w 58520"/>
                <a:gd name="connsiteY3" fmla="*/ 0 h 74097"/>
                <a:gd name="connsiteX4" fmla="*/ 0 w 58520"/>
                <a:gd name="connsiteY4" fmla="*/ 20297 h 74097"/>
                <a:gd name="connsiteX5" fmla="*/ 0 w 58520"/>
                <a:gd name="connsiteY5" fmla="*/ 46279 h 74097"/>
                <a:gd name="connsiteX6" fmla="*/ 27811 w 58520"/>
                <a:gd name="connsiteY6" fmla="*/ 74098 h 74097"/>
                <a:gd name="connsiteX7" fmla="*/ 27811 w 58520"/>
                <a:gd name="connsiteY7" fmla="*/ 44681 h 74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520" h="74097">
                  <a:moveTo>
                    <a:pt x="42564" y="29927"/>
                  </a:moveTo>
                  <a:lnTo>
                    <a:pt x="58521" y="13971"/>
                  </a:lnTo>
                  <a:lnTo>
                    <a:pt x="34269" y="13971"/>
                  </a:lnTo>
                  <a:lnTo>
                    <a:pt x="20298" y="0"/>
                  </a:lnTo>
                  <a:lnTo>
                    <a:pt x="0" y="20297"/>
                  </a:lnTo>
                  <a:lnTo>
                    <a:pt x="0" y="46279"/>
                  </a:lnTo>
                  <a:lnTo>
                    <a:pt x="27811" y="74098"/>
                  </a:lnTo>
                  <a:lnTo>
                    <a:pt x="27811" y="44681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1" name="Freeform: Shape 650">
              <a:extLst>
                <a:ext uri="{FF2B5EF4-FFF2-40B4-BE49-F238E27FC236}">
                  <a16:creationId xmlns:a16="http://schemas.microsoft.com/office/drawing/2014/main" id="{3AD66711-6B26-FDF8-1ED2-8203CCD9FD9C}"/>
                </a:ext>
              </a:extLst>
            </p:cNvPr>
            <p:cNvSpPr/>
            <p:nvPr/>
          </p:nvSpPr>
          <p:spPr>
            <a:xfrm>
              <a:off x="6302008" y="2938785"/>
              <a:ext cx="163609" cy="96233"/>
            </a:xfrm>
            <a:custGeom>
              <a:avLst/>
              <a:gdLst>
                <a:gd name="connsiteX0" fmla="*/ 58653 w 163609"/>
                <a:gd name="connsiteY0" fmla="*/ 96233 h 96233"/>
                <a:gd name="connsiteX1" fmla="*/ 58653 w 163609"/>
                <a:gd name="connsiteY1" fmla="*/ 74638 h 96233"/>
                <a:gd name="connsiteX2" fmla="*/ 81850 w 163609"/>
                <a:gd name="connsiteY2" fmla="*/ 74638 h 96233"/>
                <a:gd name="connsiteX3" fmla="*/ 108672 w 163609"/>
                <a:gd name="connsiteY3" fmla="*/ 47816 h 96233"/>
                <a:gd name="connsiteX4" fmla="*/ 151904 w 163609"/>
                <a:gd name="connsiteY4" fmla="*/ 47816 h 96233"/>
                <a:gd name="connsiteX5" fmla="*/ 151904 w 163609"/>
                <a:gd name="connsiteY5" fmla="*/ 46317 h 96233"/>
                <a:gd name="connsiteX6" fmla="*/ 163609 w 163609"/>
                <a:gd name="connsiteY6" fmla="*/ 34615 h 96233"/>
                <a:gd name="connsiteX7" fmla="*/ 132660 w 163609"/>
                <a:gd name="connsiteY7" fmla="*/ 9152 h 96233"/>
                <a:gd name="connsiteX8" fmla="*/ 123500 w 163609"/>
                <a:gd name="connsiteY8" fmla="*/ 18308 h 96233"/>
                <a:gd name="connsiteX9" fmla="*/ 92971 w 163609"/>
                <a:gd name="connsiteY9" fmla="*/ 18308 h 96233"/>
                <a:gd name="connsiteX10" fmla="*/ 81323 w 163609"/>
                <a:gd name="connsiteY10" fmla="*/ 6661 h 96233"/>
                <a:gd name="connsiteX11" fmla="*/ 54402 w 163609"/>
                <a:gd name="connsiteY11" fmla="*/ 6661 h 96233"/>
                <a:gd name="connsiteX12" fmla="*/ 47738 w 163609"/>
                <a:gd name="connsiteY12" fmla="*/ 0 h 96233"/>
                <a:gd name="connsiteX13" fmla="*/ 0 w 163609"/>
                <a:gd name="connsiteY13" fmla="*/ 47355 h 96233"/>
                <a:gd name="connsiteX14" fmla="*/ 0 w 163609"/>
                <a:gd name="connsiteY14" fmla="*/ 74638 h 96233"/>
                <a:gd name="connsiteX15" fmla="*/ 21599 w 163609"/>
                <a:gd name="connsiteY15" fmla="*/ 96233 h 9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3609" h="96233">
                  <a:moveTo>
                    <a:pt x="58653" y="96233"/>
                  </a:moveTo>
                  <a:lnTo>
                    <a:pt x="58653" y="74638"/>
                  </a:lnTo>
                  <a:lnTo>
                    <a:pt x="81850" y="74638"/>
                  </a:lnTo>
                  <a:lnTo>
                    <a:pt x="108672" y="47816"/>
                  </a:lnTo>
                  <a:lnTo>
                    <a:pt x="151904" y="47816"/>
                  </a:lnTo>
                  <a:lnTo>
                    <a:pt x="151904" y="46317"/>
                  </a:lnTo>
                  <a:lnTo>
                    <a:pt x="163609" y="34615"/>
                  </a:lnTo>
                  <a:lnTo>
                    <a:pt x="132660" y="9152"/>
                  </a:lnTo>
                  <a:lnTo>
                    <a:pt x="123500" y="18308"/>
                  </a:lnTo>
                  <a:lnTo>
                    <a:pt x="92971" y="18308"/>
                  </a:lnTo>
                  <a:lnTo>
                    <a:pt x="81323" y="6661"/>
                  </a:lnTo>
                  <a:lnTo>
                    <a:pt x="54402" y="6661"/>
                  </a:lnTo>
                  <a:lnTo>
                    <a:pt x="47738" y="0"/>
                  </a:lnTo>
                  <a:lnTo>
                    <a:pt x="0" y="47355"/>
                  </a:lnTo>
                  <a:lnTo>
                    <a:pt x="0" y="74638"/>
                  </a:lnTo>
                  <a:lnTo>
                    <a:pt x="21599" y="96233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2" name="Freeform: Shape 651">
              <a:extLst>
                <a:ext uri="{FF2B5EF4-FFF2-40B4-BE49-F238E27FC236}">
                  <a16:creationId xmlns:a16="http://schemas.microsoft.com/office/drawing/2014/main" id="{D0E7044A-9F88-007F-776D-13AA051504EC}"/>
                </a:ext>
              </a:extLst>
            </p:cNvPr>
            <p:cNvSpPr/>
            <p:nvPr/>
          </p:nvSpPr>
          <p:spPr>
            <a:xfrm>
              <a:off x="6275759" y="2986601"/>
              <a:ext cx="207536" cy="117898"/>
            </a:xfrm>
            <a:custGeom>
              <a:avLst/>
              <a:gdLst>
                <a:gd name="connsiteX0" fmla="*/ 43516 w 207536"/>
                <a:gd name="connsiteY0" fmla="*/ 117899 h 117898"/>
                <a:gd name="connsiteX1" fmla="*/ 63846 w 207536"/>
                <a:gd name="connsiteY1" fmla="*/ 117899 h 117898"/>
                <a:gd name="connsiteX2" fmla="*/ 91755 w 207536"/>
                <a:gd name="connsiteY2" fmla="*/ 117899 h 117898"/>
                <a:gd name="connsiteX3" fmla="*/ 102958 w 207536"/>
                <a:gd name="connsiteY3" fmla="*/ 106695 h 117898"/>
                <a:gd name="connsiteX4" fmla="*/ 144477 w 207536"/>
                <a:gd name="connsiteY4" fmla="*/ 106695 h 117898"/>
                <a:gd name="connsiteX5" fmla="*/ 171604 w 207536"/>
                <a:gd name="connsiteY5" fmla="*/ 79568 h 117898"/>
                <a:gd name="connsiteX6" fmla="*/ 171604 w 207536"/>
                <a:gd name="connsiteY6" fmla="*/ 57532 h 117898"/>
                <a:gd name="connsiteX7" fmla="*/ 188796 w 207536"/>
                <a:gd name="connsiteY7" fmla="*/ 40344 h 117898"/>
                <a:gd name="connsiteX8" fmla="*/ 207536 w 207536"/>
                <a:gd name="connsiteY8" fmla="*/ 27295 h 117898"/>
                <a:gd name="connsiteX9" fmla="*/ 194784 w 207536"/>
                <a:gd name="connsiteY9" fmla="*/ 27118 h 117898"/>
                <a:gd name="connsiteX10" fmla="*/ 178153 w 207536"/>
                <a:gd name="connsiteY10" fmla="*/ 10487 h 117898"/>
                <a:gd name="connsiteX11" fmla="*/ 178153 w 207536"/>
                <a:gd name="connsiteY11" fmla="*/ 0 h 117898"/>
                <a:gd name="connsiteX12" fmla="*/ 134921 w 207536"/>
                <a:gd name="connsiteY12" fmla="*/ 0 h 117898"/>
                <a:gd name="connsiteX13" fmla="*/ 108099 w 207536"/>
                <a:gd name="connsiteY13" fmla="*/ 26822 h 117898"/>
                <a:gd name="connsiteX14" fmla="*/ 84902 w 207536"/>
                <a:gd name="connsiteY14" fmla="*/ 26822 h 117898"/>
                <a:gd name="connsiteX15" fmla="*/ 84902 w 207536"/>
                <a:gd name="connsiteY15" fmla="*/ 48417 h 117898"/>
                <a:gd name="connsiteX16" fmla="*/ 47848 w 207536"/>
                <a:gd name="connsiteY16" fmla="*/ 48417 h 117898"/>
                <a:gd name="connsiteX17" fmla="*/ 26249 w 207536"/>
                <a:gd name="connsiteY17" fmla="*/ 26822 h 117898"/>
                <a:gd name="connsiteX18" fmla="*/ 1339 w 207536"/>
                <a:gd name="connsiteY18" fmla="*/ 51733 h 117898"/>
                <a:gd name="connsiteX19" fmla="*/ 1339 w 207536"/>
                <a:gd name="connsiteY19" fmla="*/ 72558 h 117898"/>
                <a:gd name="connsiteX20" fmla="*/ 0 w 207536"/>
                <a:gd name="connsiteY20" fmla="*/ 73896 h 117898"/>
                <a:gd name="connsiteX21" fmla="*/ 25590 w 207536"/>
                <a:gd name="connsiteY21" fmla="*/ 99973 h 117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7536" h="117898">
                  <a:moveTo>
                    <a:pt x="43516" y="117899"/>
                  </a:moveTo>
                  <a:lnTo>
                    <a:pt x="63846" y="117899"/>
                  </a:lnTo>
                  <a:lnTo>
                    <a:pt x="91755" y="117899"/>
                  </a:lnTo>
                  <a:lnTo>
                    <a:pt x="102958" y="106695"/>
                  </a:lnTo>
                  <a:lnTo>
                    <a:pt x="144477" y="106695"/>
                  </a:lnTo>
                  <a:lnTo>
                    <a:pt x="171604" y="79568"/>
                  </a:lnTo>
                  <a:lnTo>
                    <a:pt x="171604" y="57532"/>
                  </a:lnTo>
                  <a:lnTo>
                    <a:pt x="188796" y="40344"/>
                  </a:lnTo>
                  <a:lnTo>
                    <a:pt x="207536" y="27295"/>
                  </a:lnTo>
                  <a:lnTo>
                    <a:pt x="194784" y="27118"/>
                  </a:lnTo>
                  <a:lnTo>
                    <a:pt x="178153" y="10487"/>
                  </a:lnTo>
                  <a:lnTo>
                    <a:pt x="178153" y="0"/>
                  </a:lnTo>
                  <a:lnTo>
                    <a:pt x="134921" y="0"/>
                  </a:lnTo>
                  <a:lnTo>
                    <a:pt x="108099" y="26822"/>
                  </a:lnTo>
                  <a:lnTo>
                    <a:pt x="84902" y="26822"/>
                  </a:lnTo>
                  <a:lnTo>
                    <a:pt x="84902" y="48417"/>
                  </a:lnTo>
                  <a:lnTo>
                    <a:pt x="47848" y="48417"/>
                  </a:lnTo>
                  <a:lnTo>
                    <a:pt x="26249" y="26822"/>
                  </a:lnTo>
                  <a:lnTo>
                    <a:pt x="1339" y="51733"/>
                  </a:lnTo>
                  <a:lnTo>
                    <a:pt x="1339" y="72558"/>
                  </a:lnTo>
                  <a:lnTo>
                    <a:pt x="0" y="73896"/>
                  </a:lnTo>
                  <a:lnTo>
                    <a:pt x="25590" y="99973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3" name="Freeform: Shape 652">
              <a:extLst>
                <a:ext uri="{FF2B5EF4-FFF2-40B4-BE49-F238E27FC236}">
                  <a16:creationId xmlns:a16="http://schemas.microsoft.com/office/drawing/2014/main" id="{CDD3419E-A264-7B18-5D7C-73A6EF1BA278}"/>
                </a:ext>
              </a:extLst>
            </p:cNvPr>
            <p:cNvSpPr/>
            <p:nvPr/>
          </p:nvSpPr>
          <p:spPr>
            <a:xfrm>
              <a:off x="6258093" y="3134814"/>
              <a:ext cx="127016" cy="125625"/>
            </a:xfrm>
            <a:custGeom>
              <a:avLst/>
              <a:gdLst>
                <a:gd name="connsiteX0" fmla="*/ 123072 w 127016"/>
                <a:gd name="connsiteY0" fmla="*/ 52664 h 125625"/>
                <a:gd name="connsiteX1" fmla="*/ 112058 w 127016"/>
                <a:gd name="connsiteY1" fmla="*/ 41650 h 125625"/>
                <a:gd name="connsiteX2" fmla="*/ 112058 w 127016"/>
                <a:gd name="connsiteY2" fmla="*/ 15289 h 125625"/>
                <a:gd name="connsiteX3" fmla="*/ 96768 w 127016"/>
                <a:gd name="connsiteY3" fmla="*/ 0 h 125625"/>
                <a:gd name="connsiteX4" fmla="*/ 43915 w 127016"/>
                <a:gd name="connsiteY4" fmla="*/ 0 h 125625"/>
                <a:gd name="connsiteX5" fmla="*/ 43915 w 127016"/>
                <a:gd name="connsiteY5" fmla="*/ 10520 h 125625"/>
                <a:gd name="connsiteX6" fmla="*/ 0 w 127016"/>
                <a:gd name="connsiteY6" fmla="*/ 10520 h 125625"/>
                <a:gd name="connsiteX7" fmla="*/ 22695 w 127016"/>
                <a:gd name="connsiteY7" fmla="*/ 33214 h 125625"/>
                <a:gd name="connsiteX8" fmla="*/ 22695 w 127016"/>
                <a:gd name="connsiteY8" fmla="*/ 49822 h 125625"/>
                <a:gd name="connsiteX9" fmla="*/ 59864 w 127016"/>
                <a:gd name="connsiteY9" fmla="*/ 86990 h 125625"/>
                <a:gd name="connsiteX10" fmla="*/ 59864 w 127016"/>
                <a:gd name="connsiteY10" fmla="*/ 102444 h 125625"/>
                <a:gd name="connsiteX11" fmla="*/ 76059 w 127016"/>
                <a:gd name="connsiteY11" fmla="*/ 116004 h 125625"/>
                <a:gd name="connsiteX12" fmla="*/ 81067 w 127016"/>
                <a:gd name="connsiteY12" fmla="*/ 120996 h 125625"/>
                <a:gd name="connsiteX13" fmla="*/ 85697 w 127016"/>
                <a:gd name="connsiteY13" fmla="*/ 125625 h 125625"/>
                <a:gd name="connsiteX14" fmla="*/ 85697 w 127016"/>
                <a:gd name="connsiteY14" fmla="*/ 99643 h 125625"/>
                <a:gd name="connsiteX15" fmla="*/ 105995 w 127016"/>
                <a:gd name="connsiteY15" fmla="*/ 79346 h 125625"/>
                <a:gd name="connsiteX16" fmla="*/ 127017 w 127016"/>
                <a:gd name="connsiteY16" fmla="*/ 56613 h 125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7016" h="125625">
                  <a:moveTo>
                    <a:pt x="123072" y="52664"/>
                  </a:moveTo>
                  <a:lnTo>
                    <a:pt x="112058" y="41650"/>
                  </a:lnTo>
                  <a:lnTo>
                    <a:pt x="112058" y="15289"/>
                  </a:lnTo>
                  <a:lnTo>
                    <a:pt x="96768" y="0"/>
                  </a:lnTo>
                  <a:lnTo>
                    <a:pt x="43915" y="0"/>
                  </a:lnTo>
                  <a:lnTo>
                    <a:pt x="43915" y="10520"/>
                  </a:lnTo>
                  <a:lnTo>
                    <a:pt x="0" y="10520"/>
                  </a:lnTo>
                  <a:lnTo>
                    <a:pt x="22695" y="33214"/>
                  </a:lnTo>
                  <a:lnTo>
                    <a:pt x="22695" y="49822"/>
                  </a:lnTo>
                  <a:lnTo>
                    <a:pt x="59864" y="86990"/>
                  </a:lnTo>
                  <a:lnTo>
                    <a:pt x="59864" y="102444"/>
                  </a:lnTo>
                  <a:lnTo>
                    <a:pt x="76059" y="116004"/>
                  </a:lnTo>
                  <a:lnTo>
                    <a:pt x="81067" y="120996"/>
                  </a:lnTo>
                  <a:lnTo>
                    <a:pt x="85697" y="125625"/>
                  </a:lnTo>
                  <a:lnTo>
                    <a:pt x="85697" y="99643"/>
                  </a:lnTo>
                  <a:lnTo>
                    <a:pt x="105995" y="79346"/>
                  </a:lnTo>
                  <a:lnTo>
                    <a:pt x="127017" y="56613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4" name="Freeform: Shape 653">
              <a:extLst>
                <a:ext uri="{FF2B5EF4-FFF2-40B4-BE49-F238E27FC236}">
                  <a16:creationId xmlns:a16="http://schemas.microsoft.com/office/drawing/2014/main" id="{0C0446B6-C60F-5E33-1D01-FF59A55D6166}"/>
                </a:ext>
              </a:extLst>
            </p:cNvPr>
            <p:cNvSpPr/>
            <p:nvPr/>
          </p:nvSpPr>
          <p:spPr>
            <a:xfrm>
              <a:off x="6195236" y="3060497"/>
              <a:ext cx="159098" cy="176760"/>
            </a:xfrm>
            <a:custGeom>
              <a:avLst/>
              <a:gdLst>
                <a:gd name="connsiteX0" fmla="*/ 144370 w 159098"/>
                <a:gd name="connsiteY0" fmla="*/ 44003 h 176760"/>
                <a:gd name="connsiteX1" fmla="*/ 124039 w 159098"/>
                <a:gd name="connsiteY1" fmla="*/ 44003 h 176760"/>
                <a:gd name="connsiteX2" fmla="*/ 106114 w 159098"/>
                <a:gd name="connsiteY2" fmla="*/ 26077 h 176760"/>
                <a:gd name="connsiteX3" fmla="*/ 80524 w 159098"/>
                <a:gd name="connsiteY3" fmla="*/ 0 h 176760"/>
                <a:gd name="connsiteX4" fmla="*/ 61621 w 159098"/>
                <a:gd name="connsiteY4" fmla="*/ 18902 h 176760"/>
                <a:gd name="connsiteX5" fmla="*/ 72224 w 159098"/>
                <a:gd name="connsiteY5" fmla="*/ 29504 h 176760"/>
                <a:gd name="connsiteX6" fmla="*/ 72224 w 159098"/>
                <a:gd name="connsiteY6" fmla="*/ 48294 h 176760"/>
                <a:gd name="connsiteX7" fmla="*/ 51547 w 159098"/>
                <a:gd name="connsiteY7" fmla="*/ 68971 h 176760"/>
                <a:gd name="connsiteX8" fmla="*/ 29404 w 159098"/>
                <a:gd name="connsiteY8" fmla="*/ 68971 h 176760"/>
                <a:gd name="connsiteX9" fmla="*/ 0 w 159098"/>
                <a:gd name="connsiteY9" fmla="*/ 68971 h 176760"/>
                <a:gd name="connsiteX10" fmla="*/ 0 w 159098"/>
                <a:gd name="connsiteY10" fmla="*/ 88370 h 176760"/>
                <a:gd name="connsiteX11" fmla="*/ 22884 w 159098"/>
                <a:gd name="connsiteY11" fmla="*/ 88370 h 176760"/>
                <a:gd name="connsiteX12" fmla="*/ 49166 w 159098"/>
                <a:gd name="connsiteY12" fmla="*/ 114657 h 176760"/>
                <a:gd name="connsiteX13" fmla="*/ 49166 w 159098"/>
                <a:gd name="connsiteY13" fmla="*/ 124929 h 176760"/>
                <a:gd name="connsiteX14" fmla="*/ 74081 w 159098"/>
                <a:gd name="connsiteY14" fmla="*/ 149844 h 176760"/>
                <a:gd name="connsiteX15" fmla="*/ 90561 w 159098"/>
                <a:gd name="connsiteY15" fmla="*/ 149844 h 176760"/>
                <a:gd name="connsiteX16" fmla="*/ 122721 w 159098"/>
                <a:gd name="connsiteY16" fmla="*/ 176761 h 176760"/>
                <a:gd name="connsiteX17" fmla="*/ 122721 w 159098"/>
                <a:gd name="connsiteY17" fmla="*/ 161307 h 176760"/>
                <a:gd name="connsiteX18" fmla="*/ 85553 w 159098"/>
                <a:gd name="connsiteY18" fmla="*/ 124139 h 176760"/>
                <a:gd name="connsiteX19" fmla="*/ 85553 w 159098"/>
                <a:gd name="connsiteY19" fmla="*/ 107531 h 176760"/>
                <a:gd name="connsiteX20" fmla="*/ 62857 w 159098"/>
                <a:gd name="connsiteY20" fmla="*/ 84837 h 176760"/>
                <a:gd name="connsiteX21" fmla="*/ 106773 w 159098"/>
                <a:gd name="connsiteY21" fmla="*/ 84837 h 176760"/>
                <a:gd name="connsiteX22" fmla="*/ 106773 w 159098"/>
                <a:gd name="connsiteY22" fmla="*/ 74317 h 176760"/>
                <a:gd name="connsiteX23" fmla="*/ 159099 w 159098"/>
                <a:gd name="connsiteY23" fmla="*/ 74317 h 176760"/>
                <a:gd name="connsiteX24" fmla="*/ 159099 w 159098"/>
                <a:gd name="connsiteY24" fmla="*/ 44003 h 176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59098" h="176760">
                  <a:moveTo>
                    <a:pt x="144370" y="44003"/>
                  </a:moveTo>
                  <a:lnTo>
                    <a:pt x="124039" y="44003"/>
                  </a:lnTo>
                  <a:lnTo>
                    <a:pt x="106114" y="26077"/>
                  </a:lnTo>
                  <a:lnTo>
                    <a:pt x="80524" y="0"/>
                  </a:lnTo>
                  <a:lnTo>
                    <a:pt x="61621" y="18902"/>
                  </a:lnTo>
                  <a:lnTo>
                    <a:pt x="72224" y="29504"/>
                  </a:lnTo>
                  <a:lnTo>
                    <a:pt x="72224" y="48294"/>
                  </a:lnTo>
                  <a:lnTo>
                    <a:pt x="51547" y="68971"/>
                  </a:lnTo>
                  <a:lnTo>
                    <a:pt x="29404" y="68971"/>
                  </a:lnTo>
                  <a:lnTo>
                    <a:pt x="0" y="68971"/>
                  </a:lnTo>
                  <a:lnTo>
                    <a:pt x="0" y="88370"/>
                  </a:lnTo>
                  <a:lnTo>
                    <a:pt x="22884" y="88370"/>
                  </a:lnTo>
                  <a:lnTo>
                    <a:pt x="49166" y="114657"/>
                  </a:lnTo>
                  <a:lnTo>
                    <a:pt x="49166" y="124929"/>
                  </a:lnTo>
                  <a:lnTo>
                    <a:pt x="74081" y="149844"/>
                  </a:lnTo>
                  <a:lnTo>
                    <a:pt x="90561" y="149844"/>
                  </a:lnTo>
                  <a:lnTo>
                    <a:pt x="122721" y="176761"/>
                  </a:lnTo>
                  <a:lnTo>
                    <a:pt x="122721" y="161307"/>
                  </a:lnTo>
                  <a:lnTo>
                    <a:pt x="85553" y="124139"/>
                  </a:lnTo>
                  <a:lnTo>
                    <a:pt x="85553" y="107531"/>
                  </a:lnTo>
                  <a:lnTo>
                    <a:pt x="62857" y="84837"/>
                  </a:lnTo>
                  <a:lnTo>
                    <a:pt x="106773" y="84837"/>
                  </a:lnTo>
                  <a:lnTo>
                    <a:pt x="106773" y="74317"/>
                  </a:lnTo>
                  <a:lnTo>
                    <a:pt x="159099" y="74317"/>
                  </a:lnTo>
                  <a:lnTo>
                    <a:pt x="159099" y="44003"/>
                  </a:lnTo>
                  <a:close/>
                </a:path>
              </a:pathLst>
            </a:custGeom>
            <a:solidFill>
              <a:schemeClr val="accent1"/>
            </a:solidFill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3" name="Freeform: Shape 662">
              <a:extLst>
                <a:ext uri="{FF2B5EF4-FFF2-40B4-BE49-F238E27FC236}">
                  <a16:creationId xmlns:a16="http://schemas.microsoft.com/office/drawing/2014/main" id="{9704D3C8-D5D8-A8E1-EA03-86A5B77C2AC7}"/>
                </a:ext>
              </a:extLst>
            </p:cNvPr>
            <p:cNvSpPr/>
            <p:nvPr/>
          </p:nvSpPr>
          <p:spPr>
            <a:xfrm>
              <a:off x="6388002" y="3228131"/>
              <a:ext cx="49632" cy="50612"/>
            </a:xfrm>
            <a:custGeom>
              <a:avLst/>
              <a:gdLst>
                <a:gd name="connsiteX0" fmla="*/ 46024 w 49632"/>
                <a:gd name="connsiteY0" fmla="*/ 14845 h 50612"/>
                <a:gd name="connsiteX1" fmla="*/ 31188 w 49632"/>
                <a:gd name="connsiteY1" fmla="*/ 0 h 50612"/>
                <a:gd name="connsiteX2" fmla="*/ 14309 w 49632"/>
                <a:gd name="connsiteY2" fmla="*/ 0 h 50612"/>
                <a:gd name="connsiteX3" fmla="*/ 0 w 49632"/>
                <a:gd name="connsiteY3" fmla="*/ 14309 h 50612"/>
                <a:gd name="connsiteX4" fmla="*/ 17999 w 49632"/>
                <a:gd name="connsiteY4" fmla="*/ 32309 h 50612"/>
                <a:gd name="connsiteX5" fmla="*/ 17999 w 49632"/>
                <a:gd name="connsiteY5" fmla="*/ 50613 h 50612"/>
                <a:gd name="connsiteX6" fmla="*/ 38561 w 49632"/>
                <a:gd name="connsiteY6" fmla="*/ 30051 h 50612"/>
                <a:gd name="connsiteX7" fmla="*/ 49632 w 49632"/>
                <a:gd name="connsiteY7" fmla="*/ 30051 h 50612"/>
                <a:gd name="connsiteX8" fmla="*/ 49632 w 49632"/>
                <a:gd name="connsiteY8" fmla="*/ 18452 h 50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632" h="50612">
                  <a:moveTo>
                    <a:pt x="46024" y="14845"/>
                  </a:moveTo>
                  <a:lnTo>
                    <a:pt x="31188" y="0"/>
                  </a:lnTo>
                  <a:lnTo>
                    <a:pt x="14309" y="0"/>
                  </a:lnTo>
                  <a:lnTo>
                    <a:pt x="0" y="14309"/>
                  </a:lnTo>
                  <a:lnTo>
                    <a:pt x="17999" y="32309"/>
                  </a:lnTo>
                  <a:lnTo>
                    <a:pt x="17999" y="50613"/>
                  </a:lnTo>
                  <a:lnTo>
                    <a:pt x="38561" y="30051"/>
                  </a:lnTo>
                  <a:lnTo>
                    <a:pt x="49632" y="30051"/>
                  </a:lnTo>
                  <a:lnTo>
                    <a:pt x="49632" y="18452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4" name="Freeform: Shape 663">
              <a:extLst>
                <a:ext uri="{FF2B5EF4-FFF2-40B4-BE49-F238E27FC236}">
                  <a16:creationId xmlns:a16="http://schemas.microsoft.com/office/drawing/2014/main" id="{B493E0A2-C95F-C932-8D96-2FDA93774494}"/>
                </a:ext>
              </a:extLst>
            </p:cNvPr>
            <p:cNvSpPr/>
            <p:nvPr/>
          </p:nvSpPr>
          <p:spPr>
            <a:xfrm>
              <a:off x="6354334" y="3093296"/>
              <a:ext cx="129711" cy="164886"/>
            </a:xfrm>
            <a:custGeom>
              <a:avLst/>
              <a:gdLst>
                <a:gd name="connsiteX0" fmla="*/ 111283 w 129711"/>
                <a:gd name="connsiteY0" fmla="*/ 106366 h 164886"/>
                <a:gd name="connsiteX1" fmla="*/ 111283 w 129711"/>
                <a:gd name="connsiteY1" fmla="*/ 63134 h 164886"/>
                <a:gd name="connsiteX2" fmla="*/ 81718 w 129711"/>
                <a:gd name="connsiteY2" fmla="*/ 63134 h 164886"/>
                <a:gd name="connsiteX3" fmla="*/ 81718 w 129711"/>
                <a:gd name="connsiteY3" fmla="*/ 41518 h 164886"/>
                <a:gd name="connsiteX4" fmla="*/ 65836 w 129711"/>
                <a:gd name="connsiteY4" fmla="*/ 41518 h 164886"/>
                <a:gd name="connsiteX5" fmla="*/ 65836 w 129711"/>
                <a:gd name="connsiteY5" fmla="*/ 24713 h 164886"/>
                <a:gd name="connsiteX6" fmla="*/ 41123 w 129711"/>
                <a:gd name="connsiteY6" fmla="*/ 0 h 164886"/>
                <a:gd name="connsiteX7" fmla="*/ 24383 w 129711"/>
                <a:gd name="connsiteY7" fmla="*/ 0 h 164886"/>
                <a:gd name="connsiteX8" fmla="*/ 13180 w 129711"/>
                <a:gd name="connsiteY8" fmla="*/ 11204 h 164886"/>
                <a:gd name="connsiteX9" fmla="*/ 0 w 129711"/>
                <a:gd name="connsiteY9" fmla="*/ 11204 h 164886"/>
                <a:gd name="connsiteX10" fmla="*/ 0 w 129711"/>
                <a:gd name="connsiteY10" fmla="*/ 41518 h 164886"/>
                <a:gd name="connsiteX11" fmla="*/ 527 w 129711"/>
                <a:gd name="connsiteY11" fmla="*/ 41518 h 164886"/>
                <a:gd name="connsiteX12" fmla="*/ 15816 w 129711"/>
                <a:gd name="connsiteY12" fmla="*/ 56808 h 164886"/>
                <a:gd name="connsiteX13" fmla="*/ 15816 w 129711"/>
                <a:gd name="connsiteY13" fmla="*/ 83168 h 164886"/>
                <a:gd name="connsiteX14" fmla="*/ 26830 w 129711"/>
                <a:gd name="connsiteY14" fmla="*/ 94182 h 164886"/>
                <a:gd name="connsiteX15" fmla="*/ 30776 w 129711"/>
                <a:gd name="connsiteY15" fmla="*/ 98132 h 164886"/>
                <a:gd name="connsiteX16" fmla="*/ 9754 w 129711"/>
                <a:gd name="connsiteY16" fmla="*/ 120865 h 164886"/>
                <a:gd name="connsiteX17" fmla="*/ 23725 w 129711"/>
                <a:gd name="connsiteY17" fmla="*/ 134835 h 164886"/>
                <a:gd name="connsiteX18" fmla="*/ 47976 w 129711"/>
                <a:gd name="connsiteY18" fmla="*/ 134835 h 164886"/>
                <a:gd name="connsiteX19" fmla="*/ 64856 w 129711"/>
                <a:gd name="connsiteY19" fmla="*/ 134835 h 164886"/>
                <a:gd name="connsiteX20" fmla="*/ 79692 w 129711"/>
                <a:gd name="connsiteY20" fmla="*/ 149680 h 164886"/>
                <a:gd name="connsiteX21" fmla="*/ 83300 w 129711"/>
                <a:gd name="connsiteY21" fmla="*/ 153288 h 164886"/>
                <a:gd name="connsiteX22" fmla="*/ 83300 w 129711"/>
                <a:gd name="connsiteY22" fmla="*/ 164886 h 164886"/>
                <a:gd name="connsiteX23" fmla="*/ 111283 w 129711"/>
                <a:gd name="connsiteY23" fmla="*/ 164886 h 164886"/>
                <a:gd name="connsiteX24" fmla="*/ 111283 w 129711"/>
                <a:gd name="connsiteY24" fmla="*/ 141162 h 164886"/>
                <a:gd name="connsiteX25" fmla="*/ 129712 w 129711"/>
                <a:gd name="connsiteY25" fmla="*/ 141162 h 164886"/>
                <a:gd name="connsiteX26" fmla="*/ 129712 w 129711"/>
                <a:gd name="connsiteY26" fmla="*/ 124798 h 164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29711" h="164886">
                  <a:moveTo>
                    <a:pt x="111283" y="106366"/>
                  </a:moveTo>
                  <a:lnTo>
                    <a:pt x="111283" y="63134"/>
                  </a:lnTo>
                  <a:lnTo>
                    <a:pt x="81718" y="63134"/>
                  </a:lnTo>
                  <a:lnTo>
                    <a:pt x="81718" y="41518"/>
                  </a:lnTo>
                  <a:lnTo>
                    <a:pt x="65836" y="41518"/>
                  </a:lnTo>
                  <a:lnTo>
                    <a:pt x="65836" y="24713"/>
                  </a:lnTo>
                  <a:lnTo>
                    <a:pt x="41123" y="0"/>
                  </a:lnTo>
                  <a:lnTo>
                    <a:pt x="24383" y="0"/>
                  </a:lnTo>
                  <a:lnTo>
                    <a:pt x="13180" y="11204"/>
                  </a:lnTo>
                  <a:lnTo>
                    <a:pt x="0" y="11204"/>
                  </a:lnTo>
                  <a:lnTo>
                    <a:pt x="0" y="41518"/>
                  </a:lnTo>
                  <a:lnTo>
                    <a:pt x="527" y="41518"/>
                  </a:lnTo>
                  <a:lnTo>
                    <a:pt x="15816" y="56808"/>
                  </a:lnTo>
                  <a:lnTo>
                    <a:pt x="15816" y="83168"/>
                  </a:lnTo>
                  <a:lnTo>
                    <a:pt x="26830" y="94182"/>
                  </a:lnTo>
                  <a:lnTo>
                    <a:pt x="30776" y="98132"/>
                  </a:lnTo>
                  <a:lnTo>
                    <a:pt x="9754" y="120865"/>
                  </a:lnTo>
                  <a:lnTo>
                    <a:pt x="23725" y="134835"/>
                  </a:lnTo>
                  <a:lnTo>
                    <a:pt x="47976" y="134835"/>
                  </a:lnTo>
                  <a:lnTo>
                    <a:pt x="64856" y="134835"/>
                  </a:lnTo>
                  <a:lnTo>
                    <a:pt x="79692" y="149680"/>
                  </a:lnTo>
                  <a:lnTo>
                    <a:pt x="83300" y="153288"/>
                  </a:lnTo>
                  <a:lnTo>
                    <a:pt x="83300" y="164886"/>
                  </a:lnTo>
                  <a:lnTo>
                    <a:pt x="111283" y="164886"/>
                  </a:lnTo>
                  <a:lnTo>
                    <a:pt x="111283" y="141162"/>
                  </a:lnTo>
                  <a:lnTo>
                    <a:pt x="129712" y="141162"/>
                  </a:lnTo>
                  <a:lnTo>
                    <a:pt x="129712" y="124798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5" name="Freeform: Shape 664">
              <a:extLst>
                <a:ext uri="{FF2B5EF4-FFF2-40B4-BE49-F238E27FC236}">
                  <a16:creationId xmlns:a16="http://schemas.microsoft.com/office/drawing/2014/main" id="{92467E43-5B09-C393-3737-F4A691C762DB}"/>
                </a:ext>
              </a:extLst>
            </p:cNvPr>
            <p:cNvSpPr/>
            <p:nvPr/>
          </p:nvSpPr>
          <p:spPr>
            <a:xfrm>
              <a:off x="6567971" y="3274270"/>
              <a:ext cx="584284" cy="236043"/>
            </a:xfrm>
            <a:custGeom>
              <a:avLst/>
              <a:gdLst>
                <a:gd name="connsiteX0" fmla="*/ 557545 w 584284"/>
                <a:gd name="connsiteY0" fmla="*/ 78201 h 236043"/>
                <a:gd name="connsiteX1" fmla="*/ 557545 w 584284"/>
                <a:gd name="connsiteY1" fmla="*/ 52079 h 236043"/>
                <a:gd name="connsiteX2" fmla="*/ 526456 w 584284"/>
                <a:gd name="connsiteY2" fmla="*/ 20990 h 236043"/>
                <a:gd name="connsiteX3" fmla="*/ 490260 w 584284"/>
                <a:gd name="connsiteY3" fmla="*/ 20990 h 236043"/>
                <a:gd name="connsiteX4" fmla="*/ 490260 w 584284"/>
                <a:gd name="connsiteY4" fmla="*/ 21130 h 236043"/>
                <a:gd name="connsiteX5" fmla="*/ 454656 w 584284"/>
                <a:gd name="connsiteY5" fmla="*/ 56750 h 236043"/>
                <a:gd name="connsiteX6" fmla="*/ 417915 w 584284"/>
                <a:gd name="connsiteY6" fmla="*/ 56750 h 236043"/>
                <a:gd name="connsiteX7" fmla="*/ 417915 w 584284"/>
                <a:gd name="connsiteY7" fmla="*/ 48957 h 236043"/>
                <a:gd name="connsiteX8" fmla="*/ 396778 w 584284"/>
                <a:gd name="connsiteY8" fmla="*/ 48957 h 236043"/>
                <a:gd name="connsiteX9" fmla="*/ 383433 w 584284"/>
                <a:gd name="connsiteY9" fmla="*/ 48957 h 236043"/>
                <a:gd name="connsiteX10" fmla="*/ 370055 w 584284"/>
                <a:gd name="connsiteY10" fmla="*/ 35603 h 236043"/>
                <a:gd name="connsiteX11" fmla="*/ 322210 w 584284"/>
                <a:gd name="connsiteY11" fmla="*/ 35603 h 236043"/>
                <a:gd name="connsiteX12" fmla="*/ 306624 w 584284"/>
                <a:gd name="connsiteY12" fmla="*/ 20027 h 236043"/>
                <a:gd name="connsiteX13" fmla="*/ 296590 w 584284"/>
                <a:gd name="connsiteY13" fmla="*/ 30044 h 236043"/>
                <a:gd name="connsiteX14" fmla="*/ 282125 w 584284"/>
                <a:gd name="connsiteY14" fmla="*/ 15569 h 236043"/>
                <a:gd name="connsiteX15" fmla="*/ 234297 w 584284"/>
                <a:gd name="connsiteY15" fmla="*/ 15569 h 236043"/>
                <a:gd name="connsiteX16" fmla="*/ 193849 w 584284"/>
                <a:gd name="connsiteY16" fmla="*/ 15569 h 236043"/>
                <a:gd name="connsiteX17" fmla="*/ 163058 w 584284"/>
                <a:gd name="connsiteY17" fmla="*/ 46370 h 236043"/>
                <a:gd name="connsiteX18" fmla="*/ 94058 w 584284"/>
                <a:gd name="connsiteY18" fmla="*/ 46370 h 236043"/>
                <a:gd name="connsiteX19" fmla="*/ 92954 w 584284"/>
                <a:gd name="connsiteY19" fmla="*/ 46370 h 236043"/>
                <a:gd name="connsiteX20" fmla="*/ 81455 w 584284"/>
                <a:gd name="connsiteY20" fmla="*/ 46370 h 236043"/>
                <a:gd name="connsiteX21" fmla="*/ 58405 w 584284"/>
                <a:gd name="connsiteY21" fmla="*/ 23980 h 236043"/>
                <a:gd name="connsiteX22" fmla="*/ 58891 w 584284"/>
                <a:gd name="connsiteY22" fmla="*/ 0 h 236043"/>
                <a:gd name="connsiteX23" fmla="*/ 43116 w 584284"/>
                <a:gd name="connsiteY23" fmla="*/ 0 h 236043"/>
                <a:gd name="connsiteX24" fmla="*/ 20586 w 584284"/>
                <a:gd name="connsiteY24" fmla="*/ 0 h 236043"/>
                <a:gd name="connsiteX25" fmla="*/ 15380 w 584284"/>
                <a:gd name="connsiteY25" fmla="*/ 5206 h 236043"/>
                <a:gd name="connsiteX26" fmla="*/ 27844 w 584284"/>
                <a:gd name="connsiteY26" fmla="*/ 17671 h 236043"/>
                <a:gd name="connsiteX27" fmla="*/ 24244 w 584284"/>
                <a:gd name="connsiteY27" fmla="*/ 21270 h 236043"/>
                <a:gd name="connsiteX28" fmla="*/ 17843 w 584284"/>
                <a:gd name="connsiteY28" fmla="*/ 27671 h 236043"/>
                <a:gd name="connsiteX29" fmla="*/ 17843 w 584284"/>
                <a:gd name="connsiteY29" fmla="*/ 41065 h 236043"/>
                <a:gd name="connsiteX30" fmla="*/ 0 w 584284"/>
                <a:gd name="connsiteY30" fmla="*/ 58908 h 236043"/>
                <a:gd name="connsiteX31" fmla="*/ 19936 w 584284"/>
                <a:gd name="connsiteY31" fmla="*/ 59460 h 236043"/>
                <a:gd name="connsiteX32" fmla="*/ 19936 w 584284"/>
                <a:gd name="connsiteY32" fmla="*/ 99982 h 236043"/>
                <a:gd name="connsiteX33" fmla="*/ 39327 w 584284"/>
                <a:gd name="connsiteY33" fmla="*/ 99982 h 236043"/>
                <a:gd name="connsiteX34" fmla="*/ 39327 w 584284"/>
                <a:gd name="connsiteY34" fmla="*/ 135214 h 236043"/>
                <a:gd name="connsiteX35" fmla="*/ 26970 w 584284"/>
                <a:gd name="connsiteY35" fmla="*/ 147521 h 236043"/>
                <a:gd name="connsiteX36" fmla="*/ 44582 w 584284"/>
                <a:gd name="connsiteY36" fmla="*/ 165167 h 236043"/>
                <a:gd name="connsiteX37" fmla="*/ 44582 w 584284"/>
                <a:gd name="connsiteY37" fmla="*/ 203900 h 236043"/>
                <a:gd name="connsiteX38" fmla="*/ 115015 w 584284"/>
                <a:gd name="connsiteY38" fmla="*/ 203900 h 236043"/>
                <a:gd name="connsiteX39" fmla="*/ 115015 w 584284"/>
                <a:gd name="connsiteY39" fmla="*/ 226793 h 236043"/>
                <a:gd name="connsiteX40" fmla="*/ 152035 w 584284"/>
                <a:gd name="connsiteY40" fmla="*/ 226793 h 236043"/>
                <a:gd name="connsiteX41" fmla="*/ 166979 w 584284"/>
                <a:gd name="connsiteY41" fmla="*/ 211833 h 236043"/>
                <a:gd name="connsiteX42" fmla="*/ 188973 w 584284"/>
                <a:gd name="connsiteY42" fmla="*/ 211833 h 236043"/>
                <a:gd name="connsiteX43" fmla="*/ 213176 w 584284"/>
                <a:gd name="connsiteY43" fmla="*/ 236043 h 236043"/>
                <a:gd name="connsiteX44" fmla="*/ 261202 w 584284"/>
                <a:gd name="connsiteY44" fmla="*/ 236043 h 236043"/>
                <a:gd name="connsiteX45" fmla="*/ 285190 w 584284"/>
                <a:gd name="connsiteY45" fmla="*/ 212047 h 236043"/>
                <a:gd name="connsiteX46" fmla="*/ 322804 w 584284"/>
                <a:gd name="connsiteY46" fmla="*/ 212047 h 236043"/>
                <a:gd name="connsiteX47" fmla="*/ 350432 w 584284"/>
                <a:gd name="connsiteY47" fmla="*/ 212047 h 236043"/>
                <a:gd name="connsiteX48" fmla="*/ 401786 w 584284"/>
                <a:gd name="connsiteY48" fmla="*/ 212047 h 236043"/>
                <a:gd name="connsiteX49" fmla="*/ 439432 w 584284"/>
                <a:gd name="connsiteY49" fmla="*/ 212047 h 236043"/>
                <a:gd name="connsiteX50" fmla="*/ 456946 w 584284"/>
                <a:gd name="connsiteY50" fmla="*/ 194526 h 236043"/>
                <a:gd name="connsiteX51" fmla="*/ 474740 w 584284"/>
                <a:gd name="connsiteY51" fmla="*/ 194526 h 236043"/>
                <a:gd name="connsiteX52" fmla="*/ 487261 w 584284"/>
                <a:gd name="connsiteY52" fmla="*/ 207014 h 236043"/>
                <a:gd name="connsiteX53" fmla="*/ 511414 w 584284"/>
                <a:gd name="connsiteY53" fmla="*/ 207014 h 236043"/>
                <a:gd name="connsiteX54" fmla="*/ 527477 w 584284"/>
                <a:gd name="connsiteY54" fmla="*/ 190967 h 236043"/>
                <a:gd name="connsiteX55" fmla="*/ 584285 w 584284"/>
                <a:gd name="connsiteY55" fmla="*/ 190967 h 236043"/>
                <a:gd name="connsiteX56" fmla="*/ 584285 w 584284"/>
                <a:gd name="connsiteY56" fmla="*/ 104933 h 236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584284" h="236043">
                  <a:moveTo>
                    <a:pt x="557545" y="78201"/>
                  </a:moveTo>
                  <a:lnTo>
                    <a:pt x="557545" y="52079"/>
                  </a:lnTo>
                  <a:lnTo>
                    <a:pt x="526456" y="20990"/>
                  </a:lnTo>
                  <a:lnTo>
                    <a:pt x="490260" y="20990"/>
                  </a:lnTo>
                  <a:lnTo>
                    <a:pt x="490260" y="21130"/>
                  </a:lnTo>
                  <a:lnTo>
                    <a:pt x="454656" y="56750"/>
                  </a:lnTo>
                  <a:lnTo>
                    <a:pt x="417915" y="56750"/>
                  </a:lnTo>
                  <a:lnTo>
                    <a:pt x="417915" y="48957"/>
                  </a:lnTo>
                  <a:lnTo>
                    <a:pt x="396778" y="48957"/>
                  </a:lnTo>
                  <a:lnTo>
                    <a:pt x="383433" y="48957"/>
                  </a:lnTo>
                  <a:lnTo>
                    <a:pt x="370055" y="35603"/>
                  </a:lnTo>
                  <a:lnTo>
                    <a:pt x="322210" y="35603"/>
                  </a:lnTo>
                  <a:lnTo>
                    <a:pt x="306624" y="20027"/>
                  </a:lnTo>
                  <a:lnTo>
                    <a:pt x="296590" y="30044"/>
                  </a:lnTo>
                  <a:lnTo>
                    <a:pt x="282125" y="15569"/>
                  </a:lnTo>
                  <a:lnTo>
                    <a:pt x="234297" y="15569"/>
                  </a:lnTo>
                  <a:lnTo>
                    <a:pt x="193849" y="15569"/>
                  </a:lnTo>
                  <a:lnTo>
                    <a:pt x="163058" y="46370"/>
                  </a:lnTo>
                  <a:lnTo>
                    <a:pt x="94058" y="46370"/>
                  </a:lnTo>
                  <a:lnTo>
                    <a:pt x="92954" y="46370"/>
                  </a:lnTo>
                  <a:lnTo>
                    <a:pt x="81455" y="46370"/>
                  </a:lnTo>
                  <a:lnTo>
                    <a:pt x="58405" y="23980"/>
                  </a:lnTo>
                  <a:lnTo>
                    <a:pt x="58891" y="0"/>
                  </a:lnTo>
                  <a:lnTo>
                    <a:pt x="43116" y="0"/>
                  </a:lnTo>
                  <a:lnTo>
                    <a:pt x="20586" y="0"/>
                  </a:lnTo>
                  <a:lnTo>
                    <a:pt x="15380" y="5206"/>
                  </a:lnTo>
                  <a:lnTo>
                    <a:pt x="27844" y="17671"/>
                  </a:lnTo>
                  <a:lnTo>
                    <a:pt x="24244" y="21270"/>
                  </a:lnTo>
                  <a:lnTo>
                    <a:pt x="17843" y="27671"/>
                  </a:lnTo>
                  <a:lnTo>
                    <a:pt x="17843" y="41065"/>
                  </a:lnTo>
                  <a:lnTo>
                    <a:pt x="0" y="58908"/>
                  </a:lnTo>
                  <a:lnTo>
                    <a:pt x="19936" y="59460"/>
                  </a:lnTo>
                  <a:lnTo>
                    <a:pt x="19936" y="99982"/>
                  </a:lnTo>
                  <a:lnTo>
                    <a:pt x="39327" y="99982"/>
                  </a:lnTo>
                  <a:lnTo>
                    <a:pt x="39327" y="135214"/>
                  </a:lnTo>
                  <a:lnTo>
                    <a:pt x="26970" y="147521"/>
                  </a:lnTo>
                  <a:lnTo>
                    <a:pt x="44582" y="165167"/>
                  </a:lnTo>
                  <a:lnTo>
                    <a:pt x="44582" y="203900"/>
                  </a:lnTo>
                  <a:lnTo>
                    <a:pt x="115015" y="203900"/>
                  </a:lnTo>
                  <a:lnTo>
                    <a:pt x="115015" y="226793"/>
                  </a:lnTo>
                  <a:lnTo>
                    <a:pt x="152035" y="226793"/>
                  </a:lnTo>
                  <a:lnTo>
                    <a:pt x="166979" y="211833"/>
                  </a:lnTo>
                  <a:lnTo>
                    <a:pt x="188973" y="211833"/>
                  </a:lnTo>
                  <a:lnTo>
                    <a:pt x="213176" y="236043"/>
                  </a:lnTo>
                  <a:lnTo>
                    <a:pt x="261202" y="236043"/>
                  </a:lnTo>
                  <a:lnTo>
                    <a:pt x="285190" y="212047"/>
                  </a:lnTo>
                  <a:lnTo>
                    <a:pt x="322804" y="212047"/>
                  </a:lnTo>
                  <a:lnTo>
                    <a:pt x="350432" y="212047"/>
                  </a:lnTo>
                  <a:lnTo>
                    <a:pt x="401786" y="212047"/>
                  </a:lnTo>
                  <a:lnTo>
                    <a:pt x="439432" y="212047"/>
                  </a:lnTo>
                  <a:lnTo>
                    <a:pt x="456946" y="194526"/>
                  </a:lnTo>
                  <a:lnTo>
                    <a:pt x="474740" y="194526"/>
                  </a:lnTo>
                  <a:lnTo>
                    <a:pt x="487261" y="207014"/>
                  </a:lnTo>
                  <a:lnTo>
                    <a:pt x="511414" y="207014"/>
                  </a:lnTo>
                  <a:lnTo>
                    <a:pt x="527477" y="190967"/>
                  </a:lnTo>
                  <a:lnTo>
                    <a:pt x="584285" y="190967"/>
                  </a:lnTo>
                  <a:lnTo>
                    <a:pt x="584285" y="104933"/>
                  </a:lnTo>
                  <a:close/>
                </a:path>
              </a:pathLst>
            </a:custGeom>
            <a:solidFill>
              <a:schemeClr val="accent1"/>
            </a:solidFill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6" name="Freeform: Shape 665">
              <a:extLst>
                <a:ext uri="{FF2B5EF4-FFF2-40B4-BE49-F238E27FC236}">
                  <a16:creationId xmlns:a16="http://schemas.microsoft.com/office/drawing/2014/main" id="{CA8B8F2C-5701-ABCF-2F83-F33020777762}"/>
                </a:ext>
              </a:extLst>
            </p:cNvPr>
            <p:cNvSpPr/>
            <p:nvPr/>
          </p:nvSpPr>
          <p:spPr>
            <a:xfrm>
              <a:off x="6393933" y="3279477"/>
              <a:ext cx="201882" cy="159474"/>
            </a:xfrm>
            <a:custGeom>
              <a:avLst/>
              <a:gdLst>
                <a:gd name="connsiteX0" fmla="*/ 191882 w 201882"/>
                <a:gd name="connsiteY0" fmla="*/ 22464 h 159474"/>
                <a:gd name="connsiteX1" fmla="*/ 198282 w 201882"/>
                <a:gd name="connsiteY1" fmla="*/ 16064 h 159474"/>
                <a:gd name="connsiteX2" fmla="*/ 201883 w 201882"/>
                <a:gd name="connsiteY2" fmla="*/ 12464 h 159474"/>
                <a:gd name="connsiteX3" fmla="*/ 189419 w 201882"/>
                <a:gd name="connsiteY3" fmla="*/ 0 h 159474"/>
                <a:gd name="connsiteX4" fmla="*/ 171287 w 201882"/>
                <a:gd name="connsiteY4" fmla="*/ 18131 h 159474"/>
                <a:gd name="connsiteX5" fmla="*/ 164598 w 201882"/>
                <a:gd name="connsiteY5" fmla="*/ 24820 h 159474"/>
                <a:gd name="connsiteX6" fmla="*/ 151780 w 201882"/>
                <a:gd name="connsiteY6" fmla="*/ 12010 h 159474"/>
                <a:gd name="connsiteX7" fmla="*/ 123632 w 201882"/>
                <a:gd name="connsiteY7" fmla="*/ 12010 h 159474"/>
                <a:gd name="connsiteX8" fmla="*/ 113294 w 201882"/>
                <a:gd name="connsiteY8" fmla="*/ 22349 h 159474"/>
                <a:gd name="connsiteX9" fmla="*/ 86406 w 201882"/>
                <a:gd name="connsiteY9" fmla="*/ 22349 h 159474"/>
                <a:gd name="connsiteX10" fmla="*/ 55646 w 201882"/>
                <a:gd name="connsiteY10" fmla="*/ 22349 h 159474"/>
                <a:gd name="connsiteX11" fmla="*/ 36543 w 201882"/>
                <a:gd name="connsiteY11" fmla="*/ 41444 h 159474"/>
                <a:gd name="connsiteX12" fmla="*/ 36543 w 201882"/>
                <a:gd name="connsiteY12" fmla="*/ 50052 h 159474"/>
                <a:gd name="connsiteX13" fmla="*/ 0 w 201882"/>
                <a:gd name="connsiteY13" fmla="*/ 86595 h 159474"/>
                <a:gd name="connsiteX14" fmla="*/ 42960 w 201882"/>
                <a:gd name="connsiteY14" fmla="*/ 129579 h 159474"/>
                <a:gd name="connsiteX15" fmla="*/ 65004 w 201882"/>
                <a:gd name="connsiteY15" fmla="*/ 129579 h 159474"/>
                <a:gd name="connsiteX16" fmla="*/ 94907 w 201882"/>
                <a:gd name="connsiteY16" fmla="*/ 159474 h 159474"/>
                <a:gd name="connsiteX17" fmla="*/ 138600 w 201882"/>
                <a:gd name="connsiteY17" fmla="*/ 159474 h 159474"/>
                <a:gd name="connsiteX18" fmla="*/ 129638 w 201882"/>
                <a:gd name="connsiteY18" fmla="*/ 149523 h 159474"/>
                <a:gd name="connsiteX19" fmla="*/ 91942 w 201882"/>
                <a:gd name="connsiteY19" fmla="*/ 108927 h 159474"/>
                <a:gd name="connsiteX20" fmla="*/ 91942 w 201882"/>
                <a:gd name="connsiteY20" fmla="*/ 59559 h 159474"/>
                <a:gd name="connsiteX21" fmla="*/ 113903 w 201882"/>
                <a:gd name="connsiteY21" fmla="*/ 81521 h 159474"/>
                <a:gd name="connsiteX22" fmla="*/ 129703 w 201882"/>
                <a:gd name="connsiteY22" fmla="*/ 65729 h 159474"/>
                <a:gd name="connsiteX23" fmla="*/ 129703 w 201882"/>
                <a:gd name="connsiteY23" fmla="*/ 47210 h 159474"/>
                <a:gd name="connsiteX24" fmla="*/ 143822 w 201882"/>
                <a:gd name="connsiteY24" fmla="*/ 33099 h 159474"/>
                <a:gd name="connsiteX25" fmla="*/ 148634 w 201882"/>
                <a:gd name="connsiteY25" fmla="*/ 28272 h 159474"/>
                <a:gd name="connsiteX26" fmla="*/ 174039 w 201882"/>
                <a:gd name="connsiteY26" fmla="*/ 53701 h 159474"/>
                <a:gd name="connsiteX27" fmla="*/ 191882 w 201882"/>
                <a:gd name="connsiteY27" fmla="*/ 35859 h 159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01882" h="159474">
                  <a:moveTo>
                    <a:pt x="191882" y="22464"/>
                  </a:moveTo>
                  <a:lnTo>
                    <a:pt x="198282" y="16064"/>
                  </a:lnTo>
                  <a:lnTo>
                    <a:pt x="201883" y="12464"/>
                  </a:lnTo>
                  <a:lnTo>
                    <a:pt x="189419" y="0"/>
                  </a:lnTo>
                  <a:lnTo>
                    <a:pt x="171287" y="18131"/>
                  </a:lnTo>
                  <a:lnTo>
                    <a:pt x="164598" y="24820"/>
                  </a:lnTo>
                  <a:lnTo>
                    <a:pt x="151780" y="12010"/>
                  </a:lnTo>
                  <a:lnTo>
                    <a:pt x="123632" y="12010"/>
                  </a:lnTo>
                  <a:lnTo>
                    <a:pt x="113294" y="22349"/>
                  </a:lnTo>
                  <a:lnTo>
                    <a:pt x="86406" y="22349"/>
                  </a:lnTo>
                  <a:lnTo>
                    <a:pt x="55646" y="22349"/>
                  </a:lnTo>
                  <a:lnTo>
                    <a:pt x="36543" y="41444"/>
                  </a:lnTo>
                  <a:lnTo>
                    <a:pt x="36543" y="50052"/>
                  </a:lnTo>
                  <a:lnTo>
                    <a:pt x="0" y="86595"/>
                  </a:lnTo>
                  <a:lnTo>
                    <a:pt x="42960" y="129579"/>
                  </a:lnTo>
                  <a:lnTo>
                    <a:pt x="65004" y="129579"/>
                  </a:lnTo>
                  <a:lnTo>
                    <a:pt x="94907" y="159474"/>
                  </a:lnTo>
                  <a:lnTo>
                    <a:pt x="138600" y="159474"/>
                  </a:lnTo>
                  <a:lnTo>
                    <a:pt x="129638" y="149523"/>
                  </a:lnTo>
                  <a:lnTo>
                    <a:pt x="91942" y="108927"/>
                  </a:lnTo>
                  <a:lnTo>
                    <a:pt x="91942" y="59559"/>
                  </a:lnTo>
                  <a:lnTo>
                    <a:pt x="113903" y="81521"/>
                  </a:lnTo>
                  <a:lnTo>
                    <a:pt x="129703" y="65729"/>
                  </a:lnTo>
                  <a:lnTo>
                    <a:pt x="129703" y="47210"/>
                  </a:lnTo>
                  <a:lnTo>
                    <a:pt x="143822" y="33099"/>
                  </a:lnTo>
                  <a:lnTo>
                    <a:pt x="148634" y="28272"/>
                  </a:lnTo>
                  <a:lnTo>
                    <a:pt x="174039" y="53701"/>
                  </a:lnTo>
                  <a:lnTo>
                    <a:pt x="191882" y="35859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8" name="Freeform: Shape 677">
              <a:extLst>
                <a:ext uri="{FF2B5EF4-FFF2-40B4-BE49-F238E27FC236}">
                  <a16:creationId xmlns:a16="http://schemas.microsoft.com/office/drawing/2014/main" id="{621AC71A-D97C-27E7-02D2-5C98B44B166E}"/>
                </a:ext>
              </a:extLst>
            </p:cNvPr>
            <p:cNvSpPr/>
            <p:nvPr/>
          </p:nvSpPr>
          <p:spPr>
            <a:xfrm>
              <a:off x="6453912" y="2799530"/>
              <a:ext cx="594730" cy="382354"/>
            </a:xfrm>
            <a:custGeom>
              <a:avLst/>
              <a:gdLst>
                <a:gd name="connsiteX0" fmla="*/ 570314 w 594730"/>
                <a:gd name="connsiteY0" fmla="*/ 189863 h 382354"/>
                <a:gd name="connsiteX1" fmla="*/ 570314 w 594730"/>
                <a:gd name="connsiteY1" fmla="*/ 159796 h 382354"/>
                <a:gd name="connsiteX2" fmla="*/ 541070 w 594730"/>
                <a:gd name="connsiteY2" fmla="*/ 130535 h 382354"/>
                <a:gd name="connsiteX3" fmla="*/ 508037 w 594730"/>
                <a:gd name="connsiteY3" fmla="*/ 130535 h 382354"/>
                <a:gd name="connsiteX4" fmla="*/ 468068 w 594730"/>
                <a:gd name="connsiteY4" fmla="*/ 90549 h 382354"/>
                <a:gd name="connsiteX5" fmla="*/ 444787 w 594730"/>
                <a:gd name="connsiteY5" fmla="*/ 113821 h 382354"/>
                <a:gd name="connsiteX6" fmla="*/ 419234 w 594730"/>
                <a:gd name="connsiteY6" fmla="*/ 88267 h 382354"/>
                <a:gd name="connsiteX7" fmla="*/ 419234 w 594730"/>
                <a:gd name="connsiteY7" fmla="*/ 61034 h 382354"/>
                <a:gd name="connsiteX8" fmla="*/ 401836 w 594730"/>
                <a:gd name="connsiteY8" fmla="*/ 43644 h 382354"/>
                <a:gd name="connsiteX9" fmla="*/ 366035 w 594730"/>
                <a:gd name="connsiteY9" fmla="*/ 7851 h 382354"/>
                <a:gd name="connsiteX10" fmla="*/ 323775 w 594730"/>
                <a:gd name="connsiteY10" fmla="*/ 7851 h 382354"/>
                <a:gd name="connsiteX11" fmla="*/ 315933 w 594730"/>
                <a:gd name="connsiteY11" fmla="*/ 0 h 382354"/>
                <a:gd name="connsiteX12" fmla="*/ 286360 w 594730"/>
                <a:gd name="connsiteY12" fmla="*/ 29154 h 382354"/>
                <a:gd name="connsiteX13" fmla="*/ 257593 w 594730"/>
                <a:gd name="connsiteY13" fmla="*/ 57928 h 382354"/>
                <a:gd name="connsiteX14" fmla="*/ 187820 w 594730"/>
                <a:gd name="connsiteY14" fmla="*/ 57928 h 382354"/>
                <a:gd name="connsiteX15" fmla="*/ 154111 w 594730"/>
                <a:gd name="connsiteY15" fmla="*/ 24219 h 382354"/>
                <a:gd name="connsiteX16" fmla="*/ 96134 w 594730"/>
                <a:gd name="connsiteY16" fmla="*/ 24219 h 382354"/>
                <a:gd name="connsiteX17" fmla="*/ 81043 w 594730"/>
                <a:gd name="connsiteY17" fmla="*/ 39311 h 382354"/>
                <a:gd name="connsiteX18" fmla="*/ 49179 w 594730"/>
                <a:gd name="connsiteY18" fmla="*/ 39311 h 382354"/>
                <a:gd name="connsiteX19" fmla="*/ 49179 w 594730"/>
                <a:gd name="connsiteY19" fmla="*/ 69946 h 382354"/>
                <a:gd name="connsiteX20" fmla="*/ 49179 w 594730"/>
                <a:gd name="connsiteY20" fmla="*/ 123632 h 382354"/>
                <a:gd name="connsiteX21" fmla="*/ 21846 w 594730"/>
                <a:gd name="connsiteY21" fmla="*/ 123632 h 382354"/>
                <a:gd name="connsiteX22" fmla="*/ 21846 w 594730"/>
                <a:gd name="connsiteY22" fmla="*/ 163733 h 382354"/>
                <a:gd name="connsiteX23" fmla="*/ 0 w 594730"/>
                <a:gd name="connsiteY23" fmla="*/ 185572 h 382354"/>
                <a:gd name="connsiteX24" fmla="*/ 0 w 594730"/>
                <a:gd name="connsiteY24" fmla="*/ 197558 h 382354"/>
                <a:gd name="connsiteX25" fmla="*/ 16624 w 594730"/>
                <a:gd name="connsiteY25" fmla="*/ 214189 h 382354"/>
                <a:gd name="connsiteX26" fmla="*/ 29384 w 594730"/>
                <a:gd name="connsiteY26" fmla="*/ 214366 h 382354"/>
                <a:gd name="connsiteX27" fmla="*/ 53669 w 594730"/>
                <a:gd name="connsiteY27" fmla="*/ 214366 h 382354"/>
                <a:gd name="connsiteX28" fmla="*/ 77921 w 594730"/>
                <a:gd name="connsiteY28" fmla="*/ 214366 h 382354"/>
                <a:gd name="connsiteX29" fmla="*/ 89544 w 594730"/>
                <a:gd name="connsiteY29" fmla="*/ 225994 h 382354"/>
                <a:gd name="connsiteX30" fmla="*/ 99709 w 594730"/>
                <a:gd name="connsiteY30" fmla="*/ 225994 h 382354"/>
                <a:gd name="connsiteX31" fmla="*/ 114134 w 594730"/>
                <a:gd name="connsiteY31" fmla="*/ 211570 h 382354"/>
                <a:gd name="connsiteX32" fmla="*/ 132042 w 594730"/>
                <a:gd name="connsiteY32" fmla="*/ 211570 h 382354"/>
                <a:gd name="connsiteX33" fmla="*/ 150676 w 594730"/>
                <a:gd name="connsiteY33" fmla="*/ 192936 h 382354"/>
                <a:gd name="connsiteX34" fmla="*/ 176328 w 594730"/>
                <a:gd name="connsiteY34" fmla="*/ 192936 h 382354"/>
                <a:gd name="connsiteX35" fmla="*/ 193553 w 594730"/>
                <a:gd name="connsiteY35" fmla="*/ 210161 h 382354"/>
                <a:gd name="connsiteX36" fmla="*/ 212533 w 594730"/>
                <a:gd name="connsiteY36" fmla="*/ 210161 h 382354"/>
                <a:gd name="connsiteX37" fmla="*/ 225549 w 594730"/>
                <a:gd name="connsiteY37" fmla="*/ 223173 h 382354"/>
                <a:gd name="connsiteX38" fmla="*/ 225549 w 594730"/>
                <a:gd name="connsiteY38" fmla="*/ 250579 h 382354"/>
                <a:gd name="connsiteX39" fmla="*/ 239429 w 594730"/>
                <a:gd name="connsiteY39" fmla="*/ 264456 h 382354"/>
                <a:gd name="connsiteX40" fmla="*/ 239429 w 594730"/>
                <a:gd name="connsiteY40" fmla="*/ 285375 h 382354"/>
                <a:gd name="connsiteX41" fmla="*/ 214642 w 594730"/>
                <a:gd name="connsiteY41" fmla="*/ 285375 h 382354"/>
                <a:gd name="connsiteX42" fmla="*/ 214642 w 594730"/>
                <a:gd name="connsiteY42" fmla="*/ 300488 h 382354"/>
                <a:gd name="connsiteX43" fmla="*/ 199526 w 594730"/>
                <a:gd name="connsiteY43" fmla="*/ 315604 h 382354"/>
                <a:gd name="connsiteX44" fmla="*/ 199526 w 594730"/>
                <a:gd name="connsiteY44" fmla="*/ 325090 h 382354"/>
                <a:gd name="connsiteX45" fmla="*/ 225886 w 594730"/>
                <a:gd name="connsiteY45" fmla="*/ 351454 h 382354"/>
                <a:gd name="connsiteX46" fmla="*/ 236225 w 594730"/>
                <a:gd name="connsiteY46" fmla="*/ 352027 h 382354"/>
                <a:gd name="connsiteX47" fmla="*/ 249289 w 594730"/>
                <a:gd name="connsiteY47" fmla="*/ 338950 h 382354"/>
                <a:gd name="connsiteX48" fmla="*/ 257083 w 594730"/>
                <a:gd name="connsiteY48" fmla="*/ 331149 h 382354"/>
                <a:gd name="connsiteX49" fmla="*/ 257083 w 594730"/>
                <a:gd name="connsiteY49" fmla="*/ 313355 h 382354"/>
                <a:gd name="connsiteX50" fmla="*/ 281235 w 594730"/>
                <a:gd name="connsiteY50" fmla="*/ 289210 h 382354"/>
                <a:gd name="connsiteX51" fmla="*/ 283806 w 594730"/>
                <a:gd name="connsiteY51" fmla="*/ 286648 h 382354"/>
                <a:gd name="connsiteX52" fmla="*/ 304944 w 594730"/>
                <a:gd name="connsiteY52" fmla="*/ 286648 h 382354"/>
                <a:gd name="connsiteX53" fmla="*/ 304944 w 594730"/>
                <a:gd name="connsiteY53" fmla="*/ 307794 h 382354"/>
                <a:gd name="connsiteX54" fmla="*/ 360597 w 594730"/>
                <a:gd name="connsiteY54" fmla="*/ 307794 h 382354"/>
                <a:gd name="connsiteX55" fmla="*/ 360597 w 594730"/>
                <a:gd name="connsiteY55" fmla="*/ 326700 h 382354"/>
                <a:gd name="connsiteX56" fmla="*/ 339443 w 594730"/>
                <a:gd name="connsiteY56" fmla="*/ 326700 h 382354"/>
                <a:gd name="connsiteX57" fmla="*/ 323858 w 594730"/>
                <a:gd name="connsiteY57" fmla="*/ 342286 h 382354"/>
                <a:gd name="connsiteX58" fmla="*/ 333875 w 594730"/>
                <a:gd name="connsiteY58" fmla="*/ 352311 h 382354"/>
                <a:gd name="connsiteX59" fmla="*/ 349444 w 594730"/>
                <a:gd name="connsiteY59" fmla="*/ 352311 h 382354"/>
                <a:gd name="connsiteX60" fmla="*/ 349444 w 594730"/>
                <a:gd name="connsiteY60" fmla="*/ 382354 h 382354"/>
                <a:gd name="connsiteX61" fmla="*/ 386184 w 594730"/>
                <a:gd name="connsiteY61" fmla="*/ 382354 h 382354"/>
                <a:gd name="connsiteX62" fmla="*/ 408443 w 594730"/>
                <a:gd name="connsiteY62" fmla="*/ 360096 h 382354"/>
                <a:gd name="connsiteX63" fmla="*/ 424275 w 594730"/>
                <a:gd name="connsiteY63" fmla="*/ 360096 h 382354"/>
                <a:gd name="connsiteX64" fmla="*/ 438609 w 594730"/>
                <a:gd name="connsiteY64" fmla="*/ 345738 h 382354"/>
                <a:gd name="connsiteX65" fmla="*/ 428493 w 594730"/>
                <a:gd name="connsiteY65" fmla="*/ 335613 h 382354"/>
                <a:gd name="connsiteX66" fmla="*/ 399545 w 594730"/>
                <a:gd name="connsiteY66" fmla="*/ 306683 h 382354"/>
                <a:gd name="connsiteX67" fmla="*/ 427356 w 594730"/>
                <a:gd name="connsiteY67" fmla="*/ 278863 h 382354"/>
                <a:gd name="connsiteX68" fmla="*/ 475234 w 594730"/>
                <a:gd name="connsiteY68" fmla="*/ 278863 h 382354"/>
                <a:gd name="connsiteX69" fmla="*/ 493011 w 594730"/>
                <a:gd name="connsiteY69" fmla="*/ 261037 h 382354"/>
                <a:gd name="connsiteX70" fmla="*/ 510837 w 594730"/>
                <a:gd name="connsiteY70" fmla="*/ 261037 h 382354"/>
                <a:gd name="connsiteX71" fmla="*/ 507806 w 594730"/>
                <a:gd name="connsiteY71" fmla="*/ 264077 h 382354"/>
                <a:gd name="connsiteX72" fmla="*/ 532569 w 594730"/>
                <a:gd name="connsiteY72" fmla="*/ 260823 h 382354"/>
                <a:gd name="connsiteX73" fmla="*/ 576410 w 594730"/>
                <a:gd name="connsiteY73" fmla="*/ 260823 h 382354"/>
                <a:gd name="connsiteX74" fmla="*/ 594730 w 594730"/>
                <a:gd name="connsiteY74" fmla="*/ 242511 h 382354"/>
                <a:gd name="connsiteX75" fmla="*/ 594730 w 594730"/>
                <a:gd name="connsiteY75" fmla="*/ 214289 h 382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594730" h="382354">
                  <a:moveTo>
                    <a:pt x="570314" y="189863"/>
                  </a:moveTo>
                  <a:lnTo>
                    <a:pt x="570314" y="159796"/>
                  </a:lnTo>
                  <a:lnTo>
                    <a:pt x="541070" y="130535"/>
                  </a:lnTo>
                  <a:lnTo>
                    <a:pt x="508037" y="130535"/>
                  </a:lnTo>
                  <a:lnTo>
                    <a:pt x="468068" y="90549"/>
                  </a:lnTo>
                  <a:lnTo>
                    <a:pt x="444787" y="113821"/>
                  </a:lnTo>
                  <a:lnTo>
                    <a:pt x="419234" y="88267"/>
                  </a:lnTo>
                  <a:lnTo>
                    <a:pt x="419234" y="61034"/>
                  </a:lnTo>
                  <a:lnTo>
                    <a:pt x="401836" y="43644"/>
                  </a:lnTo>
                  <a:lnTo>
                    <a:pt x="366035" y="7851"/>
                  </a:lnTo>
                  <a:lnTo>
                    <a:pt x="323775" y="7851"/>
                  </a:lnTo>
                  <a:lnTo>
                    <a:pt x="315933" y="0"/>
                  </a:lnTo>
                  <a:lnTo>
                    <a:pt x="286360" y="29154"/>
                  </a:lnTo>
                  <a:lnTo>
                    <a:pt x="257593" y="57928"/>
                  </a:lnTo>
                  <a:lnTo>
                    <a:pt x="187820" y="57928"/>
                  </a:lnTo>
                  <a:lnTo>
                    <a:pt x="154111" y="24219"/>
                  </a:lnTo>
                  <a:lnTo>
                    <a:pt x="96134" y="24219"/>
                  </a:lnTo>
                  <a:lnTo>
                    <a:pt x="81043" y="39311"/>
                  </a:lnTo>
                  <a:lnTo>
                    <a:pt x="49179" y="39311"/>
                  </a:lnTo>
                  <a:lnTo>
                    <a:pt x="49179" y="69946"/>
                  </a:lnTo>
                  <a:lnTo>
                    <a:pt x="49179" y="123632"/>
                  </a:lnTo>
                  <a:lnTo>
                    <a:pt x="21846" y="123632"/>
                  </a:lnTo>
                  <a:lnTo>
                    <a:pt x="21846" y="163733"/>
                  </a:lnTo>
                  <a:lnTo>
                    <a:pt x="0" y="185572"/>
                  </a:lnTo>
                  <a:lnTo>
                    <a:pt x="0" y="197558"/>
                  </a:lnTo>
                  <a:lnTo>
                    <a:pt x="16624" y="214189"/>
                  </a:lnTo>
                  <a:lnTo>
                    <a:pt x="29384" y="214366"/>
                  </a:lnTo>
                  <a:lnTo>
                    <a:pt x="53669" y="214366"/>
                  </a:lnTo>
                  <a:lnTo>
                    <a:pt x="77921" y="214366"/>
                  </a:lnTo>
                  <a:lnTo>
                    <a:pt x="89544" y="225994"/>
                  </a:lnTo>
                  <a:lnTo>
                    <a:pt x="99709" y="225994"/>
                  </a:lnTo>
                  <a:lnTo>
                    <a:pt x="114134" y="211570"/>
                  </a:lnTo>
                  <a:lnTo>
                    <a:pt x="132042" y="211570"/>
                  </a:lnTo>
                  <a:lnTo>
                    <a:pt x="150676" y="192936"/>
                  </a:lnTo>
                  <a:lnTo>
                    <a:pt x="176328" y="192936"/>
                  </a:lnTo>
                  <a:lnTo>
                    <a:pt x="193553" y="210161"/>
                  </a:lnTo>
                  <a:lnTo>
                    <a:pt x="212533" y="210161"/>
                  </a:lnTo>
                  <a:lnTo>
                    <a:pt x="225549" y="223173"/>
                  </a:lnTo>
                  <a:lnTo>
                    <a:pt x="225549" y="250579"/>
                  </a:lnTo>
                  <a:lnTo>
                    <a:pt x="239429" y="264456"/>
                  </a:lnTo>
                  <a:lnTo>
                    <a:pt x="239429" y="285375"/>
                  </a:lnTo>
                  <a:lnTo>
                    <a:pt x="214642" y="285375"/>
                  </a:lnTo>
                  <a:lnTo>
                    <a:pt x="214642" y="300488"/>
                  </a:lnTo>
                  <a:lnTo>
                    <a:pt x="199526" y="315604"/>
                  </a:lnTo>
                  <a:lnTo>
                    <a:pt x="199526" y="325090"/>
                  </a:lnTo>
                  <a:lnTo>
                    <a:pt x="225886" y="351454"/>
                  </a:lnTo>
                  <a:lnTo>
                    <a:pt x="236225" y="352027"/>
                  </a:lnTo>
                  <a:lnTo>
                    <a:pt x="249289" y="338950"/>
                  </a:lnTo>
                  <a:lnTo>
                    <a:pt x="257083" y="331149"/>
                  </a:lnTo>
                  <a:lnTo>
                    <a:pt x="257083" y="313355"/>
                  </a:lnTo>
                  <a:lnTo>
                    <a:pt x="281235" y="289210"/>
                  </a:lnTo>
                  <a:lnTo>
                    <a:pt x="283806" y="286648"/>
                  </a:lnTo>
                  <a:lnTo>
                    <a:pt x="304944" y="286648"/>
                  </a:lnTo>
                  <a:lnTo>
                    <a:pt x="304944" y="307794"/>
                  </a:lnTo>
                  <a:lnTo>
                    <a:pt x="360597" y="307794"/>
                  </a:lnTo>
                  <a:lnTo>
                    <a:pt x="360597" y="326700"/>
                  </a:lnTo>
                  <a:lnTo>
                    <a:pt x="339443" y="326700"/>
                  </a:lnTo>
                  <a:lnTo>
                    <a:pt x="323858" y="342286"/>
                  </a:lnTo>
                  <a:lnTo>
                    <a:pt x="333875" y="352311"/>
                  </a:lnTo>
                  <a:lnTo>
                    <a:pt x="349444" y="352311"/>
                  </a:lnTo>
                  <a:lnTo>
                    <a:pt x="349444" y="382354"/>
                  </a:lnTo>
                  <a:lnTo>
                    <a:pt x="386184" y="382354"/>
                  </a:lnTo>
                  <a:lnTo>
                    <a:pt x="408443" y="360096"/>
                  </a:lnTo>
                  <a:lnTo>
                    <a:pt x="424275" y="360096"/>
                  </a:lnTo>
                  <a:lnTo>
                    <a:pt x="438609" y="345738"/>
                  </a:lnTo>
                  <a:lnTo>
                    <a:pt x="428493" y="335613"/>
                  </a:lnTo>
                  <a:lnTo>
                    <a:pt x="399545" y="306683"/>
                  </a:lnTo>
                  <a:lnTo>
                    <a:pt x="427356" y="278863"/>
                  </a:lnTo>
                  <a:lnTo>
                    <a:pt x="475234" y="278863"/>
                  </a:lnTo>
                  <a:lnTo>
                    <a:pt x="493011" y="261037"/>
                  </a:lnTo>
                  <a:lnTo>
                    <a:pt x="510837" y="261037"/>
                  </a:lnTo>
                  <a:lnTo>
                    <a:pt x="507806" y="264077"/>
                  </a:lnTo>
                  <a:lnTo>
                    <a:pt x="532569" y="260823"/>
                  </a:lnTo>
                  <a:lnTo>
                    <a:pt x="576410" y="260823"/>
                  </a:lnTo>
                  <a:lnTo>
                    <a:pt x="594730" y="242511"/>
                  </a:lnTo>
                  <a:lnTo>
                    <a:pt x="594730" y="214289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9" name="Freeform: Shape 678">
              <a:extLst>
                <a:ext uri="{FF2B5EF4-FFF2-40B4-BE49-F238E27FC236}">
                  <a16:creationId xmlns:a16="http://schemas.microsoft.com/office/drawing/2014/main" id="{4C1910A6-1A76-C78B-DBC6-EB87DC834F87}"/>
                </a:ext>
              </a:extLst>
            </p:cNvPr>
            <p:cNvSpPr/>
            <p:nvPr/>
          </p:nvSpPr>
          <p:spPr>
            <a:xfrm>
              <a:off x="6593690" y="2992466"/>
              <a:ext cx="99651" cy="158822"/>
            </a:xfrm>
            <a:custGeom>
              <a:avLst/>
              <a:gdLst>
                <a:gd name="connsiteX0" fmla="*/ 74864 w 99651"/>
                <a:gd name="connsiteY0" fmla="*/ 107552 h 158822"/>
                <a:gd name="connsiteX1" fmla="*/ 74864 w 99651"/>
                <a:gd name="connsiteY1" fmla="*/ 92440 h 158822"/>
                <a:gd name="connsiteX2" fmla="*/ 99652 w 99651"/>
                <a:gd name="connsiteY2" fmla="*/ 92440 h 158822"/>
                <a:gd name="connsiteX3" fmla="*/ 99652 w 99651"/>
                <a:gd name="connsiteY3" fmla="*/ 71520 h 158822"/>
                <a:gd name="connsiteX4" fmla="*/ 85772 w 99651"/>
                <a:gd name="connsiteY4" fmla="*/ 57643 h 158822"/>
                <a:gd name="connsiteX5" fmla="*/ 85772 w 99651"/>
                <a:gd name="connsiteY5" fmla="*/ 30237 h 158822"/>
                <a:gd name="connsiteX6" fmla="*/ 72756 w 99651"/>
                <a:gd name="connsiteY6" fmla="*/ 17225 h 158822"/>
                <a:gd name="connsiteX7" fmla="*/ 53776 w 99651"/>
                <a:gd name="connsiteY7" fmla="*/ 17225 h 158822"/>
                <a:gd name="connsiteX8" fmla="*/ 36551 w 99651"/>
                <a:gd name="connsiteY8" fmla="*/ 0 h 158822"/>
                <a:gd name="connsiteX9" fmla="*/ 10899 w 99651"/>
                <a:gd name="connsiteY9" fmla="*/ 0 h 158822"/>
                <a:gd name="connsiteX10" fmla="*/ 0 w 99651"/>
                <a:gd name="connsiteY10" fmla="*/ 10899 h 158822"/>
                <a:gd name="connsiteX11" fmla="*/ 13353 w 99651"/>
                <a:gd name="connsiteY11" fmla="*/ 10899 h 158822"/>
                <a:gd name="connsiteX12" fmla="*/ 13353 w 99651"/>
                <a:gd name="connsiteY12" fmla="*/ 48858 h 158822"/>
                <a:gd name="connsiteX13" fmla="*/ 38833 w 99651"/>
                <a:gd name="connsiteY13" fmla="*/ 74337 h 158822"/>
                <a:gd name="connsiteX14" fmla="*/ 38833 w 99651"/>
                <a:gd name="connsiteY14" fmla="*/ 108256 h 158822"/>
                <a:gd name="connsiteX15" fmla="*/ 38833 w 99651"/>
                <a:gd name="connsiteY15" fmla="*/ 135671 h 158822"/>
                <a:gd name="connsiteX16" fmla="*/ 55622 w 99651"/>
                <a:gd name="connsiteY16" fmla="*/ 152455 h 158822"/>
                <a:gd name="connsiteX17" fmla="*/ 65375 w 99651"/>
                <a:gd name="connsiteY17" fmla="*/ 152455 h 158822"/>
                <a:gd name="connsiteX18" fmla="*/ 71742 w 99651"/>
                <a:gd name="connsiteY18" fmla="*/ 158823 h 158822"/>
                <a:gd name="connsiteX19" fmla="*/ 86109 w 99651"/>
                <a:gd name="connsiteY19" fmla="*/ 158518 h 158822"/>
                <a:gd name="connsiteX20" fmla="*/ 59748 w 99651"/>
                <a:gd name="connsiteY20" fmla="*/ 132154 h 158822"/>
                <a:gd name="connsiteX21" fmla="*/ 59748 w 99651"/>
                <a:gd name="connsiteY21" fmla="*/ 122668 h 158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9651" h="158822">
                  <a:moveTo>
                    <a:pt x="74864" y="107552"/>
                  </a:moveTo>
                  <a:lnTo>
                    <a:pt x="74864" y="92440"/>
                  </a:lnTo>
                  <a:lnTo>
                    <a:pt x="99652" y="92440"/>
                  </a:lnTo>
                  <a:lnTo>
                    <a:pt x="99652" y="71520"/>
                  </a:lnTo>
                  <a:lnTo>
                    <a:pt x="85772" y="57643"/>
                  </a:lnTo>
                  <a:lnTo>
                    <a:pt x="85772" y="30237"/>
                  </a:lnTo>
                  <a:lnTo>
                    <a:pt x="72756" y="17225"/>
                  </a:lnTo>
                  <a:lnTo>
                    <a:pt x="53776" y="17225"/>
                  </a:lnTo>
                  <a:lnTo>
                    <a:pt x="36551" y="0"/>
                  </a:lnTo>
                  <a:lnTo>
                    <a:pt x="10899" y="0"/>
                  </a:lnTo>
                  <a:lnTo>
                    <a:pt x="0" y="10899"/>
                  </a:lnTo>
                  <a:lnTo>
                    <a:pt x="13353" y="10899"/>
                  </a:lnTo>
                  <a:lnTo>
                    <a:pt x="13353" y="48858"/>
                  </a:lnTo>
                  <a:lnTo>
                    <a:pt x="38833" y="74337"/>
                  </a:lnTo>
                  <a:lnTo>
                    <a:pt x="38833" y="108256"/>
                  </a:lnTo>
                  <a:lnTo>
                    <a:pt x="38833" y="135671"/>
                  </a:lnTo>
                  <a:lnTo>
                    <a:pt x="55622" y="152455"/>
                  </a:lnTo>
                  <a:lnTo>
                    <a:pt x="65375" y="152455"/>
                  </a:lnTo>
                  <a:lnTo>
                    <a:pt x="71742" y="158823"/>
                  </a:lnTo>
                  <a:lnTo>
                    <a:pt x="86109" y="158518"/>
                  </a:lnTo>
                  <a:lnTo>
                    <a:pt x="59748" y="132154"/>
                  </a:lnTo>
                  <a:lnTo>
                    <a:pt x="59748" y="122668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0" name="Freeform: Shape 679">
              <a:extLst>
                <a:ext uri="{FF2B5EF4-FFF2-40B4-BE49-F238E27FC236}">
                  <a16:creationId xmlns:a16="http://schemas.microsoft.com/office/drawing/2014/main" id="{A2E90BAB-2975-7FF4-FD6E-F5B527F8D7BA}"/>
                </a:ext>
              </a:extLst>
            </p:cNvPr>
            <p:cNvSpPr/>
            <p:nvPr/>
          </p:nvSpPr>
          <p:spPr>
            <a:xfrm>
              <a:off x="6465618" y="3156430"/>
              <a:ext cx="201980" cy="147867"/>
            </a:xfrm>
            <a:custGeom>
              <a:avLst/>
              <a:gdLst>
                <a:gd name="connsiteX0" fmla="*/ 169722 w 201980"/>
                <a:gd name="connsiteY0" fmla="*/ 15578 h 147867"/>
                <a:gd name="connsiteX1" fmla="*/ 117486 w 201980"/>
                <a:gd name="connsiteY1" fmla="*/ 15578 h 147867"/>
                <a:gd name="connsiteX2" fmla="*/ 105402 w 201980"/>
                <a:gd name="connsiteY2" fmla="*/ 27658 h 147867"/>
                <a:gd name="connsiteX3" fmla="*/ 27654 w 201980"/>
                <a:gd name="connsiteY3" fmla="*/ 27658 h 147867"/>
                <a:gd name="connsiteX4" fmla="*/ 0 w 201980"/>
                <a:gd name="connsiteY4" fmla="*/ 0 h 147867"/>
                <a:gd name="connsiteX5" fmla="*/ 0 w 201980"/>
                <a:gd name="connsiteY5" fmla="*/ 43232 h 147867"/>
                <a:gd name="connsiteX6" fmla="*/ 18428 w 201980"/>
                <a:gd name="connsiteY6" fmla="*/ 61664 h 147867"/>
                <a:gd name="connsiteX7" fmla="*/ 18428 w 201980"/>
                <a:gd name="connsiteY7" fmla="*/ 78028 h 147867"/>
                <a:gd name="connsiteX8" fmla="*/ 0 w 201980"/>
                <a:gd name="connsiteY8" fmla="*/ 78028 h 147867"/>
                <a:gd name="connsiteX9" fmla="*/ 0 w 201980"/>
                <a:gd name="connsiteY9" fmla="*/ 101752 h 147867"/>
                <a:gd name="connsiteX10" fmla="*/ 14721 w 201980"/>
                <a:gd name="connsiteY10" fmla="*/ 117173 h 147867"/>
                <a:gd name="connsiteX11" fmla="*/ 14721 w 201980"/>
                <a:gd name="connsiteY11" fmla="*/ 145395 h 147867"/>
                <a:gd name="connsiteX12" fmla="*/ 41609 w 201980"/>
                <a:gd name="connsiteY12" fmla="*/ 145395 h 147867"/>
                <a:gd name="connsiteX13" fmla="*/ 51947 w 201980"/>
                <a:gd name="connsiteY13" fmla="*/ 135057 h 147867"/>
                <a:gd name="connsiteX14" fmla="*/ 80095 w 201980"/>
                <a:gd name="connsiteY14" fmla="*/ 135057 h 147867"/>
                <a:gd name="connsiteX15" fmla="*/ 92913 w 201980"/>
                <a:gd name="connsiteY15" fmla="*/ 147867 h 147867"/>
                <a:gd name="connsiteX16" fmla="*/ 99602 w 201980"/>
                <a:gd name="connsiteY16" fmla="*/ 141178 h 147867"/>
                <a:gd name="connsiteX17" fmla="*/ 122940 w 201980"/>
                <a:gd name="connsiteY17" fmla="*/ 117840 h 147867"/>
                <a:gd name="connsiteX18" fmla="*/ 145470 w 201980"/>
                <a:gd name="connsiteY18" fmla="*/ 117840 h 147867"/>
                <a:gd name="connsiteX19" fmla="*/ 161245 w 201980"/>
                <a:gd name="connsiteY19" fmla="*/ 117840 h 147867"/>
                <a:gd name="connsiteX20" fmla="*/ 161912 w 201980"/>
                <a:gd name="connsiteY20" fmla="*/ 117173 h 147867"/>
                <a:gd name="connsiteX21" fmla="*/ 161912 w 201980"/>
                <a:gd name="connsiteY21" fmla="*/ 94462 h 147867"/>
                <a:gd name="connsiteX22" fmla="*/ 185308 w 201980"/>
                <a:gd name="connsiteY22" fmla="*/ 71091 h 147867"/>
                <a:gd name="connsiteX23" fmla="*/ 201981 w 201980"/>
                <a:gd name="connsiteY23" fmla="*/ 54402 h 147867"/>
                <a:gd name="connsiteX24" fmla="*/ 201981 w 201980"/>
                <a:gd name="connsiteY24" fmla="*/ 47836 h 147867"/>
                <a:gd name="connsiteX25" fmla="*/ 183396 w 201980"/>
                <a:gd name="connsiteY25" fmla="*/ 29252 h 147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1980" h="147867">
                  <a:moveTo>
                    <a:pt x="169722" y="15578"/>
                  </a:moveTo>
                  <a:lnTo>
                    <a:pt x="117486" y="15578"/>
                  </a:lnTo>
                  <a:lnTo>
                    <a:pt x="105402" y="27658"/>
                  </a:lnTo>
                  <a:lnTo>
                    <a:pt x="27654" y="27658"/>
                  </a:lnTo>
                  <a:lnTo>
                    <a:pt x="0" y="0"/>
                  </a:lnTo>
                  <a:lnTo>
                    <a:pt x="0" y="43232"/>
                  </a:lnTo>
                  <a:lnTo>
                    <a:pt x="18428" y="61664"/>
                  </a:lnTo>
                  <a:lnTo>
                    <a:pt x="18428" y="78028"/>
                  </a:lnTo>
                  <a:lnTo>
                    <a:pt x="0" y="78028"/>
                  </a:lnTo>
                  <a:lnTo>
                    <a:pt x="0" y="101752"/>
                  </a:lnTo>
                  <a:lnTo>
                    <a:pt x="14721" y="117173"/>
                  </a:lnTo>
                  <a:lnTo>
                    <a:pt x="14721" y="145395"/>
                  </a:lnTo>
                  <a:lnTo>
                    <a:pt x="41609" y="145395"/>
                  </a:lnTo>
                  <a:lnTo>
                    <a:pt x="51947" y="135057"/>
                  </a:lnTo>
                  <a:lnTo>
                    <a:pt x="80095" y="135057"/>
                  </a:lnTo>
                  <a:lnTo>
                    <a:pt x="92913" y="147867"/>
                  </a:lnTo>
                  <a:lnTo>
                    <a:pt x="99602" y="141178"/>
                  </a:lnTo>
                  <a:lnTo>
                    <a:pt x="122940" y="117840"/>
                  </a:lnTo>
                  <a:lnTo>
                    <a:pt x="145470" y="117840"/>
                  </a:lnTo>
                  <a:lnTo>
                    <a:pt x="161245" y="117840"/>
                  </a:lnTo>
                  <a:lnTo>
                    <a:pt x="161912" y="117173"/>
                  </a:lnTo>
                  <a:lnTo>
                    <a:pt x="161912" y="94462"/>
                  </a:lnTo>
                  <a:lnTo>
                    <a:pt x="185308" y="71091"/>
                  </a:lnTo>
                  <a:lnTo>
                    <a:pt x="201981" y="54402"/>
                  </a:lnTo>
                  <a:lnTo>
                    <a:pt x="201981" y="47836"/>
                  </a:lnTo>
                  <a:lnTo>
                    <a:pt x="183396" y="29252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1" name="Freeform: Shape 680">
              <a:extLst>
                <a:ext uri="{FF2B5EF4-FFF2-40B4-BE49-F238E27FC236}">
                  <a16:creationId xmlns:a16="http://schemas.microsoft.com/office/drawing/2014/main" id="{683FA086-C72C-5A29-C62C-400398CE388B}"/>
                </a:ext>
              </a:extLst>
            </p:cNvPr>
            <p:cNvSpPr/>
            <p:nvPr/>
          </p:nvSpPr>
          <p:spPr>
            <a:xfrm>
              <a:off x="6395457" y="3003365"/>
              <a:ext cx="294679" cy="200901"/>
            </a:xfrm>
            <a:custGeom>
              <a:avLst/>
              <a:gdLst>
                <a:gd name="connsiteX0" fmla="*/ 284341 w 294679"/>
                <a:gd name="connsiteY0" fmla="*/ 147620 h 200901"/>
                <a:gd name="connsiteX1" fmla="*/ 269975 w 294679"/>
                <a:gd name="connsiteY1" fmla="*/ 147924 h 200901"/>
                <a:gd name="connsiteX2" fmla="*/ 263607 w 294679"/>
                <a:gd name="connsiteY2" fmla="*/ 141557 h 200901"/>
                <a:gd name="connsiteX3" fmla="*/ 253854 w 294679"/>
                <a:gd name="connsiteY3" fmla="*/ 141557 h 200901"/>
                <a:gd name="connsiteX4" fmla="*/ 237065 w 294679"/>
                <a:gd name="connsiteY4" fmla="*/ 124773 h 200901"/>
                <a:gd name="connsiteX5" fmla="*/ 237065 w 294679"/>
                <a:gd name="connsiteY5" fmla="*/ 97357 h 200901"/>
                <a:gd name="connsiteX6" fmla="*/ 237065 w 294679"/>
                <a:gd name="connsiteY6" fmla="*/ 63439 h 200901"/>
                <a:gd name="connsiteX7" fmla="*/ 211586 w 294679"/>
                <a:gd name="connsiteY7" fmla="*/ 37959 h 200901"/>
                <a:gd name="connsiteX8" fmla="*/ 211586 w 294679"/>
                <a:gd name="connsiteY8" fmla="*/ 0 h 200901"/>
                <a:gd name="connsiteX9" fmla="*/ 198232 w 294679"/>
                <a:gd name="connsiteY9" fmla="*/ 0 h 200901"/>
                <a:gd name="connsiteX10" fmla="*/ 190497 w 294679"/>
                <a:gd name="connsiteY10" fmla="*/ 7735 h 200901"/>
                <a:gd name="connsiteX11" fmla="*/ 172589 w 294679"/>
                <a:gd name="connsiteY11" fmla="*/ 7735 h 200901"/>
                <a:gd name="connsiteX12" fmla="*/ 158164 w 294679"/>
                <a:gd name="connsiteY12" fmla="*/ 22159 h 200901"/>
                <a:gd name="connsiteX13" fmla="*/ 147999 w 294679"/>
                <a:gd name="connsiteY13" fmla="*/ 22159 h 200901"/>
                <a:gd name="connsiteX14" fmla="*/ 136375 w 294679"/>
                <a:gd name="connsiteY14" fmla="*/ 10532 h 200901"/>
                <a:gd name="connsiteX15" fmla="*/ 112124 w 294679"/>
                <a:gd name="connsiteY15" fmla="*/ 10532 h 200901"/>
                <a:gd name="connsiteX16" fmla="*/ 87839 w 294679"/>
                <a:gd name="connsiteY16" fmla="*/ 10532 h 200901"/>
                <a:gd name="connsiteX17" fmla="*/ 69098 w 294679"/>
                <a:gd name="connsiteY17" fmla="*/ 23580 h 200901"/>
                <a:gd name="connsiteX18" fmla="*/ 51906 w 294679"/>
                <a:gd name="connsiteY18" fmla="*/ 40768 h 200901"/>
                <a:gd name="connsiteX19" fmla="*/ 51906 w 294679"/>
                <a:gd name="connsiteY19" fmla="*/ 62804 h 200901"/>
                <a:gd name="connsiteX20" fmla="*/ 24779 w 294679"/>
                <a:gd name="connsiteY20" fmla="*/ 89931 h 200901"/>
                <a:gd name="connsiteX21" fmla="*/ 0 w 294679"/>
                <a:gd name="connsiteY21" fmla="*/ 89931 h 200901"/>
                <a:gd name="connsiteX22" fmla="*/ 24713 w 294679"/>
                <a:gd name="connsiteY22" fmla="*/ 114644 h 200901"/>
                <a:gd name="connsiteX23" fmla="*/ 24713 w 294679"/>
                <a:gd name="connsiteY23" fmla="*/ 131449 h 200901"/>
                <a:gd name="connsiteX24" fmla="*/ 40595 w 294679"/>
                <a:gd name="connsiteY24" fmla="*/ 131449 h 200901"/>
                <a:gd name="connsiteX25" fmla="*/ 40595 w 294679"/>
                <a:gd name="connsiteY25" fmla="*/ 153065 h 200901"/>
                <a:gd name="connsiteX26" fmla="*/ 70161 w 294679"/>
                <a:gd name="connsiteY26" fmla="*/ 153065 h 200901"/>
                <a:gd name="connsiteX27" fmla="*/ 97815 w 294679"/>
                <a:gd name="connsiteY27" fmla="*/ 180723 h 200901"/>
                <a:gd name="connsiteX28" fmla="*/ 175562 w 294679"/>
                <a:gd name="connsiteY28" fmla="*/ 180723 h 200901"/>
                <a:gd name="connsiteX29" fmla="*/ 187647 w 294679"/>
                <a:gd name="connsiteY29" fmla="*/ 168643 h 200901"/>
                <a:gd name="connsiteX30" fmla="*/ 239882 w 294679"/>
                <a:gd name="connsiteY30" fmla="*/ 168643 h 200901"/>
                <a:gd name="connsiteX31" fmla="*/ 253557 w 294679"/>
                <a:gd name="connsiteY31" fmla="*/ 182317 h 200901"/>
                <a:gd name="connsiteX32" fmla="*/ 272141 w 294679"/>
                <a:gd name="connsiteY32" fmla="*/ 200902 h 200901"/>
                <a:gd name="connsiteX33" fmla="*/ 272141 w 294679"/>
                <a:gd name="connsiteY33" fmla="*/ 193603 h 200901"/>
                <a:gd name="connsiteX34" fmla="*/ 272141 w 294679"/>
                <a:gd name="connsiteY34" fmla="*/ 177514 h 200901"/>
                <a:gd name="connsiteX35" fmla="*/ 294400 w 294679"/>
                <a:gd name="connsiteY35" fmla="*/ 177514 h 200901"/>
                <a:gd name="connsiteX36" fmla="*/ 294400 w 294679"/>
                <a:gd name="connsiteY36" fmla="*/ 148477 h 200901"/>
                <a:gd name="connsiteX37" fmla="*/ 294680 w 294679"/>
                <a:gd name="connsiteY37" fmla="*/ 148193 h 200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94679" h="200901">
                  <a:moveTo>
                    <a:pt x="284341" y="147620"/>
                  </a:moveTo>
                  <a:lnTo>
                    <a:pt x="269975" y="147924"/>
                  </a:lnTo>
                  <a:lnTo>
                    <a:pt x="263607" y="141557"/>
                  </a:lnTo>
                  <a:lnTo>
                    <a:pt x="253854" y="141557"/>
                  </a:lnTo>
                  <a:lnTo>
                    <a:pt x="237065" y="124773"/>
                  </a:lnTo>
                  <a:lnTo>
                    <a:pt x="237065" y="97357"/>
                  </a:lnTo>
                  <a:lnTo>
                    <a:pt x="237065" y="63439"/>
                  </a:lnTo>
                  <a:lnTo>
                    <a:pt x="211586" y="37959"/>
                  </a:lnTo>
                  <a:lnTo>
                    <a:pt x="211586" y="0"/>
                  </a:lnTo>
                  <a:lnTo>
                    <a:pt x="198232" y="0"/>
                  </a:lnTo>
                  <a:lnTo>
                    <a:pt x="190497" y="7735"/>
                  </a:lnTo>
                  <a:lnTo>
                    <a:pt x="172589" y="7735"/>
                  </a:lnTo>
                  <a:lnTo>
                    <a:pt x="158164" y="22159"/>
                  </a:lnTo>
                  <a:lnTo>
                    <a:pt x="147999" y="22159"/>
                  </a:lnTo>
                  <a:lnTo>
                    <a:pt x="136375" y="10532"/>
                  </a:lnTo>
                  <a:lnTo>
                    <a:pt x="112124" y="10532"/>
                  </a:lnTo>
                  <a:lnTo>
                    <a:pt x="87839" y="10532"/>
                  </a:lnTo>
                  <a:lnTo>
                    <a:pt x="69098" y="23580"/>
                  </a:lnTo>
                  <a:lnTo>
                    <a:pt x="51906" y="40768"/>
                  </a:lnTo>
                  <a:lnTo>
                    <a:pt x="51906" y="62804"/>
                  </a:lnTo>
                  <a:lnTo>
                    <a:pt x="24779" y="89931"/>
                  </a:lnTo>
                  <a:lnTo>
                    <a:pt x="0" y="89931"/>
                  </a:lnTo>
                  <a:lnTo>
                    <a:pt x="24713" y="114644"/>
                  </a:lnTo>
                  <a:lnTo>
                    <a:pt x="24713" y="131449"/>
                  </a:lnTo>
                  <a:lnTo>
                    <a:pt x="40595" y="131449"/>
                  </a:lnTo>
                  <a:lnTo>
                    <a:pt x="40595" y="153065"/>
                  </a:lnTo>
                  <a:lnTo>
                    <a:pt x="70161" y="153065"/>
                  </a:lnTo>
                  <a:lnTo>
                    <a:pt x="97815" y="180723"/>
                  </a:lnTo>
                  <a:lnTo>
                    <a:pt x="175562" y="180723"/>
                  </a:lnTo>
                  <a:lnTo>
                    <a:pt x="187647" y="168643"/>
                  </a:lnTo>
                  <a:lnTo>
                    <a:pt x="239882" y="168643"/>
                  </a:lnTo>
                  <a:lnTo>
                    <a:pt x="253557" y="182317"/>
                  </a:lnTo>
                  <a:lnTo>
                    <a:pt x="272141" y="200902"/>
                  </a:lnTo>
                  <a:lnTo>
                    <a:pt x="272141" y="193603"/>
                  </a:lnTo>
                  <a:lnTo>
                    <a:pt x="272141" y="177514"/>
                  </a:lnTo>
                  <a:lnTo>
                    <a:pt x="294400" y="177514"/>
                  </a:lnTo>
                  <a:lnTo>
                    <a:pt x="294400" y="148477"/>
                  </a:lnTo>
                  <a:lnTo>
                    <a:pt x="294680" y="148193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682" name="Graphic 6">
              <a:extLst>
                <a:ext uri="{FF2B5EF4-FFF2-40B4-BE49-F238E27FC236}">
                  <a16:creationId xmlns:a16="http://schemas.microsoft.com/office/drawing/2014/main" id="{98B6C3C6-42D2-FC36-C370-F9427B80D198}"/>
                </a:ext>
              </a:extLst>
            </p:cNvPr>
            <p:cNvGrpSpPr/>
            <p:nvPr/>
          </p:nvGrpSpPr>
          <p:grpSpPr>
            <a:xfrm>
              <a:off x="1637071" y="816506"/>
              <a:ext cx="2556003" cy="2449848"/>
              <a:chOff x="1637071" y="816506"/>
              <a:chExt cx="2556003" cy="2449848"/>
            </a:xfrm>
            <a:grpFill/>
          </p:grpSpPr>
          <p:sp>
            <p:nvSpPr>
              <p:cNvPr id="841" name="Freeform: Shape 840">
                <a:extLst>
                  <a:ext uri="{FF2B5EF4-FFF2-40B4-BE49-F238E27FC236}">
                    <a16:creationId xmlns:a16="http://schemas.microsoft.com/office/drawing/2014/main" id="{EA3474D1-E075-0354-E486-E0BA55558507}"/>
                  </a:ext>
                </a:extLst>
              </p:cNvPr>
              <p:cNvSpPr/>
              <p:nvPr/>
            </p:nvSpPr>
            <p:spPr>
              <a:xfrm>
                <a:off x="3040733" y="1390176"/>
                <a:ext cx="828953" cy="855512"/>
              </a:xfrm>
              <a:custGeom>
                <a:avLst/>
                <a:gdLst>
                  <a:gd name="connsiteX0" fmla="*/ 622813 w 828953"/>
                  <a:gd name="connsiteY0" fmla="*/ 416240 h 855512"/>
                  <a:gd name="connsiteX1" fmla="*/ 618920 w 828953"/>
                  <a:gd name="connsiteY1" fmla="*/ 389825 h 855512"/>
                  <a:gd name="connsiteX2" fmla="*/ 577831 w 828953"/>
                  <a:gd name="connsiteY2" fmla="*/ 388256 h 855512"/>
                  <a:gd name="connsiteX3" fmla="*/ 573493 w 828953"/>
                  <a:gd name="connsiteY3" fmla="*/ 356921 h 855512"/>
                  <a:gd name="connsiteX4" fmla="*/ 601205 w 828953"/>
                  <a:gd name="connsiteY4" fmla="*/ 356965 h 855512"/>
                  <a:gd name="connsiteX5" fmla="*/ 597494 w 828953"/>
                  <a:gd name="connsiteY5" fmla="*/ 331284 h 855512"/>
                  <a:gd name="connsiteX6" fmla="*/ 572015 w 828953"/>
                  <a:gd name="connsiteY6" fmla="*/ 331243 h 855512"/>
                  <a:gd name="connsiteX7" fmla="*/ 551363 w 828953"/>
                  <a:gd name="connsiteY7" fmla="*/ 312889 h 855512"/>
                  <a:gd name="connsiteX8" fmla="*/ 546325 w 828953"/>
                  <a:gd name="connsiteY8" fmla="*/ 275577 h 855512"/>
                  <a:gd name="connsiteX9" fmla="*/ 474035 w 828953"/>
                  <a:gd name="connsiteY9" fmla="*/ 211821 h 855512"/>
                  <a:gd name="connsiteX10" fmla="*/ 471399 w 828953"/>
                  <a:gd name="connsiteY10" fmla="*/ 190000 h 855512"/>
                  <a:gd name="connsiteX11" fmla="*/ 456085 w 828953"/>
                  <a:gd name="connsiteY11" fmla="*/ 176580 h 855512"/>
                  <a:gd name="connsiteX12" fmla="*/ 434358 w 828953"/>
                  <a:gd name="connsiteY12" fmla="*/ 176531 h 855512"/>
                  <a:gd name="connsiteX13" fmla="*/ 317247 w 828953"/>
                  <a:gd name="connsiteY13" fmla="*/ 73267 h 855512"/>
                  <a:gd name="connsiteX14" fmla="*/ 335048 w 828953"/>
                  <a:gd name="connsiteY14" fmla="*/ 54753 h 855512"/>
                  <a:gd name="connsiteX15" fmla="*/ 278122 w 828953"/>
                  <a:gd name="connsiteY15" fmla="*/ 4980 h 855512"/>
                  <a:gd name="connsiteX16" fmla="*/ 224815 w 828953"/>
                  <a:gd name="connsiteY16" fmla="*/ 4836 h 855512"/>
                  <a:gd name="connsiteX17" fmla="*/ 198772 w 828953"/>
                  <a:gd name="connsiteY17" fmla="*/ 30871 h 855512"/>
                  <a:gd name="connsiteX18" fmla="*/ 197025 w 828953"/>
                  <a:gd name="connsiteY18" fmla="*/ 2854 h 855512"/>
                  <a:gd name="connsiteX19" fmla="*/ 157884 w 828953"/>
                  <a:gd name="connsiteY19" fmla="*/ 2752 h 855512"/>
                  <a:gd name="connsiteX20" fmla="*/ 117750 w 828953"/>
                  <a:gd name="connsiteY20" fmla="*/ 42244 h 855512"/>
                  <a:gd name="connsiteX21" fmla="*/ 119500 w 828953"/>
                  <a:gd name="connsiteY21" fmla="*/ 82489 h 855512"/>
                  <a:gd name="connsiteX22" fmla="*/ 150589 w 828953"/>
                  <a:gd name="connsiteY22" fmla="*/ 111086 h 855512"/>
                  <a:gd name="connsiteX23" fmla="*/ 124434 w 828953"/>
                  <a:gd name="connsiteY23" fmla="*/ 137463 h 855512"/>
                  <a:gd name="connsiteX24" fmla="*/ 93889 w 828953"/>
                  <a:gd name="connsiteY24" fmla="*/ 137393 h 855512"/>
                  <a:gd name="connsiteX25" fmla="*/ 92501 w 828953"/>
                  <a:gd name="connsiteY25" fmla="*/ 100072 h 855512"/>
                  <a:gd name="connsiteX26" fmla="*/ 65325 w 828953"/>
                  <a:gd name="connsiteY26" fmla="*/ 74840 h 855512"/>
                  <a:gd name="connsiteX27" fmla="*/ 64752 w 828953"/>
                  <a:gd name="connsiteY27" fmla="*/ 56560 h 855512"/>
                  <a:gd name="connsiteX28" fmla="*/ 91080 w 828953"/>
                  <a:gd name="connsiteY28" fmla="*/ 21645 h 855512"/>
                  <a:gd name="connsiteX29" fmla="*/ 113235 w 828953"/>
                  <a:gd name="connsiteY29" fmla="*/ 99 h 855512"/>
                  <a:gd name="connsiteX30" fmla="*/ 76771 w 828953"/>
                  <a:gd name="connsiteY30" fmla="*/ 0 h 855512"/>
                  <a:gd name="connsiteX31" fmla="*/ 0 w 828953"/>
                  <a:gd name="connsiteY31" fmla="*/ 92852 h 855512"/>
                  <a:gd name="connsiteX32" fmla="*/ 1631 w 828953"/>
                  <a:gd name="connsiteY32" fmla="*/ 193418 h 855512"/>
                  <a:gd name="connsiteX33" fmla="*/ 46152 w 828953"/>
                  <a:gd name="connsiteY33" fmla="*/ 193509 h 855512"/>
                  <a:gd name="connsiteX34" fmla="*/ 70032 w 828953"/>
                  <a:gd name="connsiteY34" fmla="*/ 216393 h 855512"/>
                  <a:gd name="connsiteX35" fmla="*/ 19194 w 828953"/>
                  <a:gd name="connsiteY35" fmla="*/ 216294 h 855512"/>
                  <a:gd name="connsiteX36" fmla="*/ 56902 w 828953"/>
                  <a:gd name="connsiteY36" fmla="*/ 252754 h 855512"/>
                  <a:gd name="connsiteX37" fmla="*/ 95850 w 828953"/>
                  <a:gd name="connsiteY37" fmla="*/ 252832 h 855512"/>
                  <a:gd name="connsiteX38" fmla="*/ 123788 w 828953"/>
                  <a:gd name="connsiteY38" fmla="*/ 279642 h 855512"/>
                  <a:gd name="connsiteX39" fmla="*/ 249458 w 828953"/>
                  <a:gd name="connsiteY39" fmla="*/ 279877 h 855512"/>
                  <a:gd name="connsiteX40" fmla="*/ 271074 w 828953"/>
                  <a:gd name="connsiteY40" fmla="*/ 300059 h 855512"/>
                  <a:gd name="connsiteX41" fmla="*/ 291648 w 828953"/>
                  <a:gd name="connsiteY41" fmla="*/ 277793 h 855512"/>
                  <a:gd name="connsiteX42" fmla="*/ 363918 w 828953"/>
                  <a:gd name="connsiteY42" fmla="*/ 344769 h 855512"/>
                  <a:gd name="connsiteX43" fmla="*/ 340086 w 828953"/>
                  <a:gd name="connsiteY43" fmla="*/ 371431 h 855512"/>
                  <a:gd name="connsiteX44" fmla="*/ 364119 w 828953"/>
                  <a:gd name="connsiteY44" fmla="*/ 393961 h 855512"/>
                  <a:gd name="connsiteX45" fmla="*/ 390892 w 828953"/>
                  <a:gd name="connsiteY45" fmla="*/ 363679 h 855512"/>
                  <a:gd name="connsiteX46" fmla="*/ 476326 w 828953"/>
                  <a:gd name="connsiteY46" fmla="*/ 442807 h 855512"/>
                  <a:gd name="connsiteX47" fmla="*/ 482520 w 828953"/>
                  <a:gd name="connsiteY47" fmla="*/ 496430 h 855512"/>
                  <a:gd name="connsiteX48" fmla="*/ 431030 w 828953"/>
                  <a:gd name="connsiteY48" fmla="*/ 557665 h 855512"/>
                  <a:gd name="connsiteX49" fmla="*/ 433876 w 828953"/>
                  <a:gd name="connsiteY49" fmla="*/ 585233 h 855512"/>
                  <a:gd name="connsiteX50" fmla="*/ 409217 w 828953"/>
                  <a:gd name="connsiteY50" fmla="*/ 614748 h 855512"/>
                  <a:gd name="connsiteX51" fmla="*/ 356882 w 828953"/>
                  <a:gd name="connsiteY51" fmla="*/ 614707 h 855512"/>
                  <a:gd name="connsiteX52" fmla="*/ 332285 w 828953"/>
                  <a:gd name="connsiteY52" fmla="*/ 643787 h 855512"/>
                  <a:gd name="connsiteX53" fmla="*/ 389813 w 828953"/>
                  <a:gd name="connsiteY53" fmla="*/ 700849 h 855512"/>
                  <a:gd name="connsiteX54" fmla="*/ 425791 w 828953"/>
                  <a:gd name="connsiteY54" fmla="*/ 657238 h 855512"/>
                  <a:gd name="connsiteX55" fmla="*/ 454529 w 828953"/>
                  <a:gd name="connsiteY55" fmla="*/ 657255 h 855512"/>
                  <a:gd name="connsiteX56" fmla="*/ 658663 w 828953"/>
                  <a:gd name="connsiteY56" fmla="*/ 855512 h 855512"/>
                  <a:gd name="connsiteX57" fmla="*/ 696557 w 828953"/>
                  <a:gd name="connsiteY57" fmla="*/ 855512 h 855512"/>
                  <a:gd name="connsiteX58" fmla="*/ 689456 w 828953"/>
                  <a:gd name="connsiteY58" fmla="*/ 807836 h 855512"/>
                  <a:gd name="connsiteX59" fmla="*/ 593404 w 828953"/>
                  <a:gd name="connsiteY59" fmla="*/ 715932 h 855512"/>
                  <a:gd name="connsiteX60" fmla="*/ 618517 w 828953"/>
                  <a:gd name="connsiteY60" fmla="*/ 715941 h 855512"/>
                  <a:gd name="connsiteX61" fmla="*/ 711990 w 828953"/>
                  <a:gd name="connsiteY61" fmla="*/ 804941 h 855512"/>
                  <a:gd name="connsiteX62" fmla="*/ 731563 w 828953"/>
                  <a:gd name="connsiteY62" fmla="*/ 778609 h 855512"/>
                  <a:gd name="connsiteX63" fmla="*/ 723906 w 828953"/>
                  <a:gd name="connsiteY63" fmla="*/ 730204 h 855512"/>
                  <a:gd name="connsiteX64" fmla="*/ 591979 w 828953"/>
                  <a:gd name="connsiteY64" fmla="*/ 606659 h 855512"/>
                  <a:gd name="connsiteX65" fmla="*/ 584829 w 828953"/>
                  <a:gd name="connsiteY65" fmla="*/ 553785 h 855512"/>
                  <a:gd name="connsiteX66" fmla="*/ 602939 w 828953"/>
                  <a:gd name="connsiteY66" fmla="*/ 531374 h 855512"/>
                  <a:gd name="connsiteX67" fmla="*/ 645293 w 828953"/>
                  <a:gd name="connsiteY67" fmla="*/ 570351 h 855512"/>
                  <a:gd name="connsiteX68" fmla="*/ 688854 w 828953"/>
                  <a:gd name="connsiteY68" fmla="*/ 610456 h 855512"/>
                  <a:gd name="connsiteX69" fmla="*/ 739232 w 828953"/>
                  <a:gd name="connsiteY69" fmla="*/ 610498 h 855512"/>
                  <a:gd name="connsiteX70" fmla="*/ 785145 w 828953"/>
                  <a:gd name="connsiteY70" fmla="*/ 652362 h 855512"/>
                  <a:gd name="connsiteX71" fmla="*/ 828953 w 828953"/>
                  <a:gd name="connsiteY71" fmla="*/ 652386 h 855512"/>
                  <a:gd name="connsiteX72" fmla="*/ 812939 w 828953"/>
                  <a:gd name="connsiteY72" fmla="*/ 564284 h 855512"/>
                  <a:gd name="connsiteX73" fmla="*/ 767483 w 828953"/>
                  <a:gd name="connsiteY73" fmla="*/ 523771 h 855512"/>
                  <a:gd name="connsiteX74" fmla="*/ 709234 w 828953"/>
                  <a:gd name="connsiteY74" fmla="*/ 523709 h 855512"/>
                  <a:gd name="connsiteX75" fmla="*/ 668676 w 828953"/>
                  <a:gd name="connsiteY75" fmla="*/ 487158 h 855512"/>
                  <a:gd name="connsiteX76" fmla="*/ 663527 w 828953"/>
                  <a:gd name="connsiteY76" fmla="*/ 453854 h 855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828953" h="855512">
                    <a:moveTo>
                      <a:pt x="622813" y="416240"/>
                    </a:moveTo>
                    <a:lnTo>
                      <a:pt x="618920" y="389825"/>
                    </a:lnTo>
                    <a:lnTo>
                      <a:pt x="577831" y="388256"/>
                    </a:lnTo>
                    <a:lnTo>
                      <a:pt x="573493" y="356921"/>
                    </a:lnTo>
                    <a:lnTo>
                      <a:pt x="601205" y="356965"/>
                    </a:lnTo>
                    <a:lnTo>
                      <a:pt x="597494" y="331284"/>
                    </a:lnTo>
                    <a:lnTo>
                      <a:pt x="572015" y="331243"/>
                    </a:lnTo>
                    <a:lnTo>
                      <a:pt x="551363" y="312889"/>
                    </a:lnTo>
                    <a:lnTo>
                      <a:pt x="546325" y="275577"/>
                    </a:lnTo>
                    <a:lnTo>
                      <a:pt x="474035" y="211821"/>
                    </a:lnTo>
                    <a:lnTo>
                      <a:pt x="471399" y="190000"/>
                    </a:lnTo>
                    <a:lnTo>
                      <a:pt x="456085" y="176580"/>
                    </a:lnTo>
                    <a:lnTo>
                      <a:pt x="434358" y="176531"/>
                    </a:lnTo>
                    <a:lnTo>
                      <a:pt x="317247" y="73267"/>
                    </a:lnTo>
                    <a:lnTo>
                      <a:pt x="335048" y="54753"/>
                    </a:lnTo>
                    <a:lnTo>
                      <a:pt x="278122" y="4980"/>
                    </a:lnTo>
                    <a:lnTo>
                      <a:pt x="224815" y="4836"/>
                    </a:lnTo>
                    <a:lnTo>
                      <a:pt x="198772" y="30871"/>
                    </a:lnTo>
                    <a:lnTo>
                      <a:pt x="197025" y="2854"/>
                    </a:lnTo>
                    <a:lnTo>
                      <a:pt x="157884" y="2752"/>
                    </a:lnTo>
                    <a:lnTo>
                      <a:pt x="117750" y="42244"/>
                    </a:lnTo>
                    <a:lnTo>
                      <a:pt x="119500" y="82489"/>
                    </a:lnTo>
                    <a:lnTo>
                      <a:pt x="150589" y="111086"/>
                    </a:lnTo>
                    <a:lnTo>
                      <a:pt x="124434" y="137463"/>
                    </a:lnTo>
                    <a:lnTo>
                      <a:pt x="93889" y="137393"/>
                    </a:lnTo>
                    <a:lnTo>
                      <a:pt x="92501" y="100072"/>
                    </a:lnTo>
                    <a:lnTo>
                      <a:pt x="65325" y="74840"/>
                    </a:lnTo>
                    <a:lnTo>
                      <a:pt x="64752" y="56560"/>
                    </a:lnTo>
                    <a:lnTo>
                      <a:pt x="91080" y="21645"/>
                    </a:lnTo>
                    <a:lnTo>
                      <a:pt x="113235" y="99"/>
                    </a:lnTo>
                    <a:lnTo>
                      <a:pt x="76771" y="0"/>
                    </a:lnTo>
                    <a:lnTo>
                      <a:pt x="0" y="92852"/>
                    </a:lnTo>
                    <a:lnTo>
                      <a:pt x="1631" y="193418"/>
                    </a:lnTo>
                    <a:lnTo>
                      <a:pt x="46152" y="193509"/>
                    </a:lnTo>
                    <a:lnTo>
                      <a:pt x="70032" y="216393"/>
                    </a:lnTo>
                    <a:lnTo>
                      <a:pt x="19194" y="216294"/>
                    </a:lnTo>
                    <a:lnTo>
                      <a:pt x="56902" y="252754"/>
                    </a:lnTo>
                    <a:lnTo>
                      <a:pt x="95850" y="252832"/>
                    </a:lnTo>
                    <a:lnTo>
                      <a:pt x="123788" y="279642"/>
                    </a:lnTo>
                    <a:lnTo>
                      <a:pt x="249458" y="279877"/>
                    </a:lnTo>
                    <a:lnTo>
                      <a:pt x="271074" y="300059"/>
                    </a:lnTo>
                    <a:lnTo>
                      <a:pt x="291648" y="277793"/>
                    </a:lnTo>
                    <a:lnTo>
                      <a:pt x="363918" y="344769"/>
                    </a:lnTo>
                    <a:lnTo>
                      <a:pt x="340086" y="371431"/>
                    </a:lnTo>
                    <a:lnTo>
                      <a:pt x="364119" y="393961"/>
                    </a:lnTo>
                    <a:lnTo>
                      <a:pt x="390892" y="363679"/>
                    </a:lnTo>
                    <a:lnTo>
                      <a:pt x="476326" y="442807"/>
                    </a:lnTo>
                    <a:lnTo>
                      <a:pt x="482520" y="496430"/>
                    </a:lnTo>
                    <a:lnTo>
                      <a:pt x="431030" y="557665"/>
                    </a:lnTo>
                    <a:lnTo>
                      <a:pt x="433876" y="585233"/>
                    </a:lnTo>
                    <a:lnTo>
                      <a:pt x="409217" y="614748"/>
                    </a:lnTo>
                    <a:lnTo>
                      <a:pt x="356882" y="614707"/>
                    </a:lnTo>
                    <a:lnTo>
                      <a:pt x="332285" y="643787"/>
                    </a:lnTo>
                    <a:lnTo>
                      <a:pt x="389813" y="700849"/>
                    </a:lnTo>
                    <a:lnTo>
                      <a:pt x="425791" y="657238"/>
                    </a:lnTo>
                    <a:lnTo>
                      <a:pt x="454529" y="657255"/>
                    </a:lnTo>
                    <a:lnTo>
                      <a:pt x="658663" y="855512"/>
                    </a:lnTo>
                    <a:lnTo>
                      <a:pt x="696557" y="855512"/>
                    </a:lnTo>
                    <a:lnTo>
                      <a:pt x="689456" y="807836"/>
                    </a:lnTo>
                    <a:lnTo>
                      <a:pt x="593404" y="715932"/>
                    </a:lnTo>
                    <a:lnTo>
                      <a:pt x="618517" y="715941"/>
                    </a:lnTo>
                    <a:lnTo>
                      <a:pt x="711990" y="804941"/>
                    </a:lnTo>
                    <a:lnTo>
                      <a:pt x="731563" y="778609"/>
                    </a:lnTo>
                    <a:lnTo>
                      <a:pt x="723906" y="730204"/>
                    </a:lnTo>
                    <a:lnTo>
                      <a:pt x="591979" y="606659"/>
                    </a:lnTo>
                    <a:lnTo>
                      <a:pt x="584829" y="553785"/>
                    </a:lnTo>
                    <a:lnTo>
                      <a:pt x="602939" y="531374"/>
                    </a:lnTo>
                    <a:lnTo>
                      <a:pt x="645293" y="570351"/>
                    </a:lnTo>
                    <a:lnTo>
                      <a:pt x="688854" y="610456"/>
                    </a:lnTo>
                    <a:lnTo>
                      <a:pt x="739232" y="610498"/>
                    </a:lnTo>
                    <a:lnTo>
                      <a:pt x="785145" y="652362"/>
                    </a:lnTo>
                    <a:lnTo>
                      <a:pt x="828953" y="652386"/>
                    </a:lnTo>
                    <a:lnTo>
                      <a:pt x="812939" y="564284"/>
                    </a:lnTo>
                    <a:lnTo>
                      <a:pt x="767483" y="523771"/>
                    </a:lnTo>
                    <a:lnTo>
                      <a:pt x="709234" y="523709"/>
                    </a:lnTo>
                    <a:lnTo>
                      <a:pt x="668676" y="487158"/>
                    </a:lnTo>
                    <a:lnTo>
                      <a:pt x="663527" y="453854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42" name="Freeform: Shape 841">
                <a:extLst>
                  <a:ext uri="{FF2B5EF4-FFF2-40B4-BE49-F238E27FC236}">
                    <a16:creationId xmlns:a16="http://schemas.microsoft.com/office/drawing/2014/main" id="{2FEA3911-2895-1862-3726-7C8C443C92C8}"/>
                  </a:ext>
                </a:extLst>
              </p:cNvPr>
              <p:cNvSpPr/>
              <p:nvPr/>
            </p:nvSpPr>
            <p:spPr>
              <a:xfrm>
                <a:off x="3195878" y="816506"/>
                <a:ext cx="454454" cy="469480"/>
              </a:xfrm>
              <a:custGeom>
                <a:avLst/>
                <a:gdLst>
                  <a:gd name="connsiteX0" fmla="*/ 65568 w 454454"/>
                  <a:gd name="connsiteY0" fmla="*/ 139902 h 469480"/>
                  <a:gd name="connsiteX1" fmla="*/ 53063 w 454454"/>
                  <a:gd name="connsiteY1" fmla="*/ 151133 h 469480"/>
                  <a:gd name="connsiteX2" fmla="*/ 101241 w 454454"/>
                  <a:gd name="connsiteY2" fmla="*/ 189723 h 469480"/>
                  <a:gd name="connsiteX3" fmla="*/ 122235 w 454454"/>
                  <a:gd name="connsiteY3" fmla="*/ 170509 h 469480"/>
                  <a:gd name="connsiteX4" fmla="*/ 140679 w 454454"/>
                  <a:gd name="connsiteY4" fmla="*/ 185176 h 469480"/>
                  <a:gd name="connsiteX5" fmla="*/ 196313 w 454454"/>
                  <a:gd name="connsiteY5" fmla="*/ 133831 h 469480"/>
                  <a:gd name="connsiteX6" fmla="*/ 206244 w 454454"/>
                  <a:gd name="connsiteY6" fmla="*/ 141512 h 469480"/>
                  <a:gd name="connsiteX7" fmla="*/ 176398 w 454454"/>
                  <a:gd name="connsiteY7" fmla="*/ 169166 h 469480"/>
                  <a:gd name="connsiteX8" fmla="*/ 185703 w 454454"/>
                  <a:gd name="connsiteY8" fmla="*/ 176465 h 469480"/>
                  <a:gd name="connsiteX9" fmla="*/ 221158 w 454454"/>
                  <a:gd name="connsiteY9" fmla="*/ 176608 h 469480"/>
                  <a:gd name="connsiteX10" fmla="*/ 222476 w 454454"/>
                  <a:gd name="connsiteY10" fmla="*/ 188113 h 469480"/>
                  <a:gd name="connsiteX11" fmla="*/ 175891 w 454454"/>
                  <a:gd name="connsiteY11" fmla="*/ 187931 h 469480"/>
                  <a:gd name="connsiteX12" fmla="*/ 160157 w 454454"/>
                  <a:gd name="connsiteY12" fmla="*/ 202562 h 469480"/>
                  <a:gd name="connsiteX13" fmla="*/ 122017 w 454454"/>
                  <a:gd name="connsiteY13" fmla="*/ 202413 h 469480"/>
                  <a:gd name="connsiteX14" fmla="*/ 170822 w 454454"/>
                  <a:gd name="connsiteY14" fmla="*/ 241464 h 469480"/>
                  <a:gd name="connsiteX15" fmla="*/ 154297 w 454454"/>
                  <a:gd name="connsiteY15" fmla="*/ 257066 h 469480"/>
                  <a:gd name="connsiteX16" fmla="*/ 98185 w 454454"/>
                  <a:gd name="connsiteY16" fmla="*/ 211841 h 469480"/>
                  <a:gd name="connsiteX17" fmla="*/ 77175 w 454454"/>
                  <a:gd name="connsiteY17" fmla="*/ 211755 h 469480"/>
                  <a:gd name="connsiteX18" fmla="*/ 79065 w 454454"/>
                  <a:gd name="connsiteY18" fmla="*/ 236291 h 469480"/>
                  <a:gd name="connsiteX19" fmla="*/ 103041 w 454454"/>
                  <a:gd name="connsiteY19" fmla="*/ 255786 h 469480"/>
                  <a:gd name="connsiteX20" fmla="*/ 105026 w 454454"/>
                  <a:gd name="connsiteY20" fmla="*/ 279790 h 469480"/>
                  <a:gd name="connsiteX21" fmla="*/ 91562 w 454454"/>
                  <a:gd name="connsiteY21" fmla="*/ 292382 h 469480"/>
                  <a:gd name="connsiteX22" fmla="*/ 117300 w 454454"/>
                  <a:gd name="connsiteY22" fmla="*/ 313561 h 469480"/>
                  <a:gd name="connsiteX23" fmla="*/ 109088 w 454454"/>
                  <a:gd name="connsiteY23" fmla="*/ 321353 h 469480"/>
                  <a:gd name="connsiteX24" fmla="*/ 77286 w 454454"/>
                  <a:gd name="connsiteY24" fmla="*/ 295100 h 469480"/>
                  <a:gd name="connsiteX25" fmla="*/ 45776 w 454454"/>
                  <a:gd name="connsiteY25" fmla="*/ 294989 h 469480"/>
                  <a:gd name="connsiteX26" fmla="*/ 46901 w 454454"/>
                  <a:gd name="connsiteY26" fmla="*/ 311649 h 469480"/>
                  <a:gd name="connsiteX27" fmla="*/ 32555 w 454454"/>
                  <a:gd name="connsiteY27" fmla="*/ 325019 h 469480"/>
                  <a:gd name="connsiteX28" fmla="*/ 93037 w 454454"/>
                  <a:gd name="connsiteY28" fmla="*/ 375772 h 469480"/>
                  <a:gd name="connsiteX29" fmla="*/ 81014 w 454454"/>
                  <a:gd name="connsiteY29" fmla="*/ 387251 h 469480"/>
                  <a:gd name="connsiteX30" fmla="*/ 57182 w 454454"/>
                  <a:gd name="connsiteY30" fmla="*/ 387173 h 469480"/>
                  <a:gd name="connsiteX31" fmla="*/ 55402 w 454454"/>
                  <a:gd name="connsiteY31" fmla="*/ 361315 h 469480"/>
                  <a:gd name="connsiteX32" fmla="*/ 19503 w 454454"/>
                  <a:gd name="connsiteY32" fmla="*/ 361191 h 469480"/>
                  <a:gd name="connsiteX33" fmla="*/ 21513 w 454454"/>
                  <a:gd name="connsiteY33" fmla="*/ 394612 h 469480"/>
                  <a:gd name="connsiteX34" fmla="*/ 0 w 454454"/>
                  <a:gd name="connsiteY34" fmla="*/ 414950 h 469480"/>
                  <a:gd name="connsiteX35" fmla="*/ 1062 w 454454"/>
                  <a:gd name="connsiteY35" fmla="*/ 434387 h 469480"/>
                  <a:gd name="connsiteX36" fmla="*/ 24804 w 454454"/>
                  <a:gd name="connsiteY36" fmla="*/ 454994 h 469480"/>
                  <a:gd name="connsiteX37" fmla="*/ 61864 w 454454"/>
                  <a:gd name="connsiteY37" fmla="*/ 455110 h 469480"/>
                  <a:gd name="connsiteX38" fmla="*/ 61021 w 454454"/>
                  <a:gd name="connsiteY38" fmla="*/ 442885 h 469480"/>
                  <a:gd name="connsiteX39" fmla="*/ 92381 w 454454"/>
                  <a:gd name="connsiteY39" fmla="*/ 442984 h 469480"/>
                  <a:gd name="connsiteX40" fmla="*/ 123323 w 454454"/>
                  <a:gd name="connsiteY40" fmla="*/ 469382 h 469480"/>
                  <a:gd name="connsiteX41" fmla="*/ 154869 w 454454"/>
                  <a:gd name="connsiteY41" fmla="*/ 469480 h 469480"/>
                  <a:gd name="connsiteX42" fmla="*/ 151726 w 454454"/>
                  <a:gd name="connsiteY42" fmla="*/ 434870 h 469480"/>
                  <a:gd name="connsiteX43" fmla="*/ 120175 w 454454"/>
                  <a:gd name="connsiteY43" fmla="*/ 408307 h 469480"/>
                  <a:gd name="connsiteX44" fmla="*/ 119446 w 454454"/>
                  <a:gd name="connsiteY44" fmla="*/ 399571 h 469480"/>
                  <a:gd name="connsiteX45" fmla="*/ 166649 w 454454"/>
                  <a:gd name="connsiteY45" fmla="*/ 399727 h 469480"/>
                  <a:gd name="connsiteX46" fmla="*/ 164659 w 454454"/>
                  <a:gd name="connsiteY46" fmla="*/ 378890 h 469480"/>
                  <a:gd name="connsiteX47" fmla="*/ 208385 w 454454"/>
                  <a:gd name="connsiteY47" fmla="*/ 379038 h 469480"/>
                  <a:gd name="connsiteX48" fmla="*/ 222303 w 454454"/>
                  <a:gd name="connsiteY48" fmla="*/ 365310 h 469480"/>
                  <a:gd name="connsiteX49" fmla="*/ 203385 w 454454"/>
                  <a:gd name="connsiteY49" fmla="*/ 349877 h 469480"/>
                  <a:gd name="connsiteX50" fmla="*/ 226998 w 454454"/>
                  <a:gd name="connsiteY50" fmla="*/ 349959 h 469480"/>
                  <a:gd name="connsiteX51" fmla="*/ 224173 w 454454"/>
                  <a:gd name="connsiteY51" fmla="*/ 324566 h 469480"/>
                  <a:gd name="connsiteX52" fmla="*/ 204740 w 454454"/>
                  <a:gd name="connsiteY52" fmla="*/ 308853 h 469480"/>
                  <a:gd name="connsiteX53" fmla="*/ 212158 w 454454"/>
                  <a:gd name="connsiteY53" fmla="*/ 301665 h 469480"/>
                  <a:gd name="connsiteX54" fmla="*/ 228811 w 454454"/>
                  <a:gd name="connsiteY54" fmla="*/ 315081 h 469480"/>
                  <a:gd name="connsiteX55" fmla="*/ 264962 w 454454"/>
                  <a:gd name="connsiteY55" fmla="*/ 279823 h 469480"/>
                  <a:gd name="connsiteX56" fmla="*/ 290672 w 454454"/>
                  <a:gd name="connsiteY56" fmla="*/ 279918 h 469480"/>
                  <a:gd name="connsiteX57" fmla="*/ 409163 w 454454"/>
                  <a:gd name="connsiteY57" fmla="*/ 163646 h 469480"/>
                  <a:gd name="connsiteX58" fmla="*/ 357150 w 454454"/>
                  <a:gd name="connsiteY58" fmla="*/ 163436 h 469480"/>
                  <a:gd name="connsiteX59" fmla="*/ 355029 w 454454"/>
                  <a:gd name="connsiteY59" fmla="*/ 149284 h 469480"/>
                  <a:gd name="connsiteX60" fmla="*/ 409580 w 454454"/>
                  <a:gd name="connsiteY60" fmla="*/ 149507 h 469480"/>
                  <a:gd name="connsiteX61" fmla="*/ 454454 w 454454"/>
                  <a:gd name="connsiteY61" fmla="*/ 105620 h 469480"/>
                  <a:gd name="connsiteX62" fmla="*/ 450644 w 454454"/>
                  <a:gd name="connsiteY62" fmla="*/ 84198 h 469480"/>
                  <a:gd name="connsiteX63" fmla="*/ 371505 w 454454"/>
                  <a:gd name="connsiteY63" fmla="*/ 26550 h 469480"/>
                  <a:gd name="connsiteX64" fmla="*/ 354193 w 454454"/>
                  <a:gd name="connsiteY64" fmla="*/ 26472 h 469480"/>
                  <a:gd name="connsiteX65" fmla="*/ 333611 w 454454"/>
                  <a:gd name="connsiteY65" fmla="*/ 11426 h 469480"/>
                  <a:gd name="connsiteX66" fmla="*/ 292233 w 454454"/>
                  <a:gd name="connsiteY66" fmla="*/ 11240 h 469480"/>
                  <a:gd name="connsiteX67" fmla="*/ 277549 w 454454"/>
                  <a:gd name="connsiteY67" fmla="*/ 420 h 469480"/>
                  <a:gd name="connsiteX68" fmla="*/ 185735 w 454454"/>
                  <a:gd name="connsiteY68" fmla="*/ 0 h 469480"/>
                  <a:gd name="connsiteX69" fmla="*/ 136457 w 454454"/>
                  <a:gd name="connsiteY69" fmla="*/ 43776 h 469480"/>
                  <a:gd name="connsiteX70" fmla="*/ 115957 w 454454"/>
                  <a:gd name="connsiteY70" fmla="*/ 28049 h 469480"/>
                  <a:gd name="connsiteX71" fmla="*/ 80808 w 454454"/>
                  <a:gd name="connsiteY71" fmla="*/ 58958 h 469480"/>
                  <a:gd name="connsiteX72" fmla="*/ 70704 w 454454"/>
                  <a:gd name="connsiteY72" fmla="*/ 51107 h 469480"/>
                  <a:gd name="connsiteX73" fmla="*/ 25944 w 454454"/>
                  <a:gd name="connsiteY73" fmla="*/ 90319 h 469480"/>
                  <a:gd name="connsiteX74" fmla="*/ 64110 w 454454"/>
                  <a:gd name="connsiteY74" fmla="*/ 120572 h 469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454454" h="469480">
                    <a:moveTo>
                      <a:pt x="65568" y="139902"/>
                    </a:moveTo>
                    <a:lnTo>
                      <a:pt x="53063" y="151133"/>
                    </a:lnTo>
                    <a:lnTo>
                      <a:pt x="101241" y="189723"/>
                    </a:lnTo>
                    <a:lnTo>
                      <a:pt x="122235" y="170509"/>
                    </a:lnTo>
                    <a:lnTo>
                      <a:pt x="140679" y="185176"/>
                    </a:lnTo>
                    <a:lnTo>
                      <a:pt x="196313" y="133831"/>
                    </a:lnTo>
                    <a:lnTo>
                      <a:pt x="206244" y="141512"/>
                    </a:lnTo>
                    <a:lnTo>
                      <a:pt x="176398" y="169166"/>
                    </a:lnTo>
                    <a:lnTo>
                      <a:pt x="185703" y="176465"/>
                    </a:lnTo>
                    <a:lnTo>
                      <a:pt x="221158" y="176608"/>
                    </a:lnTo>
                    <a:lnTo>
                      <a:pt x="222476" y="188113"/>
                    </a:lnTo>
                    <a:lnTo>
                      <a:pt x="175891" y="187931"/>
                    </a:lnTo>
                    <a:lnTo>
                      <a:pt x="160157" y="202562"/>
                    </a:lnTo>
                    <a:lnTo>
                      <a:pt x="122017" y="202413"/>
                    </a:lnTo>
                    <a:lnTo>
                      <a:pt x="170822" y="241464"/>
                    </a:lnTo>
                    <a:lnTo>
                      <a:pt x="154297" y="257066"/>
                    </a:lnTo>
                    <a:lnTo>
                      <a:pt x="98185" y="211841"/>
                    </a:lnTo>
                    <a:lnTo>
                      <a:pt x="77175" y="211755"/>
                    </a:lnTo>
                    <a:lnTo>
                      <a:pt x="79065" y="236291"/>
                    </a:lnTo>
                    <a:lnTo>
                      <a:pt x="103041" y="255786"/>
                    </a:lnTo>
                    <a:lnTo>
                      <a:pt x="105026" y="279790"/>
                    </a:lnTo>
                    <a:lnTo>
                      <a:pt x="91562" y="292382"/>
                    </a:lnTo>
                    <a:lnTo>
                      <a:pt x="117300" y="313561"/>
                    </a:lnTo>
                    <a:lnTo>
                      <a:pt x="109088" y="321353"/>
                    </a:lnTo>
                    <a:lnTo>
                      <a:pt x="77286" y="295100"/>
                    </a:lnTo>
                    <a:lnTo>
                      <a:pt x="45776" y="294989"/>
                    </a:lnTo>
                    <a:lnTo>
                      <a:pt x="46901" y="311649"/>
                    </a:lnTo>
                    <a:lnTo>
                      <a:pt x="32555" y="325019"/>
                    </a:lnTo>
                    <a:lnTo>
                      <a:pt x="93037" y="375772"/>
                    </a:lnTo>
                    <a:lnTo>
                      <a:pt x="81014" y="387251"/>
                    </a:lnTo>
                    <a:lnTo>
                      <a:pt x="57182" y="387173"/>
                    </a:lnTo>
                    <a:lnTo>
                      <a:pt x="55402" y="361315"/>
                    </a:lnTo>
                    <a:lnTo>
                      <a:pt x="19503" y="361191"/>
                    </a:lnTo>
                    <a:lnTo>
                      <a:pt x="21513" y="394612"/>
                    </a:lnTo>
                    <a:lnTo>
                      <a:pt x="0" y="414950"/>
                    </a:lnTo>
                    <a:lnTo>
                      <a:pt x="1062" y="434387"/>
                    </a:lnTo>
                    <a:lnTo>
                      <a:pt x="24804" y="454994"/>
                    </a:lnTo>
                    <a:lnTo>
                      <a:pt x="61864" y="455110"/>
                    </a:lnTo>
                    <a:lnTo>
                      <a:pt x="61021" y="442885"/>
                    </a:lnTo>
                    <a:lnTo>
                      <a:pt x="92381" y="442984"/>
                    </a:lnTo>
                    <a:lnTo>
                      <a:pt x="123323" y="469382"/>
                    </a:lnTo>
                    <a:lnTo>
                      <a:pt x="154869" y="469480"/>
                    </a:lnTo>
                    <a:lnTo>
                      <a:pt x="151726" y="434870"/>
                    </a:lnTo>
                    <a:lnTo>
                      <a:pt x="120175" y="408307"/>
                    </a:lnTo>
                    <a:lnTo>
                      <a:pt x="119446" y="399571"/>
                    </a:lnTo>
                    <a:lnTo>
                      <a:pt x="166649" y="399727"/>
                    </a:lnTo>
                    <a:lnTo>
                      <a:pt x="164659" y="378890"/>
                    </a:lnTo>
                    <a:lnTo>
                      <a:pt x="208385" y="379038"/>
                    </a:lnTo>
                    <a:lnTo>
                      <a:pt x="222303" y="365310"/>
                    </a:lnTo>
                    <a:lnTo>
                      <a:pt x="203385" y="349877"/>
                    </a:lnTo>
                    <a:lnTo>
                      <a:pt x="226998" y="349959"/>
                    </a:lnTo>
                    <a:lnTo>
                      <a:pt x="224173" y="324566"/>
                    </a:lnTo>
                    <a:lnTo>
                      <a:pt x="204740" y="308853"/>
                    </a:lnTo>
                    <a:lnTo>
                      <a:pt x="212158" y="301665"/>
                    </a:lnTo>
                    <a:lnTo>
                      <a:pt x="228811" y="315081"/>
                    </a:lnTo>
                    <a:lnTo>
                      <a:pt x="264962" y="279823"/>
                    </a:lnTo>
                    <a:lnTo>
                      <a:pt x="290672" y="279918"/>
                    </a:lnTo>
                    <a:lnTo>
                      <a:pt x="409163" y="163646"/>
                    </a:lnTo>
                    <a:lnTo>
                      <a:pt x="357150" y="163436"/>
                    </a:lnTo>
                    <a:lnTo>
                      <a:pt x="355029" y="149284"/>
                    </a:lnTo>
                    <a:lnTo>
                      <a:pt x="409580" y="149507"/>
                    </a:lnTo>
                    <a:lnTo>
                      <a:pt x="454454" y="105620"/>
                    </a:lnTo>
                    <a:lnTo>
                      <a:pt x="450644" y="84198"/>
                    </a:lnTo>
                    <a:lnTo>
                      <a:pt x="371505" y="26550"/>
                    </a:lnTo>
                    <a:lnTo>
                      <a:pt x="354193" y="26472"/>
                    </a:lnTo>
                    <a:lnTo>
                      <a:pt x="333611" y="11426"/>
                    </a:lnTo>
                    <a:lnTo>
                      <a:pt x="292233" y="11240"/>
                    </a:lnTo>
                    <a:lnTo>
                      <a:pt x="277549" y="420"/>
                    </a:lnTo>
                    <a:lnTo>
                      <a:pt x="185735" y="0"/>
                    </a:lnTo>
                    <a:lnTo>
                      <a:pt x="136457" y="43776"/>
                    </a:lnTo>
                    <a:lnTo>
                      <a:pt x="115957" y="28049"/>
                    </a:lnTo>
                    <a:lnTo>
                      <a:pt x="80808" y="58958"/>
                    </a:lnTo>
                    <a:lnTo>
                      <a:pt x="70704" y="51107"/>
                    </a:lnTo>
                    <a:lnTo>
                      <a:pt x="25944" y="90319"/>
                    </a:lnTo>
                    <a:lnTo>
                      <a:pt x="64110" y="120572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43" name="Freeform: Shape 842">
                <a:extLst>
                  <a:ext uri="{FF2B5EF4-FFF2-40B4-BE49-F238E27FC236}">
                    <a16:creationId xmlns:a16="http://schemas.microsoft.com/office/drawing/2014/main" id="{672603B9-47A2-BAAF-8B79-204FF1340B8E}"/>
                  </a:ext>
                </a:extLst>
              </p:cNvPr>
              <p:cNvSpPr/>
              <p:nvPr/>
            </p:nvSpPr>
            <p:spPr>
              <a:xfrm>
                <a:off x="3091757" y="917365"/>
                <a:ext cx="145729" cy="237872"/>
              </a:xfrm>
              <a:custGeom>
                <a:avLst/>
                <a:gdLst>
                  <a:gd name="connsiteX0" fmla="*/ 34363 w 145729"/>
                  <a:gd name="connsiteY0" fmla="*/ 153901 h 237872"/>
                  <a:gd name="connsiteX1" fmla="*/ 14539 w 145729"/>
                  <a:gd name="connsiteY1" fmla="*/ 171641 h 237872"/>
                  <a:gd name="connsiteX2" fmla="*/ 15853 w 145729"/>
                  <a:gd name="connsiteY2" fmla="*/ 209942 h 237872"/>
                  <a:gd name="connsiteX3" fmla="*/ 48306 w 145729"/>
                  <a:gd name="connsiteY3" fmla="*/ 237769 h 237872"/>
                  <a:gd name="connsiteX4" fmla="*/ 76842 w 145729"/>
                  <a:gd name="connsiteY4" fmla="*/ 237872 h 237872"/>
                  <a:gd name="connsiteX5" fmla="*/ 145730 w 145729"/>
                  <a:gd name="connsiteY5" fmla="*/ 174318 h 237872"/>
                  <a:gd name="connsiteX6" fmla="*/ 143275 w 145729"/>
                  <a:gd name="connsiteY6" fmla="*/ 137697 h 237872"/>
                  <a:gd name="connsiteX7" fmla="*/ 120691 w 145729"/>
                  <a:gd name="connsiteY7" fmla="*/ 119146 h 237872"/>
                  <a:gd name="connsiteX8" fmla="*/ 118842 w 145729"/>
                  <a:gd name="connsiteY8" fmla="*/ 89041 h 237872"/>
                  <a:gd name="connsiteX9" fmla="*/ 72105 w 145729"/>
                  <a:gd name="connsiteY9" fmla="*/ 50954 h 237872"/>
                  <a:gd name="connsiteX10" fmla="*/ 69559 w 145729"/>
                  <a:gd name="connsiteY10" fmla="*/ 185 h 237872"/>
                  <a:gd name="connsiteX11" fmla="*/ 26319 w 145729"/>
                  <a:gd name="connsiteY11" fmla="*/ 0 h 237872"/>
                  <a:gd name="connsiteX12" fmla="*/ 27732 w 145729"/>
                  <a:gd name="connsiteY12" fmla="*/ 36418 h 237872"/>
                  <a:gd name="connsiteX13" fmla="*/ 14782 w 145729"/>
                  <a:gd name="connsiteY13" fmla="*/ 47642 h 237872"/>
                  <a:gd name="connsiteX14" fmla="*/ 15479 w 145729"/>
                  <a:gd name="connsiteY14" fmla="*/ 67244 h 237872"/>
                  <a:gd name="connsiteX15" fmla="*/ 0 w 145729"/>
                  <a:gd name="connsiteY15" fmla="*/ 80725 h 237872"/>
                  <a:gd name="connsiteX16" fmla="*/ 1890 w 145729"/>
                  <a:gd name="connsiteY16" fmla="*/ 141198 h 237872"/>
                  <a:gd name="connsiteX17" fmla="*/ 33866 w 145729"/>
                  <a:gd name="connsiteY17" fmla="*/ 141318 h 237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5729" h="237872">
                    <a:moveTo>
                      <a:pt x="34363" y="153901"/>
                    </a:moveTo>
                    <a:lnTo>
                      <a:pt x="14539" y="171641"/>
                    </a:lnTo>
                    <a:lnTo>
                      <a:pt x="15853" y="209942"/>
                    </a:lnTo>
                    <a:lnTo>
                      <a:pt x="48306" y="237769"/>
                    </a:lnTo>
                    <a:lnTo>
                      <a:pt x="76842" y="237872"/>
                    </a:lnTo>
                    <a:lnTo>
                      <a:pt x="145730" y="174318"/>
                    </a:lnTo>
                    <a:lnTo>
                      <a:pt x="143275" y="137697"/>
                    </a:lnTo>
                    <a:lnTo>
                      <a:pt x="120691" y="119146"/>
                    </a:lnTo>
                    <a:lnTo>
                      <a:pt x="118842" y="89041"/>
                    </a:lnTo>
                    <a:lnTo>
                      <a:pt x="72105" y="50954"/>
                    </a:lnTo>
                    <a:lnTo>
                      <a:pt x="69559" y="185"/>
                    </a:lnTo>
                    <a:lnTo>
                      <a:pt x="26319" y="0"/>
                    </a:lnTo>
                    <a:lnTo>
                      <a:pt x="27732" y="36418"/>
                    </a:lnTo>
                    <a:lnTo>
                      <a:pt x="14782" y="47642"/>
                    </a:lnTo>
                    <a:lnTo>
                      <a:pt x="15479" y="67244"/>
                    </a:lnTo>
                    <a:lnTo>
                      <a:pt x="0" y="80725"/>
                    </a:lnTo>
                    <a:lnTo>
                      <a:pt x="1890" y="141198"/>
                    </a:lnTo>
                    <a:lnTo>
                      <a:pt x="33866" y="141318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44" name="Freeform: Shape 843">
                <a:extLst>
                  <a:ext uri="{FF2B5EF4-FFF2-40B4-BE49-F238E27FC236}">
                    <a16:creationId xmlns:a16="http://schemas.microsoft.com/office/drawing/2014/main" id="{0CC487E9-6BBB-C4BB-742A-BE0C29DD3A6A}"/>
                  </a:ext>
                </a:extLst>
              </p:cNvPr>
              <p:cNvSpPr/>
              <p:nvPr/>
            </p:nvSpPr>
            <p:spPr>
              <a:xfrm>
                <a:off x="2984387" y="1165505"/>
                <a:ext cx="288340" cy="211218"/>
              </a:xfrm>
              <a:custGeom>
                <a:avLst/>
                <a:gdLst>
                  <a:gd name="connsiteX0" fmla="*/ 66598 w 288340"/>
                  <a:gd name="connsiteY0" fmla="*/ 67244 h 211218"/>
                  <a:gd name="connsiteX1" fmla="*/ 67558 w 288340"/>
                  <a:gd name="connsiteY1" fmla="*/ 115954 h 211218"/>
                  <a:gd name="connsiteX2" fmla="*/ 58492 w 288340"/>
                  <a:gd name="connsiteY2" fmla="*/ 124352 h 211218"/>
                  <a:gd name="connsiteX3" fmla="*/ 59418 w 288340"/>
                  <a:gd name="connsiteY3" fmla="*/ 177535 h 211218"/>
                  <a:gd name="connsiteX4" fmla="*/ 96139 w 288340"/>
                  <a:gd name="connsiteY4" fmla="*/ 177642 h 211218"/>
                  <a:gd name="connsiteX5" fmla="*/ 116053 w 288340"/>
                  <a:gd name="connsiteY5" fmla="*/ 195704 h 211218"/>
                  <a:gd name="connsiteX6" fmla="*/ 224614 w 288340"/>
                  <a:gd name="connsiteY6" fmla="*/ 196008 h 211218"/>
                  <a:gd name="connsiteX7" fmla="*/ 241587 w 288340"/>
                  <a:gd name="connsiteY7" fmla="*/ 211091 h 211218"/>
                  <a:gd name="connsiteX8" fmla="*/ 288341 w 288340"/>
                  <a:gd name="connsiteY8" fmla="*/ 211219 h 211218"/>
                  <a:gd name="connsiteX9" fmla="*/ 284584 w 288340"/>
                  <a:gd name="connsiteY9" fmla="*/ 158184 h 211218"/>
                  <a:gd name="connsiteX10" fmla="*/ 233127 w 288340"/>
                  <a:gd name="connsiteY10" fmla="*/ 113450 h 211218"/>
                  <a:gd name="connsiteX11" fmla="*/ 207508 w 288340"/>
                  <a:gd name="connsiteY11" fmla="*/ 113371 h 211218"/>
                  <a:gd name="connsiteX12" fmla="*/ 178561 w 288340"/>
                  <a:gd name="connsiteY12" fmla="*/ 141083 h 211218"/>
                  <a:gd name="connsiteX13" fmla="*/ 161389 w 288340"/>
                  <a:gd name="connsiteY13" fmla="*/ 125889 h 211218"/>
                  <a:gd name="connsiteX14" fmla="*/ 117865 w 288340"/>
                  <a:gd name="connsiteY14" fmla="*/ 125757 h 211218"/>
                  <a:gd name="connsiteX15" fmla="*/ 117149 w 288340"/>
                  <a:gd name="connsiteY15" fmla="*/ 102938 h 211218"/>
                  <a:gd name="connsiteX16" fmla="*/ 90907 w 288340"/>
                  <a:gd name="connsiteY16" fmla="*/ 102860 h 211218"/>
                  <a:gd name="connsiteX17" fmla="*/ 90549 w 288340"/>
                  <a:gd name="connsiteY17" fmla="*/ 88555 h 211218"/>
                  <a:gd name="connsiteX18" fmla="*/ 112770 w 288340"/>
                  <a:gd name="connsiteY18" fmla="*/ 88625 h 211218"/>
                  <a:gd name="connsiteX19" fmla="*/ 124184 w 288340"/>
                  <a:gd name="connsiteY19" fmla="*/ 78015 h 211218"/>
                  <a:gd name="connsiteX20" fmla="*/ 108112 w 288340"/>
                  <a:gd name="connsiteY20" fmla="*/ 63871 h 211218"/>
                  <a:gd name="connsiteX21" fmla="*/ 107733 w 288340"/>
                  <a:gd name="connsiteY21" fmla="*/ 51007 h 211218"/>
                  <a:gd name="connsiteX22" fmla="*/ 94470 w 288340"/>
                  <a:gd name="connsiteY22" fmla="*/ 39327 h 211218"/>
                  <a:gd name="connsiteX23" fmla="*/ 46683 w 288340"/>
                  <a:gd name="connsiteY23" fmla="*/ 39170 h 211218"/>
                  <a:gd name="connsiteX24" fmla="*/ 46102 w 288340"/>
                  <a:gd name="connsiteY24" fmla="*/ 160 h 211218"/>
                  <a:gd name="connsiteX25" fmla="*/ 0 w 288340"/>
                  <a:gd name="connsiteY25" fmla="*/ 0 h 211218"/>
                  <a:gd name="connsiteX26" fmla="*/ 186 w 288340"/>
                  <a:gd name="connsiteY26" fmla="*/ 51811 h 211218"/>
                  <a:gd name="connsiteX27" fmla="*/ 17175 w 288340"/>
                  <a:gd name="connsiteY27" fmla="*/ 67088 h 21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88340" h="211218">
                    <a:moveTo>
                      <a:pt x="66598" y="67244"/>
                    </a:moveTo>
                    <a:lnTo>
                      <a:pt x="67558" y="115954"/>
                    </a:lnTo>
                    <a:lnTo>
                      <a:pt x="58492" y="124352"/>
                    </a:lnTo>
                    <a:lnTo>
                      <a:pt x="59418" y="177535"/>
                    </a:lnTo>
                    <a:lnTo>
                      <a:pt x="96139" y="177642"/>
                    </a:lnTo>
                    <a:lnTo>
                      <a:pt x="116053" y="195704"/>
                    </a:lnTo>
                    <a:lnTo>
                      <a:pt x="224614" y="196008"/>
                    </a:lnTo>
                    <a:lnTo>
                      <a:pt x="241587" y="211091"/>
                    </a:lnTo>
                    <a:lnTo>
                      <a:pt x="288341" y="211219"/>
                    </a:lnTo>
                    <a:lnTo>
                      <a:pt x="284584" y="158184"/>
                    </a:lnTo>
                    <a:lnTo>
                      <a:pt x="233127" y="113450"/>
                    </a:lnTo>
                    <a:lnTo>
                      <a:pt x="207508" y="113371"/>
                    </a:lnTo>
                    <a:lnTo>
                      <a:pt x="178561" y="141083"/>
                    </a:lnTo>
                    <a:lnTo>
                      <a:pt x="161389" y="125889"/>
                    </a:lnTo>
                    <a:lnTo>
                      <a:pt x="117865" y="125757"/>
                    </a:lnTo>
                    <a:lnTo>
                      <a:pt x="117149" y="102938"/>
                    </a:lnTo>
                    <a:lnTo>
                      <a:pt x="90907" y="102860"/>
                    </a:lnTo>
                    <a:lnTo>
                      <a:pt x="90549" y="88555"/>
                    </a:lnTo>
                    <a:lnTo>
                      <a:pt x="112770" y="88625"/>
                    </a:lnTo>
                    <a:lnTo>
                      <a:pt x="124184" y="78015"/>
                    </a:lnTo>
                    <a:lnTo>
                      <a:pt x="108112" y="63871"/>
                    </a:lnTo>
                    <a:lnTo>
                      <a:pt x="107733" y="51007"/>
                    </a:lnTo>
                    <a:lnTo>
                      <a:pt x="94470" y="39327"/>
                    </a:lnTo>
                    <a:lnTo>
                      <a:pt x="46683" y="39170"/>
                    </a:lnTo>
                    <a:lnTo>
                      <a:pt x="46102" y="160"/>
                    </a:lnTo>
                    <a:lnTo>
                      <a:pt x="0" y="0"/>
                    </a:lnTo>
                    <a:lnTo>
                      <a:pt x="186" y="51811"/>
                    </a:lnTo>
                    <a:lnTo>
                      <a:pt x="17175" y="67088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45" name="Freeform: Shape 844">
                <a:extLst>
                  <a:ext uri="{FF2B5EF4-FFF2-40B4-BE49-F238E27FC236}">
                    <a16:creationId xmlns:a16="http://schemas.microsoft.com/office/drawing/2014/main" id="{AD0FA503-364E-642B-FE87-4E505E507D4E}"/>
                  </a:ext>
                </a:extLst>
              </p:cNvPr>
              <p:cNvSpPr/>
              <p:nvPr/>
            </p:nvSpPr>
            <p:spPr>
              <a:xfrm>
                <a:off x="2991978" y="1063563"/>
                <a:ext cx="66914" cy="74485"/>
              </a:xfrm>
              <a:custGeom>
                <a:avLst/>
                <a:gdLst>
                  <a:gd name="connsiteX0" fmla="*/ 9724 w 66914"/>
                  <a:gd name="connsiteY0" fmla="*/ 66232 h 74485"/>
                  <a:gd name="connsiteX1" fmla="*/ 19025 w 66914"/>
                  <a:gd name="connsiteY1" fmla="*/ 74387 h 74485"/>
                  <a:gd name="connsiteX2" fmla="*/ 46341 w 66914"/>
                  <a:gd name="connsiteY2" fmla="*/ 74486 h 74485"/>
                  <a:gd name="connsiteX3" fmla="*/ 66915 w 66914"/>
                  <a:gd name="connsiteY3" fmla="*/ 56128 h 74485"/>
                  <a:gd name="connsiteX4" fmla="*/ 66578 w 66914"/>
                  <a:gd name="connsiteY4" fmla="*/ 40637 h 74485"/>
                  <a:gd name="connsiteX5" fmla="*/ 19478 w 66914"/>
                  <a:gd name="connsiteY5" fmla="*/ 70 h 74485"/>
                  <a:gd name="connsiteX6" fmla="*/ 0 w 66914"/>
                  <a:gd name="connsiteY6" fmla="*/ 0 h 74485"/>
                  <a:gd name="connsiteX7" fmla="*/ 83 w 66914"/>
                  <a:gd name="connsiteY7" fmla="*/ 14782 h 74485"/>
                  <a:gd name="connsiteX8" fmla="*/ 9383 w 66914"/>
                  <a:gd name="connsiteY8" fmla="*/ 22872 h 74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914" h="74485">
                    <a:moveTo>
                      <a:pt x="9724" y="66232"/>
                    </a:moveTo>
                    <a:lnTo>
                      <a:pt x="19025" y="74387"/>
                    </a:lnTo>
                    <a:lnTo>
                      <a:pt x="46341" y="74486"/>
                    </a:lnTo>
                    <a:lnTo>
                      <a:pt x="66915" y="56128"/>
                    </a:lnTo>
                    <a:lnTo>
                      <a:pt x="66578" y="40637"/>
                    </a:lnTo>
                    <a:lnTo>
                      <a:pt x="19478" y="70"/>
                    </a:lnTo>
                    <a:lnTo>
                      <a:pt x="0" y="0"/>
                    </a:lnTo>
                    <a:lnTo>
                      <a:pt x="83" y="14782"/>
                    </a:lnTo>
                    <a:lnTo>
                      <a:pt x="9383" y="22872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46" name="Freeform: Shape 845">
                <a:extLst>
                  <a:ext uri="{FF2B5EF4-FFF2-40B4-BE49-F238E27FC236}">
                    <a16:creationId xmlns:a16="http://schemas.microsoft.com/office/drawing/2014/main" id="{DC0CD07B-73E5-062B-F61E-4643027085DB}"/>
                  </a:ext>
                </a:extLst>
              </p:cNvPr>
              <p:cNvSpPr/>
              <p:nvPr/>
            </p:nvSpPr>
            <p:spPr>
              <a:xfrm>
                <a:off x="2914057" y="1358617"/>
                <a:ext cx="132199" cy="152838"/>
              </a:xfrm>
              <a:custGeom>
                <a:avLst/>
                <a:gdLst>
                  <a:gd name="connsiteX0" fmla="*/ 29800 w 132199"/>
                  <a:gd name="connsiteY0" fmla="*/ 108557 h 152838"/>
                  <a:gd name="connsiteX1" fmla="*/ 74395 w 132199"/>
                  <a:gd name="connsiteY1" fmla="*/ 108669 h 152838"/>
                  <a:gd name="connsiteX2" fmla="*/ 99207 w 132199"/>
                  <a:gd name="connsiteY2" fmla="*/ 84940 h 152838"/>
                  <a:gd name="connsiteX3" fmla="*/ 88761 w 132199"/>
                  <a:gd name="connsiteY3" fmla="*/ 75091 h 152838"/>
                  <a:gd name="connsiteX4" fmla="*/ 132199 w 132199"/>
                  <a:gd name="connsiteY4" fmla="*/ 33787 h 152838"/>
                  <a:gd name="connsiteX5" fmla="*/ 107309 w 132199"/>
                  <a:gd name="connsiteY5" fmla="*/ 10726 h 152838"/>
                  <a:gd name="connsiteX6" fmla="*/ 75322 w 132199"/>
                  <a:gd name="connsiteY6" fmla="*/ 10640 h 152838"/>
                  <a:gd name="connsiteX7" fmla="*/ 64089 w 132199"/>
                  <a:gd name="connsiteY7" fmla="*/ 177 h 152838"/>
                  <a:gd name="connsiteX8" fmla="*/ 1924 w 132199"/>
                  <a:gd name="connsiteY8" fmla="*/ 0 h 152838"/>
                  <a:gd name="connsiteX9" fmla="*/ 0 w 132199"/>
                  <a:gd name="connsiteY9" fmla="*/ 152769 h 152838"/>
                  <a:gd name="connsiteX10" fmla="*/ 29540 w 132199"/>
                  <a:gd name="connsiteY10" fmla="*/ 152839 h 152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2199" h="152838">
                    <a:moveTo>
                      <a:pt x="29800" y="108557"/>
                    </a:moveTo>
                    <a:lnTo>
                      <a:pt x="74395" y="108669"/>
                    </a:lnTo>
                    <a:lnTo>
                      <a:pt x="99207" y="84940"/>
                    </a:lnTo>
                    <a:lnTo>
                      <a:pt x="88761" y="75091"/>
                    </a:lnTo>
                    <a:lnTo>
                      <a:pt x="132199" y="33787"/>
                    </a:lnTo>
                    <a:lnTo>
                      <a:pt x="107309" y="10726"/>
                    </a:lnTo>
                    <a:lnTo>
                      <a:pt x="75322" y="10640"/>
                    </a:lnTo>
                    <a:lnTo>
                      <a:pt x="64089" y="177"/>
                    </a:lnTo>
                    <a:lnTo>
                      <a:pt x="1924" y="0"/>
                    </a:lnTo>
                    <a:lnTo>
                      <a:pt x="0" y="152769"/>
                    </a:lnTo>
                    <a:lnTo>
                      <a:pt x="29540" y="152839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4" name="Freeform: Shape 863">
                <a:extLst>
                  <a:ext uri="{FF2B5EF4-FFF2-40B4-BE49-F238E27FC236}">
                    <a16:creationId xmlns:a16="http://schemas.microsoft.com/office/drawing/2014/main" id="{ACE10453-5FB1-7A92-D644-C73767783594}"/>
                  </a:ext>
                </a:extLst>
              </p:cNvPr>
              <p:cNvSpPr/>
              <p:nvPr/>
            </p:nvSpPr>
            <p:spPr>
              <a:xfrm>
                <a:off x="2778843" y="1216389"/>
                <a:ext cx="109676" cy="138014"/>
              </a:xfrm>
              <a:custGeom>
                <a:avLst/>
                <a:gdLst>
                  <a:gd name="connsiteX0" fmla="*/ 46074 w 109676"/>
                  <a:gd name="connsiteY0" fmla="*/ 102840 h 138014"/>
                  <a:gd name="connsiteX1" fmla="*/ 44866 w 109676"/>
                  <a:gd name="connsiteY1" fmla="*/ 137883 h 138014"/>
                  <a:gd name="connsiteX2" fmla="*/ 91051 w 109676"/>
                  <a:gd name="connsiteY2" fmla="*/ 138014 h 138014"/>
                  <a:gd name="connsiteX3" fmla="*/ 91723 w 109676"/>
                  <a:gd name="connsiteY3" fmla="*/ 109199 h 138014"/>
                  <a:gd name="connsiteX4" fmla="*/ 108173 w 109676"/>
                  <a:gd name="connsiteY4" fmla="*/ 94376 h 138014"/>
                  <a:gd name="connsiteX5" fmla="*/ 109677 w 109676"/>
                  <a:gd name="connsiteY5" fmla="*/ 17950 h 138014"/>
                  <a:gd name="connsiteX6" fmla="*/ 90331 w 109676"/>
                  <a:gd name="connsiteY6" fmla="*/ 116 h 138014"/>
                  <a:gd name="connsiteX7" fmla="*/ 54859 w 109676"/>
                  <a:gd name="connsiteY7" fmla="*/ 0 h 138014"/>
                  <a:gd name="connsiteX8" fmla="*/ 38544 w 109676"/>
                  <a:gd name="connsiteY8" fmla="*/ 14156 h 138014"/>
                  <a:gd name="connsiteX9" fmla="*/ 50851 w 109676"/>
                  <a:gd name="connsiteY9" fmla="*/ 40509 h 138014"/>
                  <a:gd name="connsiteX10" fmla="*/ 50279 w 109676"/>
                  <a:gd name="connsiteY10" fmla="*/ 57446 h 138014"/>
                  <a:gd name="connsiteX11" fmla="*/ 23316 w 109676"/>
                  <a:gd name="connsiteY11" fmla="*/ 32036 h 138014"/>
                  <a:gd name="connsiteX12" fmla="*/ 21904 w 109676"/>
                  <a:gd name="connsiteY12" fmla="*/ 67113 h 138014"/>
                  <a:gd name="connsiteX13" fmla="*/ 552 w 109676"/>
                  <a:gd name="connsiteY13" fmla="*/ 67047 h 138014"/>
                  <a:gd name="connsiteX14" fmla="*/ 0 w 109676"/>
                  <a:gd name="connsiteY14" fmla="*/ 79268 h 138014"/>
                  <a:gd name="connsiteX15" fmla="*/ 61614 w 109676"/>
                  <a:gd name="connsiteY15" fmla="*/ 79449 h 138014"/>
                  <a:gd name="connsiteX16" fmla="*/ 61309 w 109676"/>
                  <a:gd name="connsiteY16" fmla="*/ 89297 h 138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9676" h="138014">
                    <a:moveTo>
                      <a:pt x="46074" y="102840"/>
                    </a:moveTo>
                    <a:lnTo>
                      <a:pt x="44866" y="137883"/>
                    </a:lnTo>
                    <a:lnTo>
                      <a:pt x="91051" y="138014"/>
                    </a:lnTo>
                    <a:lnTo>
                      <a:pt x="91723" y="109199"/>
                    </a:lnTo>
                    <a:lnTo>
                      <a:pt x="108173" y="94376"/>
                    </a:lnTo>
                    <a:lnTo>
                      <a:pt x="109677" y="17950"/>
                    </a:lnTo>
                    <a:lnTo>
                      <a:pt x="90331" y="116"/>
                    </a:lnTo>
                    <a:lnTo>
                      <a:pt x="54859" y="0"/>
                    </a:lnTo>
                    <a:lnTo>
                      <a:pt x="38544" y="14156"/>
                    </a:lnTo>
                    <a:lnTo>
                      <a:pt x="50851" y="40509"/>
                    </a:lnTo>
                    <a:lnTo>
                      <a:pt x="50279" y="57446"/>
                    </a:lnTo>
                    <a:lnTo>
                      <a:pt x="23316" y="32036"/>
                    </a:lnTo>
                    <a:lnTo>
                      <a:pt x="21904" y="67113"/>
                    </a:lnTo>
                    <a:lnTo>
                      <a:pt x="552" y="67047"/>
                    </a:lnTo>
                    <a:lnTo>
                      <a:pt x="0" y="79268"/>
                    </a:lnTo>
                    <a:lnTo>
                      <a:pt x="61614" y="79449"/>
                    </a:lnTo>
                    <a:lnTo>
                      <a:pt x="61309" y="89297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5" name="Freeform: Shape 864">
                <a:extLst>
                  <a:ext uri="{FF2B5EF4-FFF2-40B4-BE49-F238E27FC236}">
                    <a16:creationId xmlns:a16="http://schemas.microsoft.com/office/drawing/2014/main" id="{3C8EB745-61D4-FFD9-5439-B7C8BD5FAC31}"/>
                  </a:ext>
                </a:extLst>
              </p:cNvPr>
              <p:cNvSpPr/>
              <p:nvPr/>
            </p:nvSpPr>
            <p:spPr>
              <a:xfrm>
                <a:off x="2773687" y="1048492"/>
                <a:ext cx="134834" cy="144658"/>
              </a:xfrm>
              <a:custGeom>
                <a:avLst/>
                <a:gdLst>
                  <a:gd name="connsiteX0" fmla="*/ 23811 w 134834"/>
                  <a:gd name="connsiteY0" fmla="*/ 61907 h 144658"/>
                  <a:gd name="connsiteX1" fmla="*/ 457 w 134834"/>
                  <a:gd name="connsiteY1" fmla="*/ 81533 h 144658"/>
                  <a:gd name="connsiteX2" fmla="*/ 28325 w 134834"/>
                  <a:gd name="connsiteY2" fmla="*/ 107280 h 144658"/>
                  <a:gd name="connsiteX3" fmla="*/ 44385 w 134834"/>
                  <a:gd name="connsiteY3" fmla="*/ 93630 h 144658"/>
                  <a:gd name="connsiteX4" fmla="*/ 59402 w 134834"/>
                  <a:gd name="connsiteY4" fmla="*/ 107383 h 144658"/>
                  <a:gd name="connsiteX5" fmla="*/ 100846 w 134834"/>
                  <a:gd name="connsiteY5" fmla="*/ 107527 h 144658"/>
                  <a:gd name="connsiteX6" fmla="*/ 99985 w 134834"/>
                  <a:gd name="connsiteY6" fmla="*/ 144547 h 144658"/>
                  <a:gd name="connsiteX7" fmla="*/ 134587 w 134834"/>
                  <a:gd name="connsiteY7" fmla="*/ 144658 h 144658"/>
                  <a:gd name="connsiteX8" fmla="*/ 134834 w 134834"/>
                  <a:gd name="connsiteY8" fmla="*/ 127808 h 144658"/>
                  <a:gd name="connsiteX9" fmla="*/ 125217 w 134834"/>
                  <a:gd name="connsiteY9" fmla="*/ 119109 h 144658"/>
                  <a:gd name="connsiteX10" fmla="*/ 126243 w 134834"/>
                  <a:gd name="connsiteY10" fmla="*/ 60048 h 144658"/>
                  <a:gd name="connsiteX11" fmla="*/ 99968 w 134834"/>
                  <a:gd name="connsiteY11" fmla="*/ 36563 h 144658"/>
                  <a:gd name="connsiteX12" fmla="*/ 85339 w 134834"/>
                  <a:gd name="connsiteY12" fmla="*/ 36509 h 144658"/>
                  <a:gd name="connsiteX13" fmla="*/ 85845 w 134834"/>
                  <a:gd name="connsiteY13" fmla="*/ 18333 h 144658"/>
                  <a:gd name="connsiteX14" fmla="*/ 65548 w 134834"/>
                  <a:gd name="connsiteY14" fmla="*/ 247 h 144658"/>
                  <a:gd name="connsiteX15" fmla="*/ 1239 w 134834"/>
                  <a:gd name="connsiteY15" fmla="*/ 0 h 144658"/>
                  <a:gd name="connsiteX16" fmla="*/ 0 w 134834"/>
                  <a:gd name="connsiteY16" fmla="*/ 25145 h 144658"/>
                  <a:gd name="connsiteX17" fmla="*/ 24433 w 134834"/>
                  <a:gd name="connsiteY17" fmla="*/ 47395 h 144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34834" h="144658">
                    <a:moveTo>
                      <a:pt x="23811" y="61907"/>
                    </a:moveTo>
                    <a:lnTo>
                      <a:pt x="457" y="81533"/>
                    </a:lnTo>
                    <a:lnTo>
                      <a:pt x="28325" y="107280"/>
                    </a:lnTo>
                    <a:lnTo>
                      <a:pt x="44385" y="93630"/>
                    </a:lnTo>
                    <a:lnTo>
                      <a:pt x="59402" y="107383"/>
                    </a:lnTo>
                    <a:lnTo>
                      <a:pt x="100846" y="107527"/>
                    </a:lnTo>
                    <a:lnTo>
                      <a:pt x="99985" y="144547"/>
                    </a:lnTo>
                    <a:lnTo>
                      <a:pt x="134587" y="144658"/>
                    </a:lnTo>
                    <a:lnTo>
                      <a:pt x="134834" y="127808"/>
                    </a:lnTo>
                    <a:lnTo>
                      <a:pt x="125217" y="119109"/>
                    </a:lnTo>
                    <a:lnTo>
                      <a:pt x="126243" y="60048"/>
                    </a:lnTo>
                    <a:lnTo>
                      <a:pt x="99968" y="36563"/>
                    </a:lnTo>
                    <a:lnTo>
                      <a:pt x="85339" y="36509"/>
                    </a:lnTo>
                    <a:lnTo>
                      <a:pt x="85845" y="18333"/>
                    </a:lnTo>
                    <a:lnTo>
                      <a:pt x="65548" y="247"/>
                    </a:lnTo>
                    <a:lnTo>
                      <a:pt x="1239" y="0"/>
                    </a:lnTo>
                    <a:lnTo>
                      <a:pt x="0" y="25145"/>
                    </a:lnTo>
                    <a:lnTo>
                      <a:pt x="24433" y="47395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6" name="Freeform: Shape 865">
                <a:extLst>
                  <a:ext uri="{FF2B5EF4-FFF2-40B4-BE49-F238E27FC236}">
                    <a16:creationId xmlns:a16="http://schemas.microsoft.com/office/drawing/2014/main" id="{ABC1760A-B4B6-E236-CAB3-E5DE9B242C50}"/>
                  </a:ext>
                </a:extLst>
              </p:cNvPr>
              <p:cNvSpPr/>
              <p:nvPr/>
            </p:nvSpPr>
            <p:spPr>
              <a:xfrm>
                <a:off x="3138642" y="1975874"/>
                <a:ext cx="160474" cy="190727"/>
              </a:xfrm>
              <a:custGeom>
                <a:avLst/>
                <a:gdLst>
                  <a:gd name="connsiteX0" fmla="*/ 35282 w 160474"/>
                  <a:gd name="connsiteY0" fmla="*/ 0 h 190727"/>
                  <a:gd name="connsiteX1" fmla="*/ 23292 w 160474"/>
                  <a:gd name="connsiteY1" fmla="*/ 41683 h 190727"/>
                  <a:gd name="connsiteX2" fmla="*/ 26443 w 160474"/>
                  <a:gd name="connsiteY2" fmla="*/ 122461 h 190727"/>
                  <a:gd name="connsiteX3" fmla="*/ 0 w 160474"/>
                  <a:gd name="connsiteY3" fmla="*/ 152620 h 190727"/>
                  <a:gd name="connsiteX4" fmla="*/ 42424 w 160474"/>
                  <a:gd name="connsiteY4" fmla="*/ 152632 h 190727"/>
                  <a:gd name="connsiteX5" fmla="*/ 78728 w 160474"/>
                  <a:gd name="connsiteY5" fmla="*/ 190728 h 190727"/>
                  <a:gd name="connsiteX6" fmla="*/ 77167 w 160474"/>
                  <a:gd name="connsiteY6" fmla="*/ 158786 h 190727"/>
                  <a:gd name="connsiteX7" fmla="*/ 160475 w 160474"/>
                  <a:gd name="connsiteY7" fmla="*/ 158815 h 190727"/>
                  <a:gd name="connsiteX8" fmla="*/ 158304 w 160474"/>
                  <a:gd name="connsiteY8" fmla="*/ 125588 h 190727"/>
                  <a:gd name="connsiteX9" fmla="*/ 60523 w 160474"/>
                  <a:gd name="connsiteY9" fmla="*/ 25800 h 190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0474" h="190727">
                    <a:moveTo>
                      <a:pt x="35282" y="0"/>
                    </a:moveTo>
                    <a:lnTo>
                      <a:pt x="23292" y="41683"/>
                    </a:lnTo>
                    <a:lnTo>
                      <a:pt x="26443" y="122461"/>
                    </a:lnTo>
                    <a:lnTo>
                      <a:pt x="0" y="152620"/>
                    </a:lnTo>
                    <a:lnTo>
                      <a:pt x="42424" y="152632"/>
                    </a:lnTo>
                    <a:lnTo>
                      <a:pt x="78728" y="190728"/>
                    </a:lnTo>
                    <a:lnTo>
                      <a:pt x="77167" y="158786"/>
                    </a:lnTo>
                    <a:lnTo>
                      <a:pt x="160475" y="158815"/>
                    </a:lnTo>
                    <a:lnTo>
                      <a:pt x="158304" y="125588"/>
                    </a:lnTo>
                    <a:lnTo>
                      <a:pt x="60523" y="25800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7" name="Freeform: Shape 866">
                <a:extLst>
                  <a:ext uri="{FF2B5EF4-FFF2-40B4-BE49-F238E27FC236}">
                    <a16:creationId xmlns:a16="http://schemas.microsoft.com/office/drawing/2014/main" id="{C45EE0B7-984C-D925-C71F-68D26C13F6E8}"/>
                  </a:ext>
                </a:extLst>
              </p:cNvPr>
              <p:cNvSpPr/>
              <p:nvPr/>
            </p:nvSpPr>
            <p:spPr>
              <a:xfrm>
                <a:off x="2798770" y="1685956"/>
                <a:ext cx="103486" cy="71458"/>
              </a:xfrm>
              <a:custGeom>
                <a:avLst/>
                <a:gdLst>
                  <a:gd name="connsiteX0" fmla="*/ 20050 w 103486"/>
                  <a:gd name="connsiteY0" fmla="*/ 71351 h 71458"/>
                  <a:gd name="connsiteX1" fmla="*/ 88407 w 103486"/>
                  <a:gd name="connsiteY1" fmla="*/ 71458 h 71458"/>
                  <a:gd name="connsiteX2" fmla="*/ 103487 w 103486"/>
                  <a:gd name="connsiteY2" fmla="*/ 56433 h 71458"/>
                  <a:gd name="connsiteX3" fmla="*/ 51617 w 103486"/>
                  <a:gd name="connsiteY3" fmla="*/ 0 h 71458"/>
                  <a:gd name="connsiteX4" fmla="*/ 0 w 103486"/>
                  <a:gd name="connsiteY4" fmla="*/ 50254 h 71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486" h="71458">
                    <a:moveTo>
                      <a:pt x="20050" y="71351"/>
                    </a:moveTo>
                    <a:lnTo>
                      <a:pt x="88407" y="71458"/>
                    </a:lnTo>
                    <a:lnTo>
                      <a:pt x="103487" y="56433"/>
                    </a:lnTo>
                    <a:lnTo>
                      <a:pt x="51617" y="0"/>
                    </a:lnTo>
                    <a:lnTo>
                      <a:pt x="0" y="50254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8" name="Freeform: Shape 867">
                <a:extLst>
                  <a:ext uri="{FF2B5EF4-FFF2-40B4-BE49-F238E27FC236}">
                    <a16:creationId xmlns:a16="http://schemas.microsoft.com/office/drawing/2014/main" id="{ED336F73-6D11-0800-DE85-3CC4CBA9FE7C}"/>
                  </a:ext>
                </a:extLst>
              </p:cNvPr>
              <p:cNvSpPr/>
              <p:nvPr/>
            </p:nvSpPr>
            <p:spPr>
              <a:xfrm>
                <a:off x="2733021" y="1382120"/>
                <a:ext cx="160133" cy="202627"/>
              </a:xfrm>
              <a:custGeom>
                <a:avLst/>
                <a:gdLst>
                  <a:gd name="connsiteX0" fmla="*/ 53746 w 160133"/>
                  <a:gd name="connsiteY0" fmla="*/ 134715 h 202627"/>
                  <a:gd name="connsiteX1" fmla="*/ 72459 w 160133"/>
                  <a:gd name="connsiteY1" fmla="*/ 153526 h 202627"/>
                  <a:gd name="connsiteX2" fmla="*/ 71870 w 160133"/>
                  <a:gd name="connsiteY2" fmla="*/ 169355 h 202627"/>
                  <a:gd name="connsiteX3" fmla="*/ 104824 w 160133"/>
                  <a:gd name="connsiteY3" fmla="*/ 202627 h 202627"/>
                  <a:gd name="connsiteX4" fmla="*/ 159222 w 160133"/>
                  <a:gd name="connsiteY4" fmla="*/ 150985 h 202627"/>
                  <a:gd name="connsiteX5" fmla="*/ 160133 w 160133"/>
                  <a:gd name="connsiteY5" fmla="*/ 98581 h 202627"/>
                  <a:gd name="connsiteX6" fmla="*/ 130411 w 160133"/>
                  <a:gd name="connsiteY6" fmla="*/ 69612 h 202627"/>
                  <a:gd name="connsiteX7" fmla="*/ 103330 w 160133"/>
                  <a:gd name="connsiteY7" fmla="*/ 69542 h 202627"/>
                  <a:gd name="connsiteX8" fmla="*/ 132458 w 160133"/>
                  <a:gd name="connsiteY8" fmla="*/ 42762 h 202627"/>
                  <a:gd name="connsiteX9" fmla="*/ 133480 w 160133"/>
                  <a:gd name="connsiteY9" fmla="*/ 181 h 202627"/>
                  <a:gd name="connsiteX10" fmla="*/ 67871 w 160133"/>
                  <a:gd name="connsiteY10" fmla="*/ 0 h 202627"/>
                  <a:gd name="connsiteX11" fmla="*/ 48883 w 160133"/>
                  <a:gd name="connsiteY11" fmla="*/ 28238 h 202627"/>
                  <a:gd name="connsiteX12" fmla="*/ 70070 w 160133"/>
                  <a:gd name="connsiteY12" fmla="*/ 49134 h 202627"/>
                  <a:gd name="connsiteX13" fmla="*/ 68368 w 160133"/>
                  <a:gd name="connsiteY13" fmla="*/ 93362 h 202627"/>
                  <a:gd name="connsiteX14" fmla="*/ 43932 w 160133"/>
                  <a:gd name="connsiteY14" fmla="*/ 93304 h 202627"/>
                  <a:gd name="connsiteX15" fmla="*/ 27262 w 160133"/>
                  <a:gd name="connsiteY15" fmla="*/ 76635 h 202627"/>
                  <a:gd name="connsiteX16" fmla="*/ 0 w 160133"/>
                  <a:gd name="connsiteY16" fmla="*/ 101369 h 202627"/>
                  <a:gd name="connsiteX17" fmla="*/ 32951 w 160133"/>
                  <a:gd name="connsiteY17" fmla="*/ 134670 h 202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0133" h="202627">
                    <a:moveTo>
                      <a:pt x="53746" y="134715"/>
                    </a:moveTo>
                    <a:lnTo>
                      <a:pt x="72459" y="153526"/>
                    </a:lnTo>
                    <a:lnTo>
                      <a:pt x="71870" y="169355"/>
                    </a:lnTo>
                    <a:lnTo>
                      <a:pt x="104824" y="202627"/>
                    </a:lnTo>
                    <a:lnTo>
                      <a:pt x="159222" y="150985"/>
                    </a:lnTo>
                    <a:lnTo>
                      <a:pt x="160133" y="98581"/>
                    </a:lnTo>
                    <a:lnTo>
                      <a:pt x="130411" y="69612"/>
                    </a:lnTo>
                    <a:lnTo>
                      <a:pt x="103330" y="69542"/>
                    </a:lnTo>
                    <a:lnTo>
                      <a:pt x="132458" y="42762"/>
                    </a:lnTo>
                    <a:lnTo>
                      <a:pt x="133480" y="181"/>
                    </a:lnTo>
                    <a:lnTo>
                      <a:pt x="67871" y="0"/>
                    </a:lnTo>
                    <a:lnTo>
                      <a:pt x="48883" y="28238"/>
                    </a:lnTo>
                    <a:lnTo>
                      <a:pt x="70070" y="49134"/>
                    </a:lnTo>
                    <a:lnTo>
                      <a:pt x="68368" y="93362"/>
                    </a:lnTo>
                    <a:lnTo>
                      <a:pt x="43932" y="93304"/>
                    </a:lnTo>
                    <a:lnTo>
                      <a:pt x="27262" y="76635"/>
                    </a:lnTo>
                    <a:lnTo>
                      <a:pt x="0" y="101369"/>
                    </a:lnTo>
                    <a:lnTo>
                      <a:pt x="32951" y="134670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9" name="Freeform: Shape 868">
                <a:extLst>
                  <a:ext uri="{FF2B5EF4-FFF2-40B4-BE49-F238E27FC236}">
                    <a16:creationId xmlns:a16="http://schemas.microsoft.com/office/drawing/2014/main" id="{CCD8C2C0-8089-6715-AC28-A1686E3650EB}"/>
                  </a:ext>
                </a:extLst>
              </p:cNvPr>
              <p:cNvSpPr/>
              <p:nvPr/>
            </p:nvSpPr>
            <p:spPr>
              <a:xfrm>
                <a:off x="2461126" y="1198192"/>
                <a:ext cx="279044" cy="205176"/>
              </a:xfrm>
              <a:custGeom>
                <a:avLst/>
                <a:gdLst>
                  <a:gd name="connsiteX0" fmla="*/ 16455 w 279044"/>
                  <a:gd name="connsiteY0" fmla="*/ 109471 h 205176"/>
                  <a:gd name="connsiteX1" fmla="*/ 0 w 279044"/>
                  <a:gd name="connsiteY1" fmla="*/ 123071 h 205176"/>
                  <a:gd name="connsiteX2" fmla="*/ 32083 w 279044"/>
                  <a:gd name="connsiteY2" fmla="*/ 156380 h 205176"/>
                  <a:gd name="connsiteX3" fmla="*/ 72336 w 279044"/>
                  <a:gd name="connsiteY3" fmla="*/ 122643 h 205176"/>
                  <a:gd name="connsiteX4" fmla="*/ 88539 w 279044"/>
                  <a:gd name="connsiteY4" fmla="*/ 122688 h 205176"/>
                  <a:gd name="connsiteX5" fmla="*/ 86430 w 279044"/>
                  <a:gd name="connsiteY5" fmla="*/ 143954 h 205176"/>
                  <a:gd name="connsiteX6" fmla="*/ 99714 w 279044"/>
                  <a:gd name="connsiteY6" fmla="*/ 132718 h 205176"/>
                  <a:gd name="connsiteX7" fmla="*/ 130827 w 279044"/>
                  <a:gd name="connsiteY7" fmla="*/ 132808 h 205176"/>
                  <a:gd name="connsiteX8" fmla="*/ 128933 w 279044"/>
                  <a:gd name="connsiteY8" fmla="*/ 154119 h 205176"/>
                  <a:gd name="connsiteX9" fmla="*/ 94932 w 279044"/>
                  <a:gd name="connsiteY9" fmla="*/ 154024 h 205176"/>
                  <a:gd name="connsiteX10" fmla="*/ 64341 w 279044"/>
                  <a:gd name="connsiteY10" fmla="*/ 179977 h 205176"/>
                  <a:gd name="connsiteX11" fmla="*/ 88597 w 279044"/>
                  <a:gd name="connsiteY11" fmla="*/ 205094 h 205176"/>
                  <a:gd name="connsiteX12" fmla="*/ 118879 w 279044"/>
                  <a:gd name="connsiteY12" fmla="*/ 205176 h 205176"/>
                  <a:gd name="connsiteX13" fmla="*/ 120391 w 279044"/>
                  <a:gd name="connsiteY13" fmla="*/ 188446 h 205176"/>
                  <a:gd name="connsiteX14" fmla="*/ 146421 w 279044"/>
                  <a:gd name="connsiteY14" fmla="*/ 188520 h 205176"/>
                  <a:gd name="connsiteX15" fmla="*/ 190399 w 279044"/>
                  <a:gd name="connsiteY15" fmla="*/ 150515 h 205176"/>
                  <a:gd name="connsiteX16" fmla="*/ 275927 w 279044"/>
                  <a:gd name="connsiteY16" fmla="*/ 150762 h 205176"/>
                  <a:gd name="connsiteX17" fmla="*/ 279045 w 279044"/>
                  <a:gd name="connsiteY17" fmla="*/ 93658 h 205176"/>
                  <a:gd name="connsiteX18" fmla="*/ 270156 w 279044"/>
                  <a:gd name="connsiteY18" fmla="*/ 85079 h 205176"/>
                  <a:gd name="connsiteX19" fmla="*/ 246201 w 279044"/>
                  <a:gd name="connsiteY19" fmla="*/ 61952 h 205176"/>
                  <a:gd name="connsiteX20" fmla="*/ 245596 w 279044"/>
                  <a:gd name="connsiteY20" fmla="*/ 71631 h 205176"/>
                  <a:gd name="connsiteX21" fmla="*/ 217629 w 279044"/>
                  <a:gd name="connsiteY21" fmla="*/ 71544 h 205176"/>
                  <a:gd name="connsiteX22" fmla="*/ 221957 w 279044"/>
                  <a:gd name="connsiteY22" fmla="*/ 9440 h 205176"/>
                  <a:gd name="connsiteX23" fmla="*/ 212126 w 279044"/>
                  <a:gd name="connsiteY23" fmla="*/ 0 h 205176"/>
                  <a:gd name="connsiteX24" fmla="*/ 164961 w 279044"/>
                  <a:gd name="connsiteY24" fmla="*/ 39483 h 205176"/>
                  <a:gd name="connsiteX25" fmla="*/ 191441 w 279044"/>
                  <a:gd name="connsiteY25" fmla="*/ 65412 h 205176"/>
                  <a:gd name="connsiteX26" fmla="*/ 176448 w 279044"/>
                  <a:gd name="connsiteY26" fmla="*/ 78081 h 205176"/>
                  <a:gd name="connsiteX27" fmla="*/ 190745 w 279044"/>
                  <a:gd name="connsiteY27" fmla="*/ 92171 h 205176"/>
                  <a:gd name="connsiteX28" fmla="*/ 189719 w 279044"/>
                  <a:gd name="connsiteY28" fmla="*/ 105682 h 205176"/>
                  <a:gd name="connsiteX29" fmla="*/ 136648 w 279044"/>
                  <a:gd name="connsiteY29" fmla="*/ 105520 h 205176"/>
                  <a:gd name="connsiteX30" fmla="*/ 139296 w 279044"/>
                  <a:gd name="connsiteY30" fmla="*/ 75532 h 205176"/>
                  <a:gd name="connsiteX31" fmla="*/ 111823 w 279044"/>
                  <a:gd name="connsiteY31" fmla="*/ 48273 h 205176"/>
                  <a:gd name="connsiteX32" fmla="*/ 77353 w 279044"/>
                  <a:gd name="connsiteY32" fmla="*/ 48161 h 205176"/>
                  <a:gd name="connsiteX33" fmla="*/ 79333 w 279044"/>
                  <a:gd name="connsiteY33" fmla="*/ 29071 h 205176"/>
                  <a:gd name="connsiteX34" fmla="*/ 56899 w 279044"/>
                  <a:gd name="connsiteY34" fmla="*/ 28997 h 205176"/>
                  <a:gd name="connsiteX35" fmla="*/ 20673 w 279044"/>
                  <a:gd name="connsiteY35" fmla="*/ 73365 h 205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79044" h="205176">
                    <a:moveTo>
                      <a:pt x="16455" y="109471"/>
                    </a:moveTo>
                    <a:lnTo>
                      <a:pt x="0" y="123071"/>
                    </a:lnTo>
                    <a:lnTo>
                      <a:pt x="32083" y="156380"/>
                    </a:lnTo>
                    <a:lnTo>
                      <a:pt x="72336" y="122643"/>
                    </a:lnTo>
                    <a:lnTo>
                      <a:pt x="88539" y="122688"/>
                    </a:lnTo>
                    <a:lnTo>
                      <a:pt x="86430" y="143954"/>
                    </a:lnTo>
                    <a:lnTo>
                      <a:pt x="99714" y="132718"/>
                    </a:lnTo>
                    <a:lnTo>
                      <a:pt x="130827" y="132808"/>
                    </a:lnTo>
                    <a:lnTo>
                      <a:pt x="128933" y="154119"/>
                    </a:lnTo>
                    <a:lnTo>
                      <a:pt x="94932" y="154024"/>
                    </a:lnTo>
                    <a:lnTo>
                      <a:pt x="64341" y="179977"/>
                    </a:lnTo>
                    <a:lnTo>
                      <a:pt x="88597" y="205094"/>
                    </a:lnTo>
                    <a:lnTo>
                      <a:pt x="118879" y="205176"/>
                    </a:lnTo>
                    <a:lnTo>
                      <a:pt x="120391" y="188446"/>
                    </a:lnTo>
                    <a:lnTo>
                      <a:pt x="146421" y="188520"/>
                    </a:lnTo>
                    <a:lnTo>
                      <a:pt x="190399" y="150515"/>
                    </a:lnTo>
                    <a:lnTo>
                      <a:pt x="275927" y="150762"/>
                    </a:lnTo>
                    <a:lnTo>
                      <a:pt x="279045" y="93658"/>
                    </a:lnTo>
                    <a:lnTo>
                      <a:pt x="270156" y="85079"/>
                    </a:lnTo>
                    <a:lnTo>
                      <a:pt x="246201" y="61952"/>
                    </a:lnTo>
                    <a:lnTo>
                      <a:pt x="245596" y="71631"/>
                    </a:lnTo>
                    <a:lnTo>
                      <a:pt x="217629" y="71544"/>
                    </a:lnTo>
                    <a:lnTo>
                      <a:pt x="221957" y="9440"/>
                    </a:lnTo>
                    <a:lnTo>
                      <a:pt x="212126" y="0"/>
                    </a:lnTo>
                    <a:lnTo>
                      <a:pt x="164961" y="39483"/>
                    </a:lnTo>
                    <a:lnTo>
                      <a:pt x="191441" y="65412"/>
                    </a:lnTo>
                    <a:lnTo>
                      <a:pt x="176448" y="78081"/>
                    </a:lnTo>
                    <a:lnTo>
                      <a:pt x="190745" y="92171"/>
                    </a:lnTo>
                    <a:lnTo>
                      <a:pt x="189719" y="105682"/>
                    </a:lnTo>
                    <a:lnTo>
                      <a:pt x="136648" y="105520"/>
                    </a:lnTo>
                    <a:lnTo>
                      <a:pt x="139296" y="75532"/>
                    </a:lnTo>
                    <a:lnTo>
                      <a:pt x="111823" y="48273"/>
                    </a:lnTo>
                    <a:lnTo>
                      <a:pt x="77353" y="48161"/>
                    </a:lnTo>
                    <a:lnTo>
                      <a:pt x="79333" y="29071"/>
                    </a:lnTo>
                    <a:lnTo>
                      <a:pt x="56899" y="28997"/>
                    </a:lnTo>
                    <a:lnTo>
                      <a:pt x="20673" y="73365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0" name="Freeform: Shape 869">
                <a:extLst>
                  <a:ext uri="{FF2B5EF4-FFF2-40B4-BE49-F238E27FC236}">
                    <a16:creationId xmlns:a16="http://schemas.microsoft.com/office/drawing/2014/main" id="{CB05E97F-9C91-0291-B45A-719E05707EBE}"/>
                  </a:ext>
                </a:extLst>
              </p:cNvPr>
              <p:cNvSpPr/>
              <p:nvPr/>
            </p:nvSpPr>
            <p:spPr>
              <a:xfrm>
                <a:off x="2339221" y="1415322"/>
                <a:ext cx="417800" cy="355272"/>
              </a:xfrm>
              <a:custGeom>
                <a:avLst/>
                <a:gdLst>
                  <a:gd name="connsiteX0" fmla="*/ 416799 w 417800"/>
                  <a:gd name="connsiteY0" fmla="*/ 277813 h 355272"/>
                  <a:gd name="connsiteX1" fmla="*/ 417801 w 417800"/>
                  <a:gd name="connsiteY1" fmla="*/ 256213 h 355272"/>
                  <a:gd name="connsiteX2" fmla="*/ 381876 w 417800"/>
                  <a:gd name="connsiteY2" fmla="*/ 218604 h 355272"/>
                  <a:gd name="connsiteX3" fmla="*/ 343525 w 417800"/>
                  <a:gd name="connsiteY3" fmla="*/ 178413 h 355272"/>
                  <a:gd name="connsiteX4" fmla="*/ 347290 w 417800"/>
                  <a:gd name="connsiteY4" fmla="*/ 119377 h 355272"/>
                  <a:gd name="connsiteX5" fmla="*/ 324141 w 417800"/>
                  <a:gd name="connsiteY5" fmla="*/ 95475 h 355272"/>
                  <a:gd name="connsiteX6" fmla="*/ 327499 w 417800"/>
                  <a:gd name="connsiteY6" fmla="*/ 47165 h 355272"/>
                  <a:gd name="connsiteX7" fmla="*/ 288147 w 417800"/>
                  <a:gd name="connsiteY7" fmla="*/ 6969 h 355272"/>
                  <a:gd name="connsiteX8" fmla="*/ 276985 w 417800"/>
                  <a:gd name="connsiteY8" fmla="*/ 16739 h 355272"/>
                  <a:gd name="connsiteX9" fmla="*/ 267573 w 417800"/>
                  <a:gd name="connsiteY9" fmla="*/ 132265 h 355272"/>
                  <a:gd name="connsiteX10" fmla="*/ 240529 w 417800"/>
                  <a:gd name="connsiteY10" fmla="*/ 132203 h 355272"/>
                  <a:gd name="connsiteX11" fmla="*/ 246468 w 417800"/>
                  <a:gd name="connsiteY11" fmla="*/ 64296 h 355272"/>
                  <a:gd name="connsiteX12" fmla="*/ 212126 w 417800"/>
                  <a:gd name="connsiteY12" fmla="*/ 28404 h 355272"/>
                  <a:gd name="connsiteX13" fmla="*/ 208357 w 417800"/>
                  <a:gd name="connsiteY13" fmla="*/ 67549 h 355272"/>
                  <a:gd name="connsiteX14" fmla="*/ 178227 w 417800"/>
                  <a:gd name="connsiteY14" fmla="*/ 67475 h 355272"/>
                  <a:gd name="connsiteX15" fmla="*/ 156228 w 417800"/>
                  <a:gd name="connsiteY15" fmla="*/ 44080 h 355272"/>
                  <a:gd name="connsiteX16" fmla="*/ 133039 w 417800"/>
                  <a:gd name="connsiteY16" fmla="*/ 64016 h 355272"/>
                  <a:gd name="connsiteX17" fmla="*/ 102901 w 417800"/>
                  <a:gd name="connsiteY17" fmla="*/ 63941 h 355272"/>
                  <a:gd name="connsiteX18" fmla="*/ 110591 w 417800"/>
                  <a:gd name="connsiteY18" fmla="*/ 0 h 355272"/>
                  <a:gd name="connsiteX19" fmla="*/ 25392 w 417800"/>
                  <a:gd name="connsiteY19" fmla="*/ 71796 h 355272"/>
                  <a:gd name="connsiteX20" fmla="*/ 27024 w 417800"/>
                  <a:gd name="connsiteY20" fmla="*/ 90689 h 355272"/>
                  <a:gd name="connsiteX21" fmla="*/ 4568 w 417800"/>
                  <a:gd name="connsiteY21" fmla="*/ 109726 h 355272"/>
                  <a:gd name="connsiteX22" fmla="*/ 0 w 417800"/>
                  <a:gd name="connsiteY22" fmla="*/ 142051 h 355272"/>
                  <a:gd name="connsiteX23" fmla="*/ 46395 w 417800"/>
                  <a:gd name="connsiteY23" fmla="*/ 142155 h 355272"/>
                  <a:gd name="connsiteX24" fmla="*/ 54517 w 417800"/>
                  <a:gd name="connsiteY24" fmla="*/ 151195 h 355272"/>
                  <a:gd name="connsiteX25" fmla="*/ 22118 w 417800"/>
                  <a:gd name="connsiteY25" fmla="*/ 179150 h 355272"/>
                  <a:gd name="connsiteX26" fmla="*/ 17320 w 417800"/>
                  <a:gd name="connsiteY26" fmla="*/ 214666 h 355272"/>
                  <a:gd name="connsiteX27" fmla="*/ 41987 w 417800"/>
                  <a:gd name="connsiteY27" fmla="*/ 214712 h 355272"/>
                  <a:gd name="connsiteX28" fmla="*/ 44393 w 417800"/>
                  <a:gd name="connsiteY28" fmla="*/ 196178 h 355272"/>
                  <a:gd name="connsiteX29" fmla="*/ 122371 w 417800"/>
                  <a:gd name="connsiteY29" fmla="*/ 196338 h 355272"/>
                  <a:gd name="connsiteX30" fmla="*/ 146899 w 417800"/>
                  <a:gd name="connsiteY30" fmla="*/ 223506 h 355272"/>
                  <a:gd name="connsiteX31" fmla="*/ 145437 w 417800"/>
                  <a:gd name="connsiteY31" fmla="*/ 237218 h 355272"/>
                  <a:gd name="connsiteX32" fmla="*/ 103964 w 417800"/>
                  <a:gd name="connsiteY32" fmla="*/ 237135 h 355272"/>
                  <a:gd name="connsiteX33" fmla="*/ 86833 w 417800"/>
                  <a:gd name="connsiteY33" fmla="*/ 252346 h 355272"/>
                  <a:gd name="connsiteX34" fmla="*/ 28330 w 417800"/>
                  <a:gd name="connsiteY34" fmla="*/ 252235 h 355272"/>
                  <a:gd name="connsiteX35" fmla="*/ 12575 w 417800"/>
                  <a:gd name="connsiteY35" fmla="*/ 266086 h 355272"/>
                  <a:gd name="connsiteX36" fmla="*/ 46518 w 417800"/>
                  <a:gd name="connsiteY36" fmla="*/ 305265 h 355272"/>
                  <a:gd name="connsiteX37" fmla="*/ 96793 w 417800"/>
                  <a:gd name="connsiteY37" fmla="*/ 305351 h 355272"/>
                  <a:gd name="connsiteX38" fmla="*/ 94376 w 417800"/>
                  <a:gd name="connsiteY38" fmla="*/ 326317 h 355272"/>
                  <a:gd name="connsiteX39" fmla="*/ 119463 w 417800"/>
                  <a:gd name="connsiteY39" fmla="*/ 355087 h 355272"/>
                  <a:gd name="connsiteX40" fmla="*/ 240459 w 417800"/>
                  <a:gd name="connsiteY40" fmla="*/ 355272 h 355272"/>
                  <a:gd name="connsiteX41" fmla="*/ 277434 w 417800"/>
                  <a:gd name="connsiteY41" fmla="*/ 320596 h 355272"/>
                  <a:gd name="connsiteX42" fmla="*/ 279078 w 417800"/>
                  <a:gd name="connsiteY42" fmla="*/ 298984 h 355272"/>
                  <a:gd name="connsiteX43" fmla="*/ 297485 w 417800"/>
                  <a:gd name="connsiteY43" fmla="*/ 299017 h 355272"/>
                  <a:gd name="connsiteX44" fmla="*/ 314656 w 417800"/>
                  <a:gd name="connsiteY44" fmla="*/ 317671 h 355272"/>
                  <a:gd name="connsiteX45" fmla="*/ 344279 w 417800"/>
                  <a:gd name="connsiteY45" fmla="*/ 317717 h 355272"/>
                  <a:gd name="connsiteX46" fmla="*/ 342257 w 417800"/>
                  <a:gd name="connsiteY46" fmla="*/ 350503 h 355272"/>
                  <a:gd name="connsiteX47" fmla="*/ 382106 w 417800"/>
                  <a:gd name="connsiteY47" fmla="*/ 350560 h 355272"/>
                  <a:gd name="connsiteX48" fmla="*/ 400497 w 417800"/>
                  <a:gd name="connsiteY48" fmla="*/ 332837 h 355272"/>
                  <a:gd name="connsiteX49" fmla="*/ 401568 w 417800"/>
                  <a:gd name="connsiteY49" fmla="*/ 311110 h 355272"/>
                  <a:gd name="connsiteX50" fmla="*/ 391081 w 417800"/>
                  <a:gd name="connsiteY50" fmla="*/ 299932 h 355272"/>
                  <a:gd name="connsiteX51" fmla="*/ 392230 w 417800"/>
                  <a:gd name="connsiteY51" fmla="*/ 277768 h 355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17800" h="355272">
                    <a:moveTo>
                      <a:pt x="416799" y="277813"/>
                    </a:moveTo>
                    <a:lnTo>
                      <a:pt x="417801" y="256213"/>
                    </a:lnTo>
                    <a:lnTo>
                      <a:pt x="381876" y="218604"/>
                    </a:lnTo>
                    <a:lnTo>
                      <a:pt x="343525" y="178413"/>
                    </a:lnTo>
                    <a:lnTo>
                      <a:pt x="347290" y="119377"/>
                    </a:lnTo>
                    <a:lnTo>
                      <a:pt x="324141" y="95475"/>
                    </a:lnTo>
                    <a:lnTo>
                      <a:pt x="327499" y="47165"/>
                    </a:lnTo>
                    <a:lnTo>
                      <a:pt x="288147" y="6969"/>
                    </a:lnTo>
                    <a:lnTo>
                      <a:pt x="276985" y="16739"/>
                    </a:lnTo>
                    <a:lnTo>
                      <a:pt x="267573" y="132265"/>
                    </a:lnTo>
                    <a:lnTo>
                      <a:pt x="240529" y="132203"/>
                    </a:lnTo>
                    <a:lnTo>
                      <a:pt x="246468" y="64296"/>
                    </a:lnTo>
                    <a:lnTo>
                      <a:pt x="212126" y="28404"/>
                    </a:lnTo>
                    <a:lnTo>
                      <a:pt x="208357" y="67549"/>
                    </a:lnTo>
                    <a:lnTo>
                      <a:pt x="178227" y="67475"/>
                    </a:lnTo>
                    <a:lnTo>
                      <a:pt x="156228" y="44080"/>
                    </a:lnTo>
                    <a:lnTo>
                      <a:pt x="133039" y="64016"/>
                    </a:lnTo>
                    <a:lnTo>
                      <a:pt x="102901" y="63941"/>
                    </a:lnTo>
                    <a:lnTo>
                      <a:pt x="110591" y="0"/>
                    </a:lnTo>
                    <a:lnTo>
                      <a:pt x="25392" y="71796"/>
                    </a:lnTo>
                    <a:lnTo>
                      <a:pt x="27024" y="90689"/>
                    </a:lnTo>
                    <a:lnTo>
                      <a:pt x="4568" y="109726"/>
                    </a:lnTo>
                    <a:lnTo>
                      <a:pt x="0" y="142051"/>
                    </a:lnTo>
                    <a:lnTo>
                      <a:pt x="46395" y="142155"/>
                    </a:lnTo>
                    <a:lnTo>
                      <a:pt x="54517" y="151195"/>
                    </a:lnTo>
                    <a:lnTo>
                      <a:pt x="22118" y="179150"/>
                    </a:lnTo>
                    <a:lnTo>
                      <a:pt x="17320" y="214666"/>
                    </a:lnTo>
                    <a:lnTo>
                      <a:pt x="41987" y="214712"/>
                    </a:lnTo>
                    <a:lnTo>
                      <a:pt x="44393" y="196178"/>
                    </a:lnTo>
                    <a:lnTo>
                      <a:pt x="122371" y="196338"/>
                    </a:lnTo>
                    <a:lnTo>
                      <a:pt x="146899" y="223506"/>
                    </a:lnTo>
                    <a:lnTo>
                      <a:pt x="145437" y="237218"/>
                    </a:lnTo>
                    <a:lnTo>
                      <a:pt x="103964" y="237135"/>
                    </a:lnTo>
                    <a:lnTo>
                      <a:pt x="86833" y="252346"/>
                    </a:lnTo>
                    <a:lnTo>
                      <a:pt x="28330" y="252235"/>
                    </a:lnTo>
                    <a:lnTo>
                      <a:pt x="12575" y="266086"/>
                    </a:lnTo>
                    <a:lnTo>
                      <a:pt x="46518" y="305265"/>
                    </a:lnTo>
                    <a:lnTo>
                      <a:pt x="96793" y="305351"/>
                    </a:lnTo>
                    <a:lnTo>
                      <a:pt x="94376" y="326317"/>
                    </a:lnTo>
                    <a:lnTo>
                      <a:pt x="119463" y="355087"/>
                    </a:lnTo>
                    <a:lnTo>
                      <a:pt x="240459" y="355272"/>
                    </a:lnTo>
                    <a:lnTo>
                      <a:pt x="277434" y="320596"/>
                    </a:lnTo>
                    <a:lnTo>
                      <a:pt x="279078" y="298984"/>
                    </a:lnTo>
                    <a:lnTo>
                      <a:pt x="297485" y="299017"/>
                    </a:lnTo>
                    <a:lnTo>
                      <a:pt x="314656" y="317671"/>
                    </a:lnTo>
                    <a:lnTo>
                      <a:pt x="344279" y="317717"/>
                    </a:lnTo>
                    <a:lnTo>
                      <a:pt x="342257" y="350503"/>
                    </a:lnTo>
                    <a:lnTo>
                      <a:pt x="382106" y="350560"/>
                    </a:lnTo>
                    <a:lnTo>
                      <a:pt x="400497" y="332837"/>
                    </a:lnTo>
                    <a:lnTo>
                      <a:pt x="401568" y="311110"/>
                    </a:lnTo>
                    <a:lnTo>
                      <a:pt x="391081" y="299932"/>
                    </a:lnTo>
                    <a:lnTo>
                      <a:pt x="392230" y="277768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1" name="Freeform: Shape 870">
                <a:extLst>
                  <a:ext uri="{FF2B5EF4-FFF2-40B4-BE49-F238E27FC236}">
                    <a16:creationId xmlns:a16="http://schemas.microsoft.com/office/drawing/2014/main" id="{0650CC6D-3EA8-53DD-C9D8-FD3066BB0CE1}"/>
                  </a:ext>
                </a:extLst>
              </p:cNvPr>
              <p:cNvSpPr/>
              <p:nvPr/>
            </p:nvSpPr>
            <p:spPr>
              <a:xfrm>
                <a:off x="2523186" y="1141290"/>
                <a:ext cx="85671" cy="71852"/>
              </a:xfrm>
              <a:custGeom>
                <a:avLst/>
                <a:gdLst>
                  <a:gd name="connsiteX0" fmla="*/ 42445 w 85671"/>
                  <a:gd name="connsiteY0" fmla="*/ 71853 h 71852"/>
                  <a:gd name="connsiteX1" fmla="*/ 79382 w 85671"/>
                  <a:gd name="connsiteY1" fmla="*/ 41493 h 71852"/>
                  <a:gd name="connsiteX2" fmla="*/ 42811 w 85671"/>
                  <a:gd name="connsiteY2" fmla="*/ 41370 h 71852"/>
                  <a:gd name="connsiteX3" fmla="*/ 44413 w 85671"/>
                  <a:gd name="connsiteY3" fmla="*/ 25174 h 71852"/>
                  <a:gd name="connsiteX4" fmla="*/ 83419 w 85671"/>
                  <a:gd name="connsiteY4" fmla="*/ 25306 h 71852"/>
                  <a:gd name="connsiteX5" fmla="*/ 85672 w 85671"/>
                  <a:gd name="connsiteY5" fmla="*/ 70 h 71852"/>
                  <a:gd name="connsiteX6" fmla="*/ 66296 w 85671"/>
                  <a:gd name="connsiteY6" fmla="*/ 0 h 71852"/>
                  <a:gd name="connsiteX7" fmla="*/ 3410 w 85671"/>
                  <a:gd name="connsiteY7" fmla="*/ 19267 h 71852"/>
                  <a:gd name="connsiteX8" fmla="*/ 0 w 85671"/>
                  <a:gd name="connsiteY8" fmla="*/ 50571 h 71852"/>
                  <a:gd name="connsiteX9" fmla="*/ 21393 w 85671"/>
                  <a:gd name="connsiteY9" fmla="*/ 71787 h 7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671" h="71852">
                    <a:moveTo>
                      <a:pt x="42445" y="71853"/>
                    </a:moveTo>
                    <a:lnTo>
                      <a:pt x="79382" y="41493"/>
                    </a:lnTo>
                    <a:lnTo>
                      <a:pt x="42811" y="41370"/>
                    </a:lnTo>
                    <a:lnTo>
                      <a:pt x="44413" y="25174"/>
                    </a:lnTo>
                    <a:lnTo>
                      <a:pt x="83419" y="25306"/>
                    </a:lnTo>
                    <a:lnTo>
                      <a:pt x="85672" y="70"/>
                    </a:lnTo>
                    <a:lnTo>
                      <a:pt x="66296" y="0"/>
                    </a:lnTo>
                    <a:lnTo>
                      <a:pt x="3410" y="19267"/>
                    </a:lnTo>
                    <a:lnTo>
                      <a:pt x="0" y="50571"/>
                    </a:lnTo>
                    <a:lnTo>
                      <a:pt x="21393" y="71787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2" name="Freeform: Shape 871">
                <a:extLst>
                  <a:ext uri="{FF2B5EF4-FFF2-40B4-BE49-F238E27FC236}">
                    <a16:creationId xmlns:a16="http://schemas.microsoft.com/office/drawing/2014/main" id="{720264B4-70C2-CDBA-102C-FB79E6F549BE}"/>
                  </a:ext>
                </a:extLst>
              </p:cNvPr>
              <p:cNvSpPr/>
              <p:nvPr/>
            </p:nvSpPr>
            <p:spPr>
              <a:xfrm>
                <a:off x="2320876" y="1154648"/>
                <a:ext cx="179322" cy="149040"/>
              </a:xfrm>
              <a:custGeom>
                <a:avLst/>
                <a:gdLst>
                  <a:gd name="connsiteX0" fmla="*/ 41134 w 179322"/>
                  <a:gd name="connsiteY0" fmla="*/ 127512 h 149040"/>
                  <a:gd name="connsiteX1" fmla="*/ 61601 w 179322"/>
                  <a:gd name="connsiteY1" fmla="*/ 149040 h 149040"/>
                  <a:gd name="connsiteX2" fmla="*/ 98502 w 179322"/>
                  <a:gd name="connsiteY2" fmla="*/ 119129 h 149040"/>
                  <a:gd name="connsiteX3" fmla="*/ 104986 w 179322"/>
                  <a:gd name="connsiteY3" fmla="*/ 69872 h 149040"/>
                  <a:gd name="connsiteX4" fmla="*/ 116880 w 179322"/>
                  <a:gd name="connsiteY4" fmla="*/ 69909 h 149040"/>
                  <a:gd name="connsiteX5" fmla="*/ 111007 w 179322"/>
                  <a:gd name="connsiteY5" fmla="*/ 115542 h 149040"/>
                  <a:gd name="connsiteX6" fmla="*/ 138686 w 179322"/>
                  <a:gd name="connsiteY6" fmla="*/ 115624 h 149040"/>
                  <a:gd name="connsiteX7" fmla="*/ 140795 w 179322"/>
                  <a:gd name="connsiteY7" fmla="*/ 98382 h 149040"/>
                  <a:gd name="connsiteX8" fmla="*/ 153687 w 179322"/>
                  <a:gd name="connsiteY8" fmla="*/ 87925 h 149040"/>
                  <a:gd name="connsiteX9" fmla="*/ 159828 w 179322"/>
                  <a:gd name="connsiteY9" fmla="*/ 36476 h 149040"/>
                  <a:gd name="connsiteX10" fmla="*/ 179323 w 179322"/>
                  <a:gd name="connsiteY10" fmla="*/ 20829 h 149040"/>
                  <a:gd name="connsiteX11" fmla="*/ 158346 w 179322"/>
                  <a:gd name="connsiteY11" fmla="*/ 0 h 149040"/>
                  <a:gd name="connsiteX12" fmla="*/ 151166 w 179322"/>
                  <a:gd name="connsiteY12" fmla="*/ 5725 h 149040"/>
                  <a:gd name="connsiteX13" fmla="*/ 149399 w 179322"/>
                  <a:gd name="connsiteY13" fmla="*/ 20153 h 149040"/>
                  <a:gd name="connsiteX14" fmla="*/ 113520 w 179322"/>
                  <a:gd name="connsiteY14" fmla="*/ 20034 h 149040"/>
                  <a:gd name="connsiteX15" fmla="*/ 70177 w 179322"/>
                  <a:gd name="connsiteY15" fmla="*/ 54389 h 149040"/>
                  <a:gd name="connsiteX16" fmla="*/ 43367 w 179322"/>
                  <a:gd name="connsiteY16" fmla="*/ 75634 h 149040"/>
                  <a:gd name="connsiteX17" fmla="*/ 40913 w 179322"/>
                  <a:gd name="connsiteY17" fmla="*/ 92365 h 149040"/>
                  <a:gd name="connsiteX18" fmla="*/ 21282 w 179322"/>
                  <a:gd name="connsiteY18" fmla="*/ 107984 h 149040"/>
                  <a:gd name="connsiteX19" fmla="*/ 0 w 179322"/>
                  <a:gd name="connsiteY19" fmla="*/ 124929 h 149040"/>
                  <a:gd name="connsiteX20" fmla="*/ 22876 w 179322"/>
                  <a:gd name="connsiteY20" fmla="*/ 142145 h 14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79322" h="149040">
                    <a:moveTo>
                      <a:pt x="41134" y="127512"/>
                    </a:moveTo>
                    <a:lnTo>
                      <a:pt x="61601" y="149040"/>
                    </a:lnTo>
                    <a:lnTo>
                      <a:pt x="98502" y="119129"/>
                    </a:lnTo>
                    <a:lnTo>
                      <a:pt x="104986" y="69872"/>
                    </a:lnTo>
                    <a:lnTo>
                      <a:pt x="116880" y="69909"/>
                    </a:lnTo>
                    <a:lnTo>
                      <a:pt x="111007" y="115542"/>
                    </a:lnTo>
                    <a:lnTo>
                      <a:pt x="138686" y="115624"/>
                    </a:lnTo>
                    <a:lnTo>
                      <a:pt x="140795" y="98382"/>
                    </a:lnTo>
                    <a:lnTo>
                      <a:pt x="153687" y="87925"/>
                    </a:lnTo>
                    <a:lnTo>
                      <a:pt x="159828" y="36476"/>
                    </a:lnTo>
                    <a:lnTo>
                      <a:pt x="179323" y="20829"/>
                    </a:lnTo>
                    <a:lnTo>
                      <a:pt x="158346" y="0"/>
                    </a:lnTo>
                    <a:lnTo>
                      <a:pt x="151166" y="5725"/>
                    </a:lnTo>
                    <a:lnTo>
                      <a:pt x="149399" y="20153"/>
                    </a:lnTo>
                    <a:lnTo>
                      <a:pt x="113520" y="20034"/>
                    </a:lnTo>
                    <a:lnTo>
                      <a:pt x="70177" y="54389"/>
                    </a:lnTo>
                    <a:lnTo>
                      <a:pt x="43367" y="75634"/>
                    </a:lnTo>
                    <a:lnTo>
                      <a:pt x="40913" y="92365"/>
                    </a:lnTo>
                    <a:lnTo>
                      <a:pt x="21282" y="107984"/>
                    </a:lnTo>
                    <a:lnTo>
                      <a:pt x="0" y="124929"/>
                    </a:lnTo>
                    <a:lnTo>
                      <a:pt x="22876" y="142145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3" name="Freeform: Shape 872">
                <a:extLst>
                  <a:ext uri="{FF2B5EF4-FFF2-40B4-BE49-F238E27FC236}">
                    <a16:creationId xmlns:a16="http://schemas.microsoft.com/office/drawing/2014/main" id="{6F838E7F-8555-4272-0E41-5EC7A11B296C}"/>
                  </a:ext>
                </a:extLst>
              </p:cNvPr>
              <p:cNvSpPr/>
              <p:nvPr/>
            </p:nvSpPr>
            <p:spPr>
              <a:xfrm>
                <a:off x="2173787" y="1319542"/>
                <a:ext cx="260360" cy="278937"/>
              </a:xfrm>
              <a:custGeom>
                <a:avLst/>
                <a:gdLst>
                  <a:gd name="connsiteX0" fmla="*/ 103861 w 260360"/>
                  <a:gd name="connsiteY0" fmla="*/ 248116 h 278937"/>
                  <a:gd name="connsiteX1" fmla="*/ 109421 w 260360"/>
                  <a:gd name="connsiteY1" fmla="*/ 212183 h 278937"/>
                  <a:gd name="connsiteX2" fmla="*/ 174685 w 260360"/>
                  <a:gd name="connsiteY2" fmla="*/ 157510 h 278937"/>
                  <a:gd name="connsiteX3" fmla="*/ 260361 w 260360"/>
                  <a:gd name="connsiteY3" fmla="*/ 85689 h 278937"/>
                  <a:gd name="connsiteX4" fmla="*/ 215490 w 260360"/>
                  <a:gd name="connsiteY4" fmla="*/ 37906 h 278937"/>
                  <a:gd name="connsiteX5" fmla="*/ 162983 w 260360"/>
                  <a:gd name="connsiteY5" fmla="*/ 37758 h 278937"/>
                  <a:gd name="connsiteX6" fmla="*/ 128039 w 260360"/>
                  <a:gd name="connsiteY6" fmla="*/ 0 h 278937"/>
                  <a:gd name="connsiteX7" fmla="*/ 108618 w 260360"/>
                  <a:gd name="connsiteY7" fmla="*/ 15536 h 278937"/>
                  <a:gd name="connsiteX8" fmla="*/ 61107 w 260360"/>
                  <a:gd name="connsiteY8" fmla="*/ 15401 h 278937"/>
                  <a:gd name="connsiteX9" fmla="*/ 60518 w 260360"/>
                  <a:gd name="connsiteY9" fmla="*/ 53352 h 278937"/>
                  <a:gd name="connsiteX10" fmla="*/ 53800 w 260360"/>
                  <a:gd name="connsiteY10" fmla="*/ 92411 h 278937"/>
                  <a:gd name="connsiteX11" fmla="*/ 41538 w 260360"/>
                  <a:gd name="connsiteY11" fmla="*/ 102317 h 278937"/>
                  <a:gd name="connsiteX12" fmla="*/ 37251 w 260360"/>
                  <a:gd name="connsiteY12" fmla="*/ 126914 h 278937"/>
                  <a:gd name="connsiteX13" fmla="*/ 9094 w 260360"/>
                  <a:gd name="connsiteY13" fmla="*/ 149737 h 278937"/>
                  <a:gd name="connsiteX14" fmla="*/ 0 w 260360"/>
                  <a:gd name="connsiteY14" fmla="*/ 200313 h 278937"/>
                  <a:gd name="connsiteX15" fmla="*/ 67384 w 260360"/>
                  <a:gd name="connsiteY15" fmla="*/ 278938 h 278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60360" h="278937">
                    <a:moveTo>
                      <a:pt x="103861" y="248116"/>
                    </a:moveTo>
                    <a:lnTo>
                      <a:pt x="109421" y="212183"/>
                    </a:lnTo>
                    <a:lnTo>
                      <a:pt x="174685" y="157510"/>
                    </a:lnTo>
                    <a:lnTo>
                      <a:pt x="260361" y="85689"/>
                    </a:lnTo>
                    <a:lnTo>
                      <a:pt x="215490" y="37906"/>
                    </a:lnTo>
                    <a:lnTo>
                      <a:pt x="162983" y="37758"/>
                    </a:lnTo>
                    <a:lnTo>
                      <a:pt x="128039" y="0"/>
                    </a:lnTo>
                    <a:lnTo>
                      <a:pt x="108618" y="15536"/>
                    </a:lnTo>
                    <a:lnTo>
                      <a:pt x="61107" y="15401"/>
                    </a:lnTo>
                    <a:lnTo>
                      <a:pt x="60518" y="53352"/>
                    </a:lnTo>
                    <a:lnTo>
                      <a:pt x="53800" y="92411"/>
                    </a:lnTo>
                    <a:lnTo>
                      <a:pt x="41538" y="102317"/>
                    </a:lnTo>
                    <a:lnTo>
                      <a:pt x="37251" y="126914"/>
                    </a:lnTo>
                    <a:lnTo>
                      <a:pt x="9094" y="149737"/>
                    </a:lnTo>
                    <a:lnTo>
                      <a:pt x="0" y="200313"/>
                    </a:lnTo>
                    <a:lnTo>
                      <a:pt x="67384" y="278938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4" name="Freeform: Shape 873">
                <a:extLst>
                  <a:ext uri="{FF2B5EF4-FFF2-40B4-BE49-F238E27FC236}">
                    <a16:creationId xmlns:a16="http://schemas.microsoft.com/office/drawing/2014/main" id="{4EE1E95F-7DFE-60B3-1CA1-213DFDE70509}"/>
                  </a:ext>
                </a:extLst>
              </p:cNvPr>
              <p:cNvSpPr/>
              <p:nvPr/>
            </p:nvSpPr>
            <p:spPr>
              <a:xfrm>
                <a:off x="3991827" y="2847128"/>
                <a:ext cx="201247" cy="220235"/>
              </a:xfrm>
              <a:custGeom>
                <a:avLst/>
                <a:gdLst>
                  <a:gd name="connsiteX0" fmla="*/ 113598 w 201247"/>
                  <a:gd name="connsiteY0" fmla="*/ 14136 h 220235"/>
                  <a:gd name="connsiteX1" fmla="*/ 113598 w 201247"/>
                  <a:gd name="connsiteY1" fmla="*/ 0 h 220235"/>
                  <a:gd name="connsiteX2" fmla="*/ 88662 w 201247"/>
                  <a:gd name="connsiteY2" fmla="*/ 0 h 220235"/>
                  <a:gd name="connsiteX3" fmla="*/ 82171 w 201247"/>
                  <a:gd name="connsiteY3" fmla="*/ 6508 h 220235"/>
                  <a:gd name="connsiteX4" fmla="*/ 54097 w 201247"/>
                  <a:gd name="connsiteY4" fmla="*/ 52054 h 220235"/>
                  <a:gd name="connsiteX5" fmla="*/ 62804 w 201247"/>
                  <a:gd name="connsiteY5" fmla="*/ 60786 h 220235"/>
                  <a:gd name="connsiteX6" fmla="*/ 46559 w 201247"/>
                  <a:gd name="connsiteY6" fmla="*/ 76998 h 220235"/>
                  <a:gd name="connsiteX7" fmla="*/ 46559 w 201247"/>
                  <a:gd name="connsiteY7" fmla="*/ 92617 h 220235"/>
                  <a:gd name="connsiteX8" fmla="*/ 39722 w 201247"/>
                  <a:gd name="connsiteY8" fmla="*/ 99453 h 220235"/>
                  <a:gd name="connsiteX9" fmla="*/ 39722 w 201247"/>
                  <a:gd name="connsiteY9" fmla="*/ 109998 h 220235"/>
                  <a:gd name="connsiteX10" fmla="*/ 14317 w 201247"/>
                  <a:gd name="connsiteY10" fmla="*/ 135338 h 220235"/>
                  <a:gd name="connsiteX11" fmla="*/ 22653 w 201247"/>
                  <a:gd name="connsiteY11" fmla="*/ 143658 h 220235"/>
                  <a:gd name="connsiteX12" fmla="*/ 0 w 201247"/>
                  <a:gd name="connsiteY12" fmla="*/ 166344 h 220235"/>
                  <a:gd name="connsiteX13" fmla="*/ 0 w 201247"/>
                  <a:gd name="connsiteY13" fmla="*/ 186419 h 220235"/>
                  <a:gd name="connsiteX14" fmla="*/ 12900 w 201247"/>
                  <a:gd name="connsiteY14" fmla="*/ 186419 h 220235"/>
                  <a:gd name="connsiteX15" fmla="*/ 23329 w 201247"/>
                  <a:gd name="connsiteY15" fmla="*/ 176024 h 220235"/>
                  <a:gd name="connsiteX16" fmla="*/ 37481 w 201247"/>
                  <a:gd name="connsiteY16" fmla="*/ 176024 h 220235"/>
                  <a:gd name="connsiteX17" fmla="*/ 43997 w 201247"/>
                  <a:gd name="connsiteY17" fmla="*/ 182515 h 220235"/>
                  <a:gd name="connsiteX18" fmla="*/ 92007 w 201247"/>
                  <a:gd name="connsiteY18" fmla="*/ 182515 h 220235"/>
                  <a:gd name="connsiteX19" fmla="*/ 102107 w 201247"/>
                  <a:gd name="connsiteY19" fmla="*/ 172423 h 220235"/>
                  <a:gd name="connsiteX20" fmla="*/ 116283 w 201247"/>
                  <a:gd name="connsiteY20" fmla="*/ 186559 h 220235"/>
                  <a:gd name="connsiteX21" fmla="*/ 126160 w 201247"/>
                  <a:gd name="connsiteY21" fmla="*/ 176650 h 220235"/>
                  <a:gd name="connsiteX22" fmla="*/ 131531 w 201247"/>
                  <a:gd name="connsiteY22" fmla="*/ 182062 h 220235"/>
                  <a:gd name="connsiteX23" fmla="*/ 105714 w 201247"/>
                  <a:gd name="connsiteY23" fmla="*/ 207871 h 220235"/>
                  <a:gd name="connsiteX24" fmla="*/ 114027 w 201247"/>
                  <a:gd name="connsiteY24" fmla="*/ 216174 h 220235"/>
                  <a:gd name="connsiteX25" fmla="*/ 142537 w 201247"/>
                  <a:gd name="connsiteY25" fmla="*/ 187664 h 220235"/>
                  <a:gd name="connsiteX26" fmla="*/ 153995 w 201247"/>
                  <a:gd name="connsiteY26" fmla="*/ 176213 h 220235"/>
                  <a:gd name="connsiteX27" fmla="*/ 153995 w 201247"/>
                  <a:gd name="connsiteY27" fmla="*/ 165438 h 220235"/>
                  <a:gd name="connsiteX28" fmla="*/ 163197 w 201247"/>
                  <a:gd name="connsiteY28" fmla="*/ 165438 h 220235"/>
                  <a:gd name="connsiteX29" fmla="*/ 163197 w 201247"/>
                  <a:gd name="connsiteY29" fmla="*/ 213258 h 220235"/>
                  <a:gd name="connsiteX30" fmla="*/ 178774 w 201247"/>
                  <a:gd name="connsiteY30" fmla="*/ 197714 h 220235"/>
                  <a:gd name="connsiteX31" fmla="*/ 201247 w 201247"/>
                  <a:gd name="connsiteY31" fmla="*/ 220235 h 220235"/>
                  <a:gd name="connsiteX32" fmla="*/ 201247 w 201247"/>
                  <a:gd name="connsiteY32" fmla="*/ 185085 h 220235"/>
                  <a:gd name="connsiteX33" fmla="*/ 193265 w 201247"/>
                  <a:gd name="connsiteY33" fmla="*/ 177135 h 220235"/>
                  <a:gd name="connsiteX34" fmla="*/ 193265 w 201247"/>
                  <a:gd name="connsiteY34" fmla="*/ 165224 h 220235"/>
                  <a:gd name="connsiteX35" fmla="*/ 184978 w 201247"/>
                  <a:gd name="connsiteY35" fmla="*/ 156912 h 220235"/>
                  <a:gd name="connsiteX36" fmla="*/ 184978 w 201247"/>
                  <a:gd name="connsiteY36" fmla="*/ 138970 h 220235"/>
                  <a:gd name="connsiteX37" fmla="*/ 164524 w 201247"/>
                  <a:gd name="connsiteY37" fmla="*/ 138970 h 220235"/>
                  <a:gd name="connsiteX38" fmla="*/ 164524 w 201247"/>
                  <a:gd name="connsiteY38" fmla="*/ 119867 h 220235"/>
                  <a:gd name="connsiteX39" fmla="*/ 180480 w 201247"/>
                  <a:gd name="connsiteY39" fmla="*/ 103935 h 220235"/>
                  <a:gd name="connsiteX40" fmla="*/ 168790 w 201247"/>
                  <a:gd name="connsiteY40" fmla="*/ 92238 h 220235"/>
                  <a:gd name="connsiteX41" fmla="*/ 147266 w 201247"/>
                  <a:gd name="connsiteY41" fmla="*/ 92238 h 220235"/>
                  <a:gd name="connsiteX42" fmla="*/ 147266 w 201247"/>
                  <a:gd name="connsiteY42" fmla="*/ 101456 h 220235"/>
                  <a:gd name="connsiteX43" fmla="*/ 116976 w 201247"/>
                  <a:gd name="connsiteY43" fmla="*/ 101456 h 220235"/>
                  <a:gd name="connsiteX44" fmla="*/ 101472 w 201247"/>
                  <a:gd name="connsiteY44" fmla="*/ 85960 h 220235"/>
                  <a:gd name="connsiteX45" fmla="*/ 110418 w 201247"/>
                  <a:gd name="connsiteY45" fmla="*/ 76998 h 220235"/>
                  <a:gd name="connsiteX46" fmla="*/ 97963 w 201247"/>
                  <a:gd name="connsiteY46" fmla="*/ 64551 h 220235"/>
                  <a:gd name="connsiteX47" fmla="*/ 80152 w 201247"/>
                  <a:gd name="connsiteY47" fmla="*/ 82369 h 220235"/>
                  <a:gd name="connsiteX48" fmla="*/ 80152 w 201247"/>
                  <a:gd name="connsiteY48" fmla="*/ 47606 h 220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201247" h="220235">
                    <a:moveTo>
                      <a:pt x="113598" y="14136"/>
                    </a:moveTo>
                    <a:lnTo>
                      <a:pt x="113598" y="0"/>
                    </a:lnTo>
                    <a:lnTo>
                      <a:pt x="88662" y="0"/>
                    </a:lnTo>
                    <a:lnTo>
                      <a:pt x="82171" y="6508"/>
                    </a:lnTo>
                    <a:lnTo>
                      <a:pt x="54097" y="52054"/>
                    </a:lnTo>
                    <a:lnTo>
                      <a:pt x="62804" y="60786"/>
                    </a:lnTo>
                    <a:lnTo>
                      <a:pt x="46559" y="76998"/>
                    </a:lnTo>
                    <a:lnTo>
                      <a:pt x="46559" y="92617"/>
                    </a:lnTo>
                    <a:lnTo>
                      <a:pt x="39722" y="99453"/>
                    </a:lnTo>
                    <a:lnTo>
                      <a:pt x="39722" y="109998"/>
                    </a:lnTo>
                    <a:lnTo>
                      <a:pt x="14317" y="135338"/>
                    </a:lnTo>
                    <a:lnTo>
                      <a:pt x="22653" y="143658"/>
                    </a:lnTo>
                    <a:lnTo>
                      <a:pt x="0" y="166344"/>
                    </a:lnTo>
                    <a:lnTo>
                      <a:pt x="0" y="186419"/>
                    </a:lnTo>
                    <a:lnTo>
                      <a:pt x="12900" y="186419"/>
                    </a:lnTo>
                    <a:lnTo>
                      <a:pt x="23329" y="176024"/>
                    </a:lnTo>
                    <a:lnTo>
                      <a:pt x="37481" y="176024"/>
                    </a:lnTo>
                    <a:lnTo>
                      <a:pt x="43997" y="182515"/>
                    </a:lnTo>
                    <a:lnTo>
                      <a:pt x="92007" y="182515"/>
                    </a:lnTo>
                    <a:lnTo>
                      <a:pt x="102107" y="172423"/>
                    </a:lnTo>
                    <a:lnTo>
                      <a:pt x="116283" y="186559"/>
                    </a:lnTo>
                    <a:lnTo>
                      <a:pt x="126160" y="176650"/>
                    </a:lnTo>
                    <a:lnTo>
                      <a:pt x="131531" y="182062"/>
                    </a:lnTo>
                    <a:lnTo>
                      <a:pt x="105714" y="207871"/>
                    </a:lnTo>
                    <a:lnTo>
                      <a:pt x="114027" y="216174"/>
                    </a:lnTo>
                    <a:lnTo>
                      <a:pt x="142537" y="187664"/>
                    </a:lnTo>
                    <a:lnTo>
                      <a:pt x="153995" y="176213"/>
                    </a:lnTo>
                    <a:lnTo>
                      <a:pt x="153995" y="165438"/>
                    </a:lnTo>
                    <a:lnTo>
                      <a:pt x="163197" y="165438"/>
                    </a:lnTo>
                    <a:lnTo>
                      <a:pt x="163197" y="213258"/>
                    </a:lnTo>
                    <a:lnTo>
                      <a:pt x="178774" y="197714"/>
                    </a:lnTo>
                    <a:lnTo>
                      <a:pt x="201247" y="220235"/>
                    </a:lnTo>
                    <a:lnTo>
                      <a:pt x="201247" y="185085"/>
                    </a:lnTo>
                    <a:lnTo>
                      <a:pt x="193265" y="177135"/>
                    </a:lnTo>
                    <a:lnTo>
                      <a:pt x="193265" y="165224"/>
                    </a:lnTo>
                    <a:lnTo>
                      <a:pt x="184978" y="156912"/>
                    </a:lnTo>
                    <a:lnTo>
                      <a:pt x="184978" y="138970"/>
                    </a:lnTo>
                    <a:lnTo>
                      <a:pt x="164524" y="138970"/>
                    </a:lnTo>
                    <a:lnTo>
                      <a:pt x="164524" y="119867"/>
                    </a:lnTo>
                    <a:lnTo>
                      <a:pt x="180480" y="103935"/>
                    </a:lnTo>
                    <a:lnTo>
                      <a:pt x="168790" y="92238"/>
                    </a:lnTo>
                    <a:lnTo>
                      <a:pt x="147266" y="92238"/>
                    </a:lnTo>
                    <a:lnTo>
                      <a:pt x="147266" y="101456"/>
                    </a:lnTo>
                    <a:lnTo>
                      <a:pt x="116976" y="101456"/>
                    </a:lnTo>
                    <a:lnTo>
                      <a:pt x="101472" y="85960"/>
                    </a:lnTo>
                    <a:lnTo>
                      <a:pt x="110418" y="76998"/>
                    </a:lnTo>
                    <a:lnTo>
                      <a:pt x="97963" y="64551"/>
                    </a:lnTo>
                    <a:lnTo>
                      <a:pt x="80152" y="82369"/>
                    </a:lnTo>
                    <a:lnTo>
                      <a:pt x="80152" y="47606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5" name="Freeform: Shape 874">
                <a:extLst>
                  <a:ext uri="{FF2B5EF4-FFF2-40B4-BE49-F238E27FC236}">
                    <a16:creationId xmlns:a16="http://schemas.microsoft.com/office/drawing/2014/main" id="{66C7A998-F485-B5BF-F32B-E97789E188F3}"/>
                  </a:ext>
                </a:extLst>
              </p:cNvPr>
              <p:cNvSpPr/>
              <p:nvPr/>
            </p:nvSpPr>
            <p:spPr>
              <a:xfrm>
                <a:off x="1637071" y="1546747"/>
                <a:ext cx="2433364" cy="1719607"/>
              </a:xfrm>
              <a:custGeom>
                <a:avLst/>
                <a:gdLst>
                  <a:gd name="connsiteX0" fmla="*/ 2380264 w 2433364"/>
                  <a:gd name="connsiteY0" fmla="*/ 1116747 h 1719607"/>
                  <a:gd name="connsiteX1" fmla="*/ 2309988 w 2433364"/>
                  <a:gd name="connsiteY1" fmla="*/ 1187022 h 1719607"/>
                  <a:gd name="connsiteX2" fmla="*/ 2292430 w 2433364"/>
                  <a:gd name="connsiteY2" fmla="*/ 1169464 h 1719607"/>
                  <a:gd name="connsiteX3" fmla="*/ 2362298 w 2433364"/>
                  <a:gd name="connsiteY3" fmla="*/ 1099596 h 1719607"/>
                  <a:gd name="connsiteX4" fmla="*/ 2342173 w 2433364"/>
                  <a:gd name="connsiteY4" fmla="*/ 1079470 h 1719607"/>
                  <a:gd name="connsiteX5" fmla="*/ 2292434 w 2433364"/>
                  <a:gd name="connsiteY5" fmla="*/ 1079470 h 1719607"/>
                  <a:gd name="connsiteX6" fmla="*/ 2241826 w 2433364"/>
                  <a:gd name="connsiteY6" fmla="*/ 1028862 h 1719607"/>
                  <a:gd name="connsiteX7" fmla="*/ 2241826 w 2433364"/>
                  <a:gd name="connsiteY7" fmla="*/ 978258 h 1719607"/>
                  <a:gd name="connsiteX8" fmla="*/ 2191913 w 2433364"/>
                  <a:gd name="connsiteY8" fmla="*/ 928346 h 1719607"/>
                  <a:gd name="connsiteX9" fmla="*/ 2206737 w 2433364"/>
                  <a:gd name="connsiteY9" fmla="*/ 913522 h 1719607"/>
                  <a:gd name="connsiteX10" fmla="*/ 2206737 w 2433364"/>
                  <a:gd name="connsiteY10" fmla="*/ 893026 h 1719607"/>
                  <a:gd name="connsiteX11" fmla="*/ 2163563 w 2433364"/>
                  <a:gd name="connsiteY11" fmla="*/ 849852 h 1719607"/>
                  <a:gd name="connsiteX12" fmla="*/ 2175302 w 2433364"/>
                  <a:gd name="connsiteY12" fmla="*/ 838113 h 1719607"/>
                  <a:gd name="connsiteX13" fmla="*/ 2133503 w 2433364"/>
                  <a:gd name="connsiteY13" fmla="*/ 796315 h 1719607"/>
                  <a:gd name="connsiteX14" fmla="*/ 2113605 w 2433364"/>
                  <a:gd name="connsiteY14" fmla="*/ 816213 h 1719607"/>
                  <a:gd name="connsiteX15" fmla="*/ 2113605 w 2433364"/>
                  <a:gd name="connsiteY15" fmla="*/ 882655 h 1719607"/>
                  <a:gd name="connsiteX16" fmla="*/ 2092760 w 2433364"/>
                  <a:gd name="connsiteY16" fmla="*/ 882655 h 1719607"/>
                  <a:gd name="connsiteX17" fmla="*/ 2092760 w 2433364"/>
                  <a:gd name="connsiteY17" fmla="*/ 900935 h 1719607"/>
                  <a:gd name="connsiteX18" fmla="*/ 2053429 w 2433364"/>
                  <a:gd name="connsiteY18" fmla="*/ 900935 h 1719607"/>
                  <a:gd name="connsiteX19" fmla="*/ 2003805 w 2433364"/>
                  <a:gd name="connsiteY19" fmla="*/ 851311 h 1719607"/>
                  <a:gd name="connsiteX20" fmla="*/ 2003805 w 2433364"/>
                  <a:gd name="connsiteY20" fmla="*/ 750172 h 1719607"/>
                  <a:gd name="connsiteX21" fmla="*/ 1971052 w 2433364"/>
                  <a:gd name="connsiteY21" fmla="*/ 750172 h 1719607"/>
                  <a:gd name="connsiteX22" fmla="*/ 1878142 w 2433364"/>
                  <a:gd name="connsiteY22" fmla="*/ 657263 h 1719607"/>
                  <a:gd name="connsiteX23" fmla="*/ 1864336 w 2433364"/>
                  <a:gd name="connsiteY23" fmla="*/ 671069 h 1719607"/>
                  <a:gd name="connsiteX24" fmla="*/ 1766624 w 2433364"/>
                  <a:gd name="connsiteY24" fmla="*/ 671069 h 1719607"/>
                  <a:gd name="connsiteX25" fmla="*/ 1747760 w 2433364"/>
                  <a:gd name="connsiteY25" fmla="*/ 689933 h 1719607"/>
                  <a:gd name="connsiteX26" fmla="*/ 1770855 w 2433364"/>
                  <a:gd name="connsiteY26" fmla="*/ 713024 h 1719607"/>
                  <a:gd name="connsiteX27" fmla="*/ 1770855 w 2433364"/>
                  <a:gd name="connsiteY27" fmla="*/ 825411 h 1719607"/>
                  <a:gd name="connsiteX28" fmla="*/ 1761068 w 2433364"/>
                  <a:gd name="connsiteY28" fmla="*/ 835197 h 1719607"/>
                  <a:gd name="connsiteX29" fmla="*/ 1761068 w 2433364"/>
                  <a:gd name="connsiteY29" fmla="*/ 860817 h 1719607"/>
                  <a:gd name="connsiteX30" fmla="*/ 1735671 w 2433364"/>
                  <a:gd name="connsiteY30" fmla="*/ 860817 h 1719607"/>
                  <a:gd name="connsiteX31" fmla="*/ 1735671 w 2433364"/>
                  <a:gd name="connsiteY31" fmla="*/ 901585 h 1719607"/>
                  <a:gd name="connsiteX32" fmla="*/ 1777873 w 2433364"/>
                  <a:gd name="connsiteY32" fmla="*/ 901585 h 1719607"/>
                  <a:gd name="connsiteX33" fmla="*/ 1777873 w 2433364"/>
                  <a:gd name="connsiteY33" fmla="*/ 999482 h 1719607"/>
                  <a:gd name="connsiteX34" fmla="*/ 1813105 w 2433364"/>
                  <a:gd name="connsiteY34" fmla="*/ 999482 h 1719607"/>
                  <a:gd name="connsiteX35" fmla="*/ 1813105 w 2433364"/>
                  <a:gd name="connsiteY35" fmla="*/ 1027256 h 1719607"/>
                  <a:gd name="connsiteX36" fmla="*/ 1722277 w 2433364"/>
                  <a:gd name="connsiteY36" fmla="*/ 1118085 h 1719607"/>
                  <a:gd name="connsiteX37" fmla="*/ 1722277 w 2433364"/>
                  <a:gd name="connsiteY37" fmla="*/ 1207419 h 1719607"/>
                  <a:gd name="connsiteX38" fmla="*/ 1747644 w 2433364"/>
                  <a:gd name="connsiteY38" fmla="*/ 1232787 h 1719607"/>
                  <a:gd name="connsiteX39" fmla="*/ 1700175 w 2433364"/>
                  <a:gd name="connsiteY39" fmla="*/ 1280257 h 1719607"/>
                  <a:gd name="connsiteX40" fmla="*/ 1626406 w 2433364"/>
                  <a:gd name="connsiteY40" fmla="*/ 1206488 h 1719607"/>
                  <a:gd name="connsiteX41" fmla="*/ 1626406 w 2433364"/>
                  <a:gd name="connsiteY41" fmla="*/ 1084941 h 1719607"/>
                  <a:gd name="connsiteX42" fmla="*/ 1552596 w 2433364"/>
                  <a:gd name="connsiteY42" fmla="*/ 1084941 h 1719607"/>
                  <a:gd name="connsiteX43" fmla="*/ 1445332 w 2433364"/>
                  <a:gd name="connsiteY43" fmla="*/ 977677 h 1719607"/>
                  <a:gd name="connsiteX44" fmla="*/ 1391355 w 2433364"/>
                  <a:gd name="connsiteY44" fmla="*/ 977677 h 1719607"/>
                  <a:gd name="connsiteX45" fmla="*/ 1376713 w 2433364"/>
                  <a:gd name="connsiteY45" fmla="*/ 963030 h 1719607"/>
                  <a:gd name="connsiteX46" fmla="*/ 1336842 w 2433364"/>
                  <a:gd name="connsiteY46" fmla="*/ 963030 h 1719607"/>
                  <a:gd name="connsiteX47" fmla="*/ 1336842 w 2433364"/>
                  <a:gd name="connsiteY47" fmla="*/ 882861 h 1719607"/>
                  <a:gd name="connsiteX48" fmla="*/ 1277073 w 2433364"/>
                  <a:gd name="connsiteY48" fmla="*/ 882861 h 1719607"/>
                  <a:gd name="connsiteX49" fmla="*/ 1277073 w 2433364"/>
                  <a:gd name="connsiteY49" fmla="*/ 731933 h 1719607"/>
                  <a:gd name="connsiteX50" fmla="*/ 1388846 w 2433364"/>
                  <a:gd name="connsiteY50" fmla="*/ 620160 h 1719607"/>
                  <a:gd name="connsiteX51" fmla="*/ 1388846 w 2433364"/>
                  <a:gd name="connsiteY51" fmla="*/ 591283 h 1719607"/>
                  <a:gd name="connsiteX52" fmla="*/ 1424240 w 2433364"/>
                  <a:gd name="connsiteY52" fmla="*/ 555889 h 1719607"/>
                  <a:gd name="connsiteX53" fmla="*/ 1457788 w 2433364"/>
                  <a:gd name="connsiteY53" fmla="*/ 555889 h 1719607"/>
                  <a:gd name="connsiteX54" fmla="*/ 1507874 w 2433364"/>
                  <a:gd name="connsiteY54" fmla="*/ 505804 h 1719607"/>
                  <a:gd name="connsiteX55" fmla="*/ 1493177 w 2433364"/>
                  <a:gd name="connsiteY55" fmla="*/ 491108 h 1719607"/>
                  <a:gd name="connsiteX56" fmla="*/ 1439047 w 2433364"/>
                  <a:gd name="connsiteY56" fmla="*/ 491108 h 1719607"/>
                  <a:gd name="connsiteX57" fmla="*/ 1406360 w 2433364"/>
                  <a:gd name="connsiteY57" fmla="*/ 458421 h 1719607"/>
                  <a:gd name="connsiteX58" fmla="*/ 1428973 w 2433364"/>
                  <a:gd name="connsiteY58" fmla="*/ 435808 h 1719607"/>
                  <a:gd name="connsiteX59" fmla="*/ 1471636 w 2433364"/>
                  <a:gd name="connsiteY59" fmla="*/ 478472 h 1719607"/>
                  <a:gd name="connsiteX60" fmla="*/ 1496691 w 2433364"/>
                  <a:gd name="connsiteY60" fmla="*/ 478472 h 1719607"/>
                  <a:gd name="connsiteX61" fmla="*/ 1496691 w 2433364"/>
                  <a:gd name="connsiteY61" fmla="*/ 386530 h 1719607"/>
                  <a:gd name="connsiteX62" fmla="*/ 1545236 w 2433364"/>
                  <a:gd name="connsiteY62" fmla="*/ 386530 h 1719607"/>
                  <a:gd name="connsiteX63" fmla="*/ 1545236 w 2433364"/>
                  <a:gd name="connsiteY63" fmla="*/ 404649 h 1719607"/>
                  <a:gd name="connsiteX64" fmla="*/ 1589563 w 2433364"/>
                  <a:gd name="connsiteY64" fmla="*/ 404649 h 1719607"/>
                  <a:gd name="connsiteX65" fmla="*/ 1660877 w 2433364"/>
                  <a:gd name="connsiteY65" fmla="*/ 333335 h 1719607"/>
                  <a:gd name="connsiteX66" fmla="*/ 1603897 w 2433364"/>
                  <a:gd name="connsiteY66" fmla="*/ 276355 h 1719607"/>
                  <a:gd name="connsiteX67" fmla="*/ 1618300 w 2433364"/>
                  <a:gd name="connsiteY67" fmla="*/ 261951 h 1719607"/>
                  <a:gd name="connsiteX68" fmla="*/ 1644595 w 2433364"/>
                  <a:gd name="connsiteY68" fmla="*/ 261951 h 1719607"/>
                  <a:gd name="connsiteX69" fmla="*/ 1657462 w 2433364"/>
                  <a:gd name="connsiteY69" fmla="*/ 249084 h 1719607"/>
                  <a:gd name="connsiteX70" fmla="*/ 1571205 w 2433364"/>
                  <a:gd name="connsiteY70" fmla="*/ 162827 h 1719607"/>
                  <a:gd name="connsiteX71" fmla="*/ 1556439 w 2433364"/>
                  <a:gd name="connsiteY71" fmla="*/ 177593 h 1719607"/>
                  <a:gd name="connsiteX72" fmla="*/ 1556439 w 2433364"/>
                  <a:gd name="connsiteY72" fmla="*/ 322955 h 1719607"/>
                  <a:gd name="connsiteX73" fmla="*/ 1494837 w 2433364"/>
                  <a:gd name="connsiteY73" fmla="*/ 322955 h 1719607"/>
                  <a:gd name="connsiteX74" fmla="*/ 1454575 w 2433364"/>
                  <a:gd name="connsiteY74" fmla="*/ 282694 h 1719607"/>
                  <a:gd name="connsiteX75" fmla="*/ 1472295 w 2433364"/>
                  <a:gd name="connsiteY75" fmla="*/ 264974 h 1719607"/>
                  <a:gd name="connsiteX76" fmla="*/ 1428503 w 2433364"/>
                  <a:gd name="connsiteY76" fmla="*/ 221183 h 1719607"/>
                  <a:gd name="connsiteX77" fmla="*/ 1428503 w 2433364"/>
                  <a:gd name="connsiteY77" fmla="*/ 271087 h 1719607"/>
                  <a:gd name="connsiteX78" fmla="*/ 1406001 w 2433364"/>
                  <a:gd name="connsiteY78" fmla="*/ 271087 h 1719607"/>
                  <a:gd name="connsiteX79" fmla="*/ 1406001 w 2433364"/>
                  <a:gd name="connsiteY79" fmla="*/ 181110 h 1719607"/>
                  <a:gd name="connsiteX80" fmla="*/ 1348008 w 2433364"/>
                  <a:gd name="connsiteY80" fmla="*/ 181110 h 1719607"/>
                  <a:gd name="connsiteX81" fmla="*/ 1348008 w 2433364"/>
                  <a:gd name="connsiteY81" fmla="*/ 140885 h 1719607"/>
                  <a:gd name="connsiteX82" fmla="*/ 1366572 w 2433364"/>
                  <a:gd name="connsiteY82" fmla="*/ 122322 h 1719607"/>
                  <a:gd name="connsiteX83" fmla="*/ 1332747 w 2433364"/>
                  <a:gd name="connsiteY83" fmla="*/ 88498 h 1719607"/>
                  <a:gd name="connsiteX84" fmla="*/ 1349054 w 2433364"/>
                  <a:gd name="connsiteY84" fmla="*/ 72191 h 1719607"/>
                  <a:gd name="connsiteX85" fmla="*/ 1349054 w 2433364"/>
                  <a:gd name="connsiteY85" fmla="*/ 40299 h 1719607"/>
                  <a:gd name="connsiteX86" fmla="*/ 1308751 w 2433364"/>
                  <a:gd name="connsiteY86" fmla="*/ 0 h 1719607"/>
                  <a:gd name="connsiteX87" fmla="*/ 1275887 w 2433364"/>
                  <a:gd name="connsiteY87" fmla="*/ 0 h 1719607"/>
                  <a:gd name="connsiteX88" fmla="*/ 1275887 w 2433364"/>
                  <a:gd name="connsiteY88" fmla="*/ 41732 h 1719607"/>
                  <a:gd name="connsiteX89" fmla="*/ 1253621 w 2433364"/>
                  <a:gd name="connsiteY89" fmla="*/ 41732 h 1719607"/>
                  <a:gd name="connsiteX90" fmla="*/ 1253621 w 2433364"/>
                  <a:gd name="connsiteY90" fmla="*/ 152991 h 1719607"/>
                  <a:gd name="connsiteX91" fmla="*/ 1294566 w 2433364"/>
                  <a:gd name="connsiteY91" fmla="*/ 193941 h 1719607"/>
                  <a:gd name="connsiteX92" fmla="*/ 1294566 w 2433364"/>
                  <a:gd name="connsiteY92" fmla="*/ 211503 h 1719607"/>
                  <a:gd name="connsiteX93" fmla="*/ 1316462 w 2433364"/>
                  <a:gd name="connsiteY93" fmla="*/ 233399 h 1719607"/>
                  <a:gd name="connsiteX94" fmla="*/ 1316462 w 2433364"/>
                  <a:gd name="connsiteY94" fmla="*/ 260057 h 1719607"/>
                  <a:gd name="connsiteX95" fmla="*/ 1282967 w 2433364"/>
                  <a:gd name="connsiteY95" fmla="*/ 293551 h 1719607"/>
                  <a:gd name="connsiteX96" fmla="*/ 1266694 w 2433364"/>
                  <a:gd name="connsiteY96" fmla="*/ 293551 h 1719607"/>
                  <a:gd name="connsiteX97" fmla="*/ 1266694 w 2433364"/>
                  <a:gd name="connsiteY97" fmla="*/ 342788 h 1719607"/>
                  <a:gd name="connsiteX98" fmla="*/ 1241103 w 2433364"/>
                  <a:gd name="connsiteY98" fmla="*/ 317197 h 1719607"/>
                  <a:gd name="connsiteX99" fmla="*/ 1241103 w 2433364"/>
                  <a:gd name="connsiteY99" fmla="*/ 279522 h 1719607"/>
                  <a:gd name="connsiteX100" fmla="*/ 1195116 w 2433364"/>
                  <a:gd name="connsiteY100" fmla="*/ 279522 h 1719607"/>
                  <a:gd name="connsiteX101" fmla="*/ 1195116 w 2433364"/>
                  <a:gd name="connsiteY101" fmla="*/ 290643 h 1719607"/>
                  <a:gd name="connsiteX102" fmla="*/ 1180646 w 2433364"/>
                  <a:gd name="connsiteY102" fmla="*/ 305113 h 1719607"/>
                  <a:gd name="connsiteX103" fmla="*/ 1070702 w 2433364"/>
                  <a:gd name="connsiteY103" fmla="*/ 305113 h 1719607"/>
                  <a:gd name="connsiteX104" fmla="*/ 1047574 w 2433364"/>
                  <a:gd name="connsiteY104" fmla="*/ 281985 h 1719607"/>
                  <a:gd name="connsiteX105" fmla="*/ 1009071 w 2433364"/>
                  <a:gd name="connsiteY105" fmla="*/ 281985 h 1719607"/>
                  <a:gd name="connsiteX106" fmla="*/ 1009071 w 2433364"/>
                  <a:gd name="connsiteY106" fmla="*/ 243317 h 1719607"/>
                  <a:gd name="connsiteX107" fmla="*/ 988395 w 2433364"/>
                  <a:gd name="connsiteY107" fmla="*/ 222640 h 1719607"/>
                  <a:gd name="connsiteX108" fmla="*/ 944871 w 2433364"/>
                  <a:gd name="connsiteY108" fmla="*/ 266165 h 1719607"/>
                  <a:gd name="connsiteX109" fmla="*/ 944871 w 2433364"/>
                  <a:gd name="connsiteY109" fmla="*/ 283740 h 1719607"/>
                  <a:gd name="connsiteX110" fmla="*/ 962096 w 2433364"/>
                  <a:gd name="connsiteY110" fmla="*/ 300965 h 1719607"/>
                  <a:gd name="connsiteX111" fmla="*/ 962096 w 2433364"/>
                  <a:gd name="connsiteY111" fmla="*/ 349213 h 1719607"/>
                  <a:gd name="connsiteX112" fmla="*/ 935257 w 2433364"/>
                  <a:gd name="connsiteY112" fmla="*/ 376052 h 1719607"/>
                  <a:gd name="connsiteX113" fmla="*/ 935257 w 2433364"/>
                  <a:gd name="connsiteY113" fmla="*/ 341474 h 1719607"/>
                  <a:gd name="connsiteX114" fmla="*/ 890464 w 2433364"/>
                  <a:gd name="connsiteY114" fmla="*/ 296681 h 1719607"/>
                  <a:gd name="connsiteX115" fmla="*/ 726962 w 2433364"/>
                  <a:gd name="connsiteY115" fmla="*/ 296681 h 1719607"/>
                  <a:gd name="connsiteX116" fmla="*/ 726962 w 2433364"/>
                  <a:gd name="connsiteY116" fmla="*/ 276862 h 1719607"/>
                  <a:gd name="connsiteX117" fmla="*/ 759996 w 2433364"/>
                  <a:gd name="connsiteY117" fmla="*/ 276862 h 1719607"/>
                  <a:gd name="connsiteX118" fmla="*/ 719853 w 2433364"/>
                  <a:gd name="connsiteY118" fmla="*/ 236719 h 1719607"/>
                  <a:gd name="connsiteX119" fmla="*/ 665801 w 2433364"/>
                  <a:gd name="connsiteY119" fmla="*/ 236719 h 1719607"/>
                  <a:gd name="connsiteX120" fmla="*/ 604978 w 2433364"/>
                  <a:gd name="connsiteY120" fmla="*/ 175896 h 1719607"/>
                  <a:gd name="connsiteX121" fmla="*/ 534352 w 2433364"/>
                  <a:gd name="connsiteY121" fmla="*/ 175896 h 1719607"/>
                  <a:gd name="connsiteX122" fmla="*/ 519463 w 2433364"/>
                  <a:gd name="connsiteY122" fmla="*/ 161006 h 1719607"/>
                  <a:gd name="connsiteX123" fmla="*/ 519463 w 2433364"/>
                  <a:gd name="connsiteY123" fmla="*/ 203603 h 1719607"/>
                  <a:gd name="connsiteX124" fmla="*/ 492875 w 2433364"/>
                  <a:gd name="connsiteY124" fmla="*/ 203603 h 1719607"/>
                  <a:gd name="connsiteX125" fmla="*/ 492875 w 2433364"/>
                  <a:gd name="connsiteY125" fmla="*/ 142372 h 1719607"/>
                  <a:gd name="connsiteX126" fmla="*/ 469183 w 2433364"/>
                  <a:gd name="connsiteY126" fmla="*/ 142372 h 1719607"/>
                  <a:gd name="connsiteX127" fmla="*/ 469183 w 2433364"/>
                  <a:gd name="connsiteY127" fmla="*/ 189546 h 1719607"/>
                  <a:gd name="connsiteX128" fmla="*/ 435701 w 2433364"/>
                  <a:gd name="connsiteY128" fmla="*/ 189546 h 1719607"/>
                  <a:gd name="connsiteX129" fmla="*/ 435701 w 2433364"/>
                  <a:gd name="connsiteY129" fmla="*/ 128953 h 1719607"/>
                  <a:gd name="connsiteX130" fmla="*/ 403903 w 2433364"/>
                  <a:gd name="connsiteY130" fmla="*/ 97156 h 1719607"/>
                  <a:gd name="connsiteX131" fmla="*/ 383215 w 2433364"/>
                  <a:gd name="connsiteY131" fmla="*/ 117845 h 1719607"/>
                  <a:gd name="connsiteX132" fmla="*/ 383215 w 2433364"/>
                  <a:gd name="connsiteY132" fmla="*/ 144555 h 1719607"/>
                  <a:gd name="connsiteX133" fmla="*/ 350696 w 2433364"/>
                  <a:gd name="connsiteY133" fmla="*/ 144555 h 1719607"/>
                  <a:gd name="connsiteX134" fmla="*/ 335168 w 2433364"/>
                  <a:gd name="connsiteY134" fmla="*/ 129027 h 1719607"/>
                  <a:gd name="connsiteX135" fmla="*/ 224066 w 2433364"/>
                  <a:gd name="connsiteY135" fmla="*/ 240130 h 1719607"/>
                  <a:gd name="connsiteX136" fmla="*/ 160615 w 2433364"/>
                  <a:gd name="connsiteY136" fmla="*/ 240130 h 1719607"/>
                  <a:gd name="connsiteX137" fmla="*/ 115863 w 2433364"/>
                  <a:gd name="connsiteY137" fmla="*/ 195378 h 1719607"/>
                  <a:gd name="connsiteX138" fmla="*/ 73917 w 2433364"/>
                  <a:gd name="connsiteY138" fmla="*/ 195378 h 1719607"/>
                  <a:gd name="connsiteX139" fmla="*/ 0 w 2433364"/>
                  <a:gd name="connsiteY139" fmla="*/ 121465 h 1719607"/>
                  <a:gd name="connsiteX140" fmla="*/ 0 w 2433364"/>
                  <a:gd name="connsiteY140" fmla="*/ 787056 h 1719607"/>
                  <a:gd name="connsiteX141" fmla="*/ 17678 w 2433364"/>
                  <a:gd name="connsiteY141" fmla="*/ 787056 h 1719607"/>
                  <a:gd name="connsiteX142" fmla="*/ 17678 w 2433364"/>
                  <a:gd name="connsiteY142" fmla="*/ 864380 h 1719607"/>
                  <a:gd name="connsiteX143" fmla="*/ 61907 w 2433364"/>
                  <a:gd name="connsiteY143" fmla="*/ 908612 h 1719607"/>
                  <a:gd name="connsiteX144" fmla="*/ 147023 w 2433364"/>
                  <a:gd name="connsiteY144" fmla="*/ 908612 h 1719607"/>
                  <a:gd name="connsiteX145" fmla="*/ 147023 w 2433364"/>
                  <a:gd name="connsiteY145" fmla="*/ 992538 h 1719607"/>
                  <a:gd name="connsiteX146" fmla="*/ 244800 w 2433364"/>
                  <a:gd name="connsiteY146" fmla="*/ 1090311 h 1719607"/>
                  <a:gd name="connsiteX147" fmla="*/ 244800 w 2433364"/>
                  <a:gd name="connsiteY147" fmla="*/ 1143189 h 1719607"/>
                  <a:gd name="connsiteX148" fmla="*/ 287776 w 2433364"/>
                  <a:gd name="connsiteY148" fmla="*/ 1186166 h 1719607"/>
                  <a:gd name="connsiteX149" fmla="*/ 287776 w 2433364"/>
                  <a:gd name="connsiteY149" fmla="*/ 1249596 h 1719607"/>
                  <a:gd name="connsiteX150" fmla="*/ 314409 w 2433364"/>
                  <a:gd name="connsiteY150" fmla="*/ 1276228 h 1719607"/>
                  <a:gd name="connsiteX151" fmla="*/ 314409 w 2433364"/>
                  <a:gd name="connsiteY151" fmla="*/ 1321297 h 1719607"/>
                  <a:gd name="connsiteX152" fmla="*/ 374779 w 2433364"/>
                  <a:gd name="connsiteY152" fmla="*/ 1321297 h 1719607"/>
                  <a:gd name="connsiteX153" fmla="*/ 374779 w 2433364"/>
                  <a:gd name="connsiteY153" fmla="*/ 1403897 h 1719607"/>
                  <a:gd name="connsiteX154" fmla="*/ 1263094 w 2433364"/>
                  <a:gd name="connsiteY154" fmla="*/ 1403897 h 1719607"/>
                  <a:gd name="connsiteX155" fmla="*/ 1306119 w 2433364"/>
                  <a:gd name="connsiteY155" fmla="*/ 1446931 h 1719607"/>
                  <a:gd name="connsiteX156" fmla="*/ 1407418 w 2433364"/>
                  <a:gd name="connsiteY156" fmla="*/ 1446931 h 1719607"/>
                  <a:gd name="connsiteX157" fmla="*/ 1447215 w 2433364"/>
                  <a:gd name="connsiteY157" fmla="*/ 1407126 h 1719607"/>
                  <a:gd name="connsiteX158" fmla="*/ 1511782 w 2433364"/>
                  <a:gd name="connsiteY158" fmla="*/ 1407126 h 1719607"/>
                  <a:gd name="connsiteX159" fmla="*/ 1590082 w 2433364"/>
                  <a:gd name="connsiteY159" fmla="*/ 1485425 h 1719607"/>
                  <a:gd name="connsiteX160" fmla="*/ 1590082 w 2433364"/>
                  <a:gd name="connsiteY160" fmla="*/ 1539028 h 1719607"/>
                  <a:gd name="connsiteX161" fmla="*/ 1679206 w 2433364"/>
                  <a:gd name="connsiteY161" fmla="*/ 1539028 h 1719607"/>
                  <a:gd name="connsiteX162" fmla="*/ 1723994 w 2433364"/>
                  <a:gd name="connsiteY162" fmla="*/ 1583817 h 1719607"/>
                  <a:gd name="connsiteX163" fmla="*/ 1704149 w 2433364"/>
                  <a:gd name="connsiteY163" fmla="*/ 1603661 h 1719607"/>
                  <a:gd name="connsiteX164" fmla="*/ 1613535 w 2433364"/>
                  <a:gd name="connsiteY164" fmla="*/ 1694285 h 1719607"/>
                  <a:gd name="connsiteX165" fmla="*/ 1638865 w 2433364"/>
                  <a:gd name="connsiteY165" fmla="*/ 1719608 h 1719607"/>
                  <a:gd name="connsiteX166" fmla="*/ 1678044 w 2433364"/>
                  <a:gd name="connsiteY166" fmla="*/ 1680420 h 1719607"/>
                  <a:gd name="connsiteX167" fmla="*/ 1726853 w 2433364"/>
                  <a:gd name="connsiteY167" fmla="*/ 1680420 h 1719607"/>
                  <a:gd name="connsiteX168" fmla="*/ 1798233 w 2433364"/>
                  <a:gd name="connsiteY168" fmla="*/ 1609024 h 1719607"/>
                  <a:gd name="connsiteX169" fmla="*/ 1845929 w 2433364"/>
                  <a:gd name="connsiteY169" fmla="*/ 1609024 h 1719607"/>
                  <a:gd name="connsiteX170" fmla="*/ 1896747 w 2433364"/>
                  <a:gd name="connsiteY170" fmla="*/ 1558222 h 1719607"/>
                  <a:gd name="connsiteX171" fmla="*/ 2010947 w 2433364"/>
                  <a:gd name="connsiteY171" fmla="*/ 1558222 h 1719607"/>
                  <a:gd name="connsiteX172" fmla="*/ 2019786 w 2433364"/>
                  <a:gd name="connsiteY172" fmla="*/ 1558222 h 1719607"/>
                  <a:gd name="connsiteX173" fmla="*/ 2056592 w 2433364"/>
                  <a:gd name="connsiteY173" fmla="*/ 1521408 h 1719607"/>
                  <a:gd name="connsiteX174" fmla="*/ 2111068 w 2433364"/>
                  <a:gd name="connsiteY174" fmla="*/ 1521408 h 1719607"/>
                  <a:gd name="connsiteX175" fmla="*/ 2111068 w 2433364"/>
                  <a:gd name="connsiteY175" fmla="*/ 1612591 h 1719607"/>
                  <a:gd name="connsiteX176" fmla="*/ 2119508 w 2433364"/>
                  <a:gd name="connsiteY176" fmla="*/ 1612591 h 1719607"/>
                  <a:gd name="connsiteX177" fmla="*/ 2119508 w 2433364"/>
                  <a:gd name="connsiteY177" fmla="*/ 1567333 h 1719607"/>
                  <a:gd name="connsiteX178" fmla="*/ 2142001 w 2433364"/>
                  <a:gd name="connsiteY178" fmla="*/ 1567333 h 1719607"/>
                  <a:gd name="connsiteX179" fmla="*/ 2170120 w 2433364"/>
                  <a:gd name="connsiteY179" fmla="*/ 1539218 h 1719607"/>
                  <a:gd name="connsiteX180" fmla="*/ 2187691 w 2433364"/>
                  <a:gd name="connsiteY180" fmla="*/ 1556789 h 1719607"/>
                  <a:gd name="connsiteX181" fmla="*/ 2218616 w 2433364"/>
                  <a:gd name="connsiteY181" fmla="*/ 1556789 h 1719607"/>
                  <a:gd name="connsiteX182" fmla="*/ 2190500 w 2433364"/>
                  <a:gd name="connsiteY182" fmla="*/ 1584904 h 1719607"/>
                  <a:gd name="connsiteX183" fmla="*/ 2179074 w 2433364"/>
                  <a:gd name="connsiteY183" fmla="*/ 1573478 h 1719607"/>
                  <a:gd name="connsiteX184" fmla="*/ 2139550 w 2433364"/>
                  <a:gd name="connsiteY184" fmla="*/ 1613003 h 1719607"/>
                  <a:gd name="connsiteX185" fmla="*/ 2173469 w 2433364"/>
                  <a:gd name="connsiteY185" fmla="*/ 1646922 h 1719607"/>
                  <a:gd name="connsiteX186" fmla="*/ 2210884 w 2433364"/>
                  <a:gd name="connsiteY186" fmla="*/ 1609506 h 1719607"/>
                  <a:gd name="connsiteX187" fmla="*/ 2233308 w 2433364"/>
                  <a:gd name="connsiteY187" fmla="*/ 1609506 h 1719607"/>
                  <a:gd name="connsiteX188" fmla="*/ 2277631 w 2433364"/>
                  <a:gd name="connsiteY188" fmla="*/ 1565183 h 1719607"/>
                  <a:gd name="connsiteX189" fmla="*/ 2257102 w 2433364"/>
                  <a:gd name="connsiteY189" fmla="*/ 1544654 h 1719607"/>
                  <a:gd name="connsiteX190" fmla="*/ 2201996 w 2433364"/>
                  <a:gd name="connsiteY190" fmla="*/ 1544654 h 1719607"/>
                  <a:gd name="connsiteX191" fmla="*/ 2152409 w 2433364"/>
                  <a:gd name="connsiteY191" fmla="*/ 1495064 h 1719607"/>
                  <a:gd name="connsiteX192" fmla="*/ 2178556 w 2433364"/>
                  <a:gd name="connsiteY192" fmla="*/ 1468917 h 1719607"/>
                  <a:gd name="connsiteX193" fmla="*/ 2148187 w 2433364"/>
                  <a:gd name="connsiteY193" fmla="*/ 1438549 h 1719607"/>
                  <a:gd name="connsiteX194" fmla="*/ 2181661 w 2433364"/>
                  <a:gd name="connsiteY194" fmla="*/ 1405074 h 1719607"/>
                  <a:gd name="connsiteX195" fmla="*/ 2162335 w 2433364"/>
                  <a:gd name="connsiteY195" fmla="*/ 1385749 h 1719607"/>
                  <a:gd name="connsiteX196" fmla="*/ 2105907 w 2433364"/>
                  <a:gd name="connsiteY196" fmla="*/ 1385749 h 1719607"/>
                  <a:gd name="connsiteX197" fmla="*/ 1994500 w 2433364"/>
                  <a:gd name="connsiteY197" fmla="*/ 1497156 h 1719607"/>
                  <a:gd name="connsiteX198" fmla="*/ 1994500 w 2433364"/>
                  <a:gd name="connsiteY198" fmla="*/ 1468917 h 1719607"/>
                  <a:gd name="connsiteX199" fmla="*/ 2139488 w 2433364"/>
                  <a:gd name="connsiteY199" fmla="*/ 1323929 h 1719607"/>
                  <a:gd name="connsiteX200" fmla="*/ 2249544 w 2433364"/>
                  <a:gd name="connsiteY200" fmla="*/ 1323929 h 1719607"/>
                  <a:gd name="connsiteX201" fmla="*/ 2262848 w 2433364"/>
                  <a:gd name="connsiteY201" fmla="*/ 1337233 h 1719607"/>
                  <a:gd name="connsiteX202" fmla="*/ 2305087 w 2433364"/>
                  <a:gd name="connsiteY202" fmla="*/ 1337233 h 1719607"/>
                  <a:gd name="connsiteX203" fmla="*/ 2400216 w 2433364"/>
                  <a:gd name="connsiteY203" fmla="*/ 1242099 h 1719607"/>
                  <a:gd name="connsiteX204" fmla="*/ 2400216 w 2433364"/>
                  <a:gd name="connsiteY204" fmla="*/ 1268613 h 1719607"/>
                  <a:gd name="connsiteX205" fmla="*/ 2433364 w 2433364"/>
                  <a:gd name="connsiteY205" fmla="*/ 1235464 h 1719607"/>
                  <a:gd name="connsiteX206" fmla="*/ 2433364 w 2433364"/>
                  <a:gd name="connsiteY206" fmla="*/ 1169843 h 17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</a:cxnLst>
                <a:rect l="l" t="t" r="r" b="b"/>
                <a:pathLst>
                  <a:path w="2433364" h="1719607">
                    <a:moveTo>
                      <a:pt x="2380264" y="1116747"/>
                    </a:moveTo>
                    <a:lnTo>
                      <a:pt x="2309988" y="1187022"/>
                    </a:lnTo>
                    <a:lnTo>
                      <a:pt x="2292430" y="1169464"/>
                    </a:lnTo>
                    <a:lnTo>
                      <a:pt x="2362298" y="1099596"/>
                    </a:lnTo>
                    <a:lnTo>
                      <a:pt x="2342173" y="1079470"/>
                    </a:lnTo>
                    <a:lnTo>
                      <a:pt x="2292434" y="1079470"/>
                    </a:lnTo>
                    <a:lnTo>
                      <a:pt x="2241826" y="1028862"/>
                    </a:lnTo>
                    <a:lnTo>
                      <a:pt x="2241826" y="978258"/>
                    </a:lnTo>
                    <a:lnTo>
                      <a:pt x="2191913" y="928346"/>
                    </a:lnTo>
                    <a:lnTo>
                      <a:pt x="2206737" y="913522"/>
                    </a:lnTo>
                    <a:lnTo>
                      <a:pt x="2206737" y="893026"/>
                    </a:lnTo>
                    <a:lnTo>
                      <a:pt x="2163563" y="849852"/>
                    </a:lnTo>
                    <a:lnTo>
                      <a:pt x="2175302" y="838113"/>
                    </a:lnTo>
                    <a:lnTo>
                      <a:pt x="2133503" y="796315"/>
                    </a:lnTo>
                    <a:lnTo>
                      <a:pt x="2113605" y="816213"/>
                    </a:lnTo>
                    <a:lnTo>
                      <a:pt x="2113605" y="882655"/>
                    </a:lnTo>
                    <a:lnTo>
                      <a:pt x="2092760" y="882655"/>
                    </a:lnTo>
                    <a:lnTo>
                      <a:pt x="2092760" y="900935"/>
                    </a:lnTo>
                    <a:lnTo>
                      <a:pt x="2053429" y="900935"/>
                    </a:lnTo>
                    <a:lnTo>
                      <a:pt x="2003805" y="851311"/>
                    </a:lnTo>
                    <a:lnTo>
                      <a:pt x="2003805" y="750172"/>
                    </a:lnTo>
                    <a:lnTo>
                      <a:pt x="1971052" y="750172"/>
                    </a:lnTo>
                    <a:lnTo>
                      <a:pt x="1878142" y="657263"/>
                    </a:lnTo>
                    <a:lnTo>
                      <a:pt x="1864336" y="671069"/>
                    </a:lnTo>
                    <a:lnTo>
                      <a:pt x="1766624" y="671069"/>
                    </a:lnTo>
                    <a:lnTo>
                      <a:pt x="1747760" y="689933"/>
                    </a:lnTo>
                    <a:lnTo>
                      <a:pt x="1770855" y="713024"/>
                    </a:lnTo>
                    <a:lnTo>
                      <a:pt x="1770855" y="825411"/>
                    </a:lnTo>
                    <a:lnTo>
                      <a:pt x="1761068" y="835197"/>
                    </a:lnTo>
                    <a:lnTo>
                      <a:pt x="1761068" y="860817"/>
                    </a:lnTo>
                    <a:lnTo>
                      <a:pt x="1735671" y="860817"/>
                    </a:lnTo>
                    <a:lnTo>
                      <a:pt x="1735671" y="901585"/>
                    </a:lnTo>
                    <a:lnTo>
                      <a:pt x="1777873" y="901585"/>
                    </a:lnTo>
                    <a:lnTo>
                      <a:pt x="1777873" y="999482"/>
                    </a:lnTo>
                    <a:lnTo>
                      <a:pt x="1813105" y="999482"/>
                    </a:lnTo>
                    <a:lnTo>
                      <a:pt x="1813105" y="1027256"/>
                    </a:lnTo>
                    <a:lnTo>
                      <a:pt x="1722277" y="1118085"/>
                    </a:lnTo>
                    <a:lnTo>
                      <a:pt x="1722277" y="1207419"/>
                    </a:lnTo>
                    <a:lnTo>
                      <a:pt x="1747644" y="1232787"/>
                    </a:lnTo>
                    <a:lnTo>
                      <a:pt x="1700175" y="1280257"/>
                    </a:lnTo>
                    <a:lnTo>
                      <a:pt x="1626406" y="1206488"/>
                    </a:lnTo>
                    <a:lnTo>
                      <a:pt x="1626406" y="1084941"/>
                    </a:lnTo>
                    <a:lnTo>
                      <a:pt x="1552596" y="1084941"/>
                    </a:lnTo>
                    <a:lnTo>
                      <a:pt x="1445332" y="977677"/>
                    </a:lnTo>
                    <a:lnTo>
                      <a:pt x="1391355" y="977677"/>
                    </a:lnTo>
                    <a:lnTo>
                      <a:pt x="1376713" y="963030"/>
                    </a:lnTo>
                    <a:lnTo>
                      <a:pt x="1336842" y="963030"/>
                    </a:lnTo>
                    <a:lnTo>
                      <a:pt x="1336842" y="882861"/>
                    </a:lnTo>
                    <a:lnTo>
                      <a:pt x="1277073" y="882861"/>
                    </a:lnTo>
                    <a:lnTo>
                      <a:pt x="1277073" y="731933"/>
                    </a:lnTo>
                    <a:lnTo>
                      <a:pt x="1388846" y="620160"/>
                    </a:lnTo>
                    <a:lnTo>
                      <a:pt x="1388846" y="591283"/>
                    </a:lnTo>
                    <a:lnTo>
                      <a:pt x="1424240" y="555889"/>
                    </a:lnTo>
                    <a:lnTo>
                      <a:pt x="1457788" y="555889"/>
                    </a:lnTo>
                    <a:lnTo>
                      <a:pt x="1507874" y="505804"/>
                    </a:lnTo>
                    <a:lnTo>
                      <a:pt x="1493177" y="491108"/>
                    </a:lnTo>
                    <a:lnTo>
                      <a:pt x="1439047" y="491108"/>
                    </a:lnTo>
                    <a:lnTo>
                      <a:pt x="1406360" y="458421"/>
                    </a:lnTo>
                    <a:lnTo>
                      <a:pt x="1428973" y="435808"/>
                    </a:lnTo>
                    <a:lnTo>
                      <a:pt x="1471636" y="478472"/>
                    </a:lnTo>
                    <a:lnTo>
                      <a:pt x="1496691" y="478472"/>
                    </a:lnTo>
                    <a:lnTo>
                      <a:pt x="1496691" y="386530"/>
                    </a:lnTo>
                    <a:lnTo>
                      <a:pt x="1545236" y="386530"/>
                    </a:lnTo>
                    <a:lnTo>
                      <a:pt x="1545236" y="404649"/>
                    </a:lnTo>
                    <a:lnTo>
                      <a:pt x="1589563" y="404649"/>
                    </a:lnTo>
                    <a:lnTo>
                      <a:pt x="1660877" y="333335"/>
                    </a:lnTo>
                    <a:lnTo>
                      <a:pt x="1603897" y="276355"/>
                    </a:lnTo>
                    <a:lnTo>
                      <a:pt x="1618300" y="261951"/>
                    </a:lnTo>
                    <a:lnTo>
                      <a:pt x="1644595" y="261951"/>
                    </a:lnTo>
                    <a:lnTo>
                      <a:pt x="1657462" y="249084"/>
                    </a:lnTo>
                    <a:lnTo>
                      <a:pt x="1571205" y="162827"/>
                    </a:lnTo>
                    <a:lnTo>
                      <a:pt x="1556439" y="177593"/>
                    </a:lnTo>
                    <a:lnTo>
                      <a:pt x="1556439" y="322955"/>
                    </a:lnTo>
                    <a:lnTo>
                      <a:pt x="1494837" y="322955"/>
                    </a:lnTo>
                    <a:lnTo>
                      <a:pt x="1454575" y="282694"/>
                    </a:lnTo>
                    <a:lnTo>
                      <a:pt x="1472295" y="264974"/>
                    </a:lnTo>
                    <a:lnTo>
                      <a:pt x="1428503" y="221183"/>
                    </a:lnTo>
                    <a:lnTo>
                      <a:pt x="1428503" y="271087"/>
                    </a:lnTo>
                    <a:lnTo>
                      <a:pt x="1406001" y="271087"/>
                    </a:lnTo>
                    <a:lnTo>
                      <a:pt x="1406001" y="181110"/>
                    </a:lnTo>
                    <a:lnTo>
                      <a:pt x="1348008" y="181110"/>
                    </a:lnTo>
                    <a:lnTo>
                      <a:pt x="1348008" y="140885"/>
                    </a:lnTo>
                    <a:lnTo>
                      <a:pt x="1366572" y="122322"/>
                    </a:lnTo>
                    <a:lnTo>
                      <a:pt x="1332747" y="88498"/>
                    </a:lnTo>
                    <a:lnTo>
                      <a:pt x="1349054" y="72191"/>
                    </a:lnTo>
                    <a:lnTo>
                      <a:pt x="1349054" y="40299"/>
                    </a:lnTo>
                    <a:lnTo>
                      <a:pt x="1308751" y="0"/>
                    </a:lnTo>
                    <a:lnTo>
                      <a:pt x="1275887" y="0"/>
                    </a:lnTo>
                    <a:lnTo>
                      <a:pt x="1275887" y="41732"/>
                    </a:lnTo>
                    <a:lnTo>
                      <a:pt x="1253621" y="41732"/>
                    </a:lnTo>
                    <a:lnTo>
                      <a:pt x="1253621" y="152991"/>
                    </a:lnTo>
                    <a:lnTo>
                      <a:pt x="1294566" y="193941"/>
                    </a:lnTo>
                    <a:lnTo>
                      <a:pt x="1294566" y="211503"/>
                    </a:lnTo>
                    <a:lnTo>
                      <a:pt x="1316462" y="233399"/>
                    </a:lnTo>
                    <a:lnTo>
                      <a:pt x="1316462" y="260057"/>
                    </a:lnTo>
                    <a:lnTo>
                      <a:pt x="1282967" y="293551"/>
                    </a:lnTo>
                    <a:lnTo>
                      <a:pt x="1266694" y="293551"/>
                    </a:lnTo>
                    <a:lnTo>
                      <a:pt x="1266694" y="342788"/>
                    </a:lnTo>
                    <a:lnTo>
                      <a:pt x="1241103" y="317197"/>
                    </a:lnTo>
                    <a:lnTo>
                      <a:pt x="1241103" y="279522"/>
                    </a:lnTo>
                    <a:lnTo>
                      <a:pt x="1195116" y="279522"/>
                    </a:lnTo>
                    <a:lnTo>
                      <a:pt x="1195116" y="290643"/>
                    </a:lnTo>
                    <a:lnTo>
                      <a:pt x="1180646" y="305113"/>
                    </a:lnTo>
                    <a:lnTo>
                      <a:pt x="1070702" y="305113"/>
                    </a:lnTo>
                    <a:lnTo>
                      <a:pt x="1047574" y="281985"/>
                    </a:lnTo>
                    <a:lnTo>
                      <a:pt x="1009071" y="281985"/>
                    </a:lnTo>
                    <a:lnTo>
                      <a:pt x="1009071" y="243317"/>
                    </a:lnTo>
                    <a:lnTo>
                      <a:pt x="988395" y="222640"/>
                    </a:lnTo>
                    <a:lnTo>
                      <a:pt x="944871" y="266165"/>
                    </a:lnTo>
                    <a:lnTo>
                      <a:pt x="944871" y="283740"/>
                    </a:lnTo>
                    <a:lnTo>
                      <a:pt x="962096" y="300965"/>
                    </a:lnTo>
                    <a:lnTo>
                      <a:pt x="962096" y="349213"/>
                    </a:lnTo>
                    <a:lnTo>
                      <a:pt x="935257" y="376052"/>
                    </a:lnTo>
                    <a:lnTo>
                      <a:pt x="935257" y="341474"/>
                    </a:lnTo>
                    <a:lnTo>
                      <a:pt x="890464" y="296681"/>
                    </a:lnTo>
                    <a:lnTo>
                      <a:pt x="726962" y="296681"/>
                    </a:lnTo>
                    <a:lnTo>
                      <a:pt x="726962" y="276862"/>
                    </a:lnTo>
                    <a:lnTo>
                      <a:pt x="759996" y="276862"/>
                    </a:lnTo>
                    <a:lnTo>
                      <a:pt x="719853" y="236719"/>
                    </a:lnTo>
                    <a:lnTo>
                      <a:pt x="665801" y="236719"/>
                    </a:lnTo>
                    <a:lnTo>
                      <a:pt x="604978" y="175896"/>
                    </a:lnTo>
                    <a:lnTo>
                      <a:pt x="534352" y="175896"/>
                    </a:lnTo>
                    <a:lnTo>
                      <a:pt x="519463" y="161006"/>
                    </a:lnTo>
                    <a:lnTo>
                      <a:pt x="519463" y="203603"/>
                    </a:lnTo>
                    <a:lnTo>
                      <a:pt x="492875" y="203603"/>
                    </a:lnTo>
                    <a:lnTo>
                      <a:pt x="492875" y="142372"/>
                    </a:lnTo>
                    <a:lnTo>
                      <a:pt x="469183" y="142372"/>
                    </a:lnTo>
                    <a:lnTo>
                      <a:pt x="469183" y="189546"/>
                    </a:lnTo>
                    <a:lnTo>
                      <a:pt x="435701" y="189546"/>
                    </a:lnTo>
                    <a:lnTo>
                      <a:pt x="435701" y="128953"/>
                    </a:lnTo>
                    <a:lnTo>
                      <a:pt x="403903" y="97156"/>
                    </a:lnTo>
                    <a:lnTo>
                      <a:pt x="383215" y="117845"/>
                    </a:lnTo>
                    <a:lnTo>
                      <a:pt x="383215" y="144555"/>
                    </a:lnTo>
                    <a:lnTo>
                      <a:pt x="350696" y="144555"/>
                    </a:lnTo>
                    <a:lnTo>
                      <a:pt x="335168" y="129027"/>
                    </a:lnTo>
                    <a:lnTo>
                      <a:pt x="224066" y="240130"/>
                    </a:lnTo>
                    <a:lnTo>
                      <a:pt x="160615" y="240130"/>
                    </a:lnTo>
                    <a:lnTo>
                      <a:pt x="115863" y="195378"/>
                    </a:lnTo>
                    <a:lnTo>
                      <a:pt x="73917" y="195378"/>
                    </a:lnTo>
                    <a:lnTo>
                      <a:pt x="0" y="121465"/>
                    </a:lnTo>
                    <a:lnTo>
                      <a:pt x="0" y="787056"/>
                    </a:lnTo>
                    <a:lnTo>
                      <a:pt x="17678" y="787056"/>
                    </a:lnTo>
                    <a:lnTo>
                      <a:pt x="17678" y="864380"/>
                    </a:lnTo>
                    <a:lnTo>
                      <a:pt x="61907" y="908612"/>
                    </a:lnTo>
                    <a:lnTo>
                      <a:pt x="147023" y="908612"/>
                    </a:lnTo>
                    <a:lnTo>
                      <a:pt x="147023" y="992538"/>
                    </a:lnTo>
                    <a:lnTo>
                      <a:pt x="244800" y="1090311"/>
                    </a:lnTo>
                    <a:lnTo>
                      <a:pt x="244800" y="1143189"/>
                    </a:lnTo>
                    <a:lnTo>
                      <a:pt x="287776" y="1186166"/>
                    </a:lnTo>
                    <a:lnTo>
                      <a:pt x="287776" y="1249596"/>
                    </a:lnTo>
                    <a:lnTo>
                      <a:pt x="314409" y="1276228"/>
                    </a:lnTo>
                    <a:lnTo>
                      <a:pt x="314409" y="1321297"/>
                    </a:lnTo>
                    <a:lnTo>
                      <a:pt x="374779" y="1321297"/>
                    </a:lnTo>
                    <a:lnTo>
                      <a:pt x="374779" y="1403897"/>
                    </a:lnTo>
                    <a:lnTo>
                      <a:pt x="1263094" y="1403897"/>
                    </a:lnTo>
                    <a:lnTo>
                      <a:pt x="1306119" y="1446931"/>
                    </a:lnTo>
                    <a:lnTo>
                      <a:pt x="1407418" y="1446931"/>
                    </a:lnTo>
                    <a:lnTo>
                      <a:pt x="1447215" y="1407126"/>
                    </a:lnTo>
                    <a:lnTo>
                      <a:pt x="1511782" y="1407126"/>
                    </a:lnTo>
                    <a:lnTo>
                      <a:pt x="1590082" y="1485425"/>
                    </a:lnTo>
                    <a:lnTo>
                      <a:pt x="1590082" y="1539028"/>
                    </a:lnTo>
                    <a:lnTo>
                      <a:pt x="1679206" y="1539028"/>
                    </a:lnTo>
                    <a:lnTo>
                      <a:pt x="1723994" y="1583817"/>
                    </a:lnTo>
                    <a:lnTo>
                      <a:pt x="1704149" y="1603661"/>
                    </a:lnTo>
                    <a:lnTo>
                      <a:pt x="1613535" y="1694285"/>
                    </a:lnTo>
                    <a:lnTo>
                      <a:pt x="1638865" y="1719608"/>
                    </a:lnTo>
                    <a:lnTo>
                      <a:pt x="1678044" y="1680420"/>
                    </a:lnTo>
                    <a:lnTo>
                      <a:pt x="1726853" y="1680420"/>
                    </a:lnTo>
                    <a:lnTo>
                      <a:pt x="1798233" y="1609024"/>
                    </a:lnTo>
                    <a:lnTo>
                      <a:pt x="1845929" y="1609024"/>
                    </a:lnTo>
                    <a:lnTo>
                      <a:pt x="1896747" y="1558222"/>
                    </a:lnTo>
                    <a:lnTo>
                      <a:pt x="2010947" y="1558222"/>
                    </a:lnTo>
                    <a:lnTo>
                      <a:pt x="2019786" y="1558222"/>
                    </a:lnTo>
                    <a:lnTo>
                      <a:pt x="2056592" y="1521408"/>
                    </a:lnTo>
                    <a:lnTo>
                      <a:pt x="2111068" y="1521408"/>
                    </a:lnTo>
                    <a:lnTo>
                      <a:pt x="2111068" y="1612591"/>
                    </a:lnTo>
                    <a:lnTo>
                      <a:pt x="2119508" y="1612591"/>
                    </a:lnTo>
                    <a:lnTo>
                      <a:pt x="2119508" y="1567333"/>
                    </a:lnTo>
                    <a:lnTo>
                      <a:pt x="2142001" y="1567333"/>
                    </a:lnTo>
                    <a:lnTo>
                      <a:pt x="2170120" y="1539218"/>
                    </a:lnTo>
                    <a:lnTo>
                      <a:pt x="2187691" y="1556789"/>
                    </a:lnTo>
                    <a:lnTo>
                      <a:pt x="2218616" y="1556789"/>
                    </a:lnTo>
                    <a:lnTo>
                      <a:pt x="2190500" y="1584904"/>
                    </a:lnTo>
                    <a:lnTo>
                      <a:pt x="2179074" y="1573478"/>
                    </a:lnTo>
                    <a:lnTo>
                      <a:pt x="2139550" y="1613003"/>
                    </a:lnTo>
                    <a:lnTo>
                      <a:pt x="2173469" y="1646922"/>
                    </a:lnTo>
                    <a:lnTo>
                      <a:pt x="2210884" y="1609506"/>
                    </a:lnTo>
                    <a:lnTo>
                      <a:pt x="2233308" y="1609506"/>
                    </a:lnTo>
                    <a:lnTo>
                      <a:pt x="2277631" y="1565183"/>
                    </a:lnTo>
                    <a:lnTo>
                      <a:pt x="2257102" y="1544654"/>
                    </a:lnTo>
                    <a:lnTo>
                      <a:pt x="2201996" y="1544654"/>
                    </a:lnTo>
                    <a:lnTo>
                      <a:pt x="2152409" y="1495064"/>
                    </a:lnTo>
                    <a:lnTo>
                      <a:pt x="2178556" y="1468917"/>
                    </a:lnTo>
                    <a:lnTo>
                      <a:pt x="2148187" y="1438549"/>
                    </a:lnTo>
                    <a:lnTo>
                      <a:pt x="2181661" y="1405074"/>
                    </a:lnTo>
                    <a:lnTo>
                      <a:pt x="2162335" y="1385749"/>
                    </a:lnTo>
                    <a:lnTo>
                      <a:pt x="2105907" y="1385749"/>
                    </a:lnTo>
                    <a:lnTo>
                      <a:pt x="1994500" y="1497156"/>
                    </a:lnTo>
                    <a:lnTo>
                      <a:pt x="1994500" y="1468917"/>
                    </a:lnTo>
                    <a:lnTo>
                      <a:pt x="2139488" y="1323929"/>
                    </a:lnTo>
                    <a:lnTo>
                      <a:pt x="2249544" y="1323929"/>
                    </a:lnTo>
                    <a:lnTo>
                      <a:pt x="2262848" y="1337233"/>
                    </a:lnTo>
                    <a:lnTo>
                      <a:pt x="2305087" y="1337233"/>
                    </a:lnTo>
                    <a:lnTo>
                      <a:pt x="2400216" y="1242099"/>
                    </a:lnTo>
                    <a:lnTo>
                      <a:pt x="2400216" y="1268613"/>
                    </a:lnTo>
                    <a:lnTo>
                      <a:pt x="2433364" y="1235464"/>
                    </a:lnTo>
                    <a:lnTo>
                      <a:pt x="2433364" y="1169843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83" name="Freeform: Shape 682">
              <a:extLst>
                <a:ext uri="{FF2B5EF4-FFF2-40B4-BE49-F238E27FC236}">
                  <a16:creationId xmlns:a16="http://schemas.microsoft.com/office/drawing/2014/main" id="{35887344-3DB1-1CE5-4A50-2214DACDF7B8}"/>
                </a:ext>
              </a:extLst>
            </p:cNvPr>
            <p:cNvSpPr/>
            <p:nvPr/>
          </p:nvSpPr>
          <p:spPr>
            <a:xfrm>
              <a:off x="868129" y="1586102"/>
              <a:ext cx="768942" cy="1142774"/>
            </a:xfrm>
            <a:custGeom>
              <a:avLst/>
              <a:gdLst>
                <a:gd name="connsiteX0" fmla="*/ 709647 w 768942"/>
                <a:gd name="connsiteY0" fmla="*/ 84639 h 1142774"/>
                <a:gd name="connsiteX1" fmla="*/ 690140 w 768942"/>
                <a:gd name="connsiteY1" fmla="*/ 65132 h 1142774"/>
                <a:gd name="connsiteX2" fmla="*/ 653762 w 768942"/>
                <a:gd name="connsiteY2" fmla="*/ 65132 h 1142774"/>
                <a:gd name="connsiteX3" fmla="*/ 637946 w 768942"/>
                <a:gd name="connsiteY3" fmla="*/ 49315 h 1142774"/>
                <a:gd name="connsiteX4" fmla="*/ 588388 w 768942"/>
                <a:gd name="connsiteY4" fmla="*/ 49315 h 1142774"/>
                <a:gd name="connsiteX5" fmla="*/ 572835 w 768942"/>
                <a:gd name="connsiteY5" fmla="*/ 33763 h 1142774"/>
                <a:gd name="connsiteX6" fmla="*/ 511942 w 768942"/>
                <a:gd name="connsiteY6" fmla="*/ 33763 h 1142774"/>
                <a:gd name="connsiteX7" fmla="*/ 478180 w 768942"/>
                <a:gd name="connsiteY7" fmla="*/ 0 h 1142774"/>
                <a:gd name="connsiteX8" fmla="*/ 413200 w 768942"/>
                <a:gd name="connsiteY8" fmla="*/ 64979 h 1142774"/>
                <a:gd name="connsiteX9" fmla="*/ 337434 w 768942"/>
                <a:gd name="connsiteY9" fmla="*/ 64979 h 1142774"/>
                <a:gd name="connsiteX10" fmla="*/ 303618 w 768942"/>
                <a:gd name="connsiteY10" fmla="*/ 98799 h 1142774"/>
                <a:gd name="connsiteX11" fmla="*/ 303618 w 768942"/>
                <a:gd name="connsiteY11" fmla="*/ 131548 h 1142774"/>
                <a:gd name="connsiteX12" fmla="*/ 258838 w 768942"/>
                <a:gd name="connsiteY12" fmla="*/ 176333 h 1142774"/>
                <a:gd name="connsiteX13" fmla="*/ 194085 w 768942"/>
                <a:gd name="connsiteY13" fmla="*/ 176333 h 1142774"/>
                <a:gd name="connsiteX14" fmla="*/ 194085 w 768942"/>
                <a:gd name="connsiteY14" fmla="*/ 233840 h 1142774"/>
                <a:gd name="connsiteX15" fmla="*/ 216199 w 768942"/>
                <a:gd name="connsiteY15" fmla="*/ 255959 h 1142774"/>
                <a:gd name="connsiteX16" fmla="*/ 216199 w 768942"/>
                <a:gd name="connsiteY16" fmla="*/ 291430 h 1142774"/>
                <a:gd name="connsiteX17" fmla="*/ 259703 w 768942"/>
                <a:gd name="connsiteY17" fmla="*/ 291430 h 1142774"/>
                <a:gd name="connsiteX18" fmla="*/ 259703 w 768942"/>
                <a:gd name="connsiteY18" fmla="*/ 307650 h 1142774"/>
                <a:gd name="connsiteX19" fmla="*/ 311312 w 768942"/>
                <a:gd name="connsiteY19" fmla="*/ 307650 h 1142774"/>
                <a:gd name="connsiteX20" fmla="*/ 311312 w 768942"/>
                <a:gd name="connsiteY20" fmla="*/ 329439 h 1142774"/>
                <a:gd name="connsiteX21" fmla="*/ 288304 w 768942"/>
                <a:gd name="connsiteY21" fmla="*/ 352446 h 1142774"/>
                <a:gd name="connsiteX22" fmla="*/ 264168 w 768942"/>
                <a:gd name="connsiteY22" fmla="*/ 328310 h 1142774"/>
                <a:gd name="connsiteX23" fmla="*/ 244257 w 768942"/>
                <a:gd name="connsiteY23" fmla="*/ 348221 h 1142774"/>
                <a:gd name="connsiteX24" fmla="*/ 244257 w 768942"/>
                <a:gd name="connsiteY24" fmla="*/ 370916 h 1142774"/>
                <a:gd name="connsiteX25" fmla="*/ 203209 w 768942"/>
                <a:gd name="connsiteY25" fmla="*/ 370916 h 1142774"/>
                <a:gd name="connsiteX26" fmla="*/ 203209 w 768942"/>
                <a:gd name="connsiteY26" fmla="*/ 330848 h 1142774"/>
                <a:gd name="connsiteX27" fmla="*/ 178187 w 768942"/>
                <a:gd name="connsiteY27" fmla="*/ 330848 h 1142774"/>
                <a:gd name="connsiteX28" fmla="*/ 109133 w 768942"/>
                <a:gd name="connsiteY28" fmla="*/ 399896 h 1142774"/>
                <a:gd name="connsiteX29" fmla="*/ 126548 w 768942"/>
                <a:gd name="connsiteY29" fmla="*/ 417311 h 1142774"/>
                <a:gd name="connsiteX30" fmla="*/ 126548 w 768942"/>
                <a:gd name="connsiteY30" fmla="*/ 451052 h 1142774"/>
                <a:gd name="connsiteX31" fmla="*/ 186774 w 768942"/>
                <a:gd name="connsiteY31" fmla="*/ 451052 h 1142774"/>
                <a:gd name="connsiteX32" fmla="*/ 209667 w 768942"/>
                <a:gd name="connsiteY32" fmla="*/ 428159 h 1142774"/>
                <a:gd name="connsiteX33" fmla="*/ 250971 w 768942"/>
                <a:gd name="connsiteY33" fmla="*/ 428159 h 1142774"/>
                <a:gd name="connsiteX34" fmla="*/ 250971 w 768942"/>
                <a:gd name="connsiteY34" fmla="*/ 516427 h 1142774"/>
                <a:gd name="connsiteX35" fmla="*/ 164508 w 768942"/>
                <a:gd name="connsiteY35" fmla="*/ 516427 h 1142774"/>
                <a:gd name="connsiteX36" fmla="*/ 66446 w 768942"/>
                <a:gd name="connsiteY36" fmla="*/ 614489 h 1142774"/>
                <a:gd name="connsiteX37" fmla="*/ 66446 w 768942"/>
                <a:gd name="connsiteY37" fmla="*/ 702006 h 1142774"/>
                <a:gd name="connsiteX38" fmla="*/ 97024 w 768942"/>
                <a:gd name="connsiteY38" fmla="*/ 702006 h 1142774"/>
                <a:gd name="connsiteX39" fmla="*/ 50979 w 768942"/>
                <a:gd name="connsiteY39" fmla="*/ 748051 h 1142774"/>
                <a:gd name="connsiteX40" fmla="*/ 79371 w 768942"/>
                <a:gd name="connsiteY40" fmla="*/ 776442 h 1142774"/>
                <a:gd name="connsiteX41" fmla="*/ 98383 w 768942"/>
                <a:gd name="connsiteY41" fmla="*/ 757430 h 1142774"/>
                <a:gd name="connsiteX42" fmla="*/ 98383 w 768942"/>
                <a:gd name="connsiteY42" fmla="*/ 716768 h 1142774"/>
                <a:gd name="connsiteX43" fmla="*/ 128657 w 768942"/>
                <a:gd name="connsiteY43" fmla="*/ 716768 h 1142774"/>
                <a:gd name="connsiteX44" fmla="*/ 128657 w 768942"/>
                <a:gd name="connsiteY44" fmla="*/ 775816 h 1142774"/>
                <a:gd name="connsiteX45" fmla="*/ 69609 w 768942"/>
                <a:gd name="connsiteY45" fmla="*/ 834864 h 1142774"/>
                <a:gd name="connsiteX46" fmla="*/ 124439 w 768942"/>
                <a:gd name="connsiteY46" fmla="*/ 834864 h 1142774"/>
                <a:gd name="connsiteX47" fmla="*/ 156072 w 768942"/>
                <a:gd name="connsiteY47" fmla="*/ 866497 h 1142774"/>
                <a:gd name="connsiteX48" fmla="*/ 185596 w 768942"/>
                <a:gd name="connsiteY48" fmla="*/ 836973 h 1142774"/>
                <a:gd name="connsiteX49" fmla="*/ 250971 w 768942"/>
                <a:gd name="connsiteY49" fmla="*/ 836973 h 1142774"/>
                <a:gd name="connsiteX50" fmla="*/ 194032 w 768942"/>
                <a:gd name="connsiteY50" fmla="*/ 893912 h 1142774"/>
                <a:gd name="connsiteX51" fmla="*/ 194032 w 768942"/>
                <a:gd name="connsiteY51" fmla="*/ 938198 h 1142774"/>
                <a:gd name="connsiteX52" fmla="*/ 0 w 768942"/>
                <a:gd name="connsiteY52" fmla="*/ 1132230 h 1142774"/>
                <a:gd name="connsiteX53" fmla="*/ 10544 w 768942"/>
                <a:gd name="connsiteY53" fmla="*/ 1142774 h 1142774"/>
                <a:gd name="connsiteX54" fmla="*/ 203521 w 768942"/>
                <a:gd name="connsiteY54" fmla="*/ 949797 h 1142774"/>
                <a:gd name="connsiteX55" fmla="*/ 236209 w 768942"/>
                <a:gd name="connsiteY55" fmla="*/ 949797 h 1142774"/>
                <a:gd name="connsiteX56" fmla="*/ 342826 w 768942"/>
                <a:gd name="connsiteY56" fmla="*/ 843180 h 1142774"/>
                <a:gd name="connsiteX57" fmla="*/ 315938 w 768942"/>
                <a:gd name="connsiteY57" fmla="*/ 816292 h 1142774"/>
                <a:gd name="connsiteX58" fmla="*/ 384467 w 768942"/>
                <a:gd name="connsiteY58" fmla="*/ 747762 h 1142774"/>
                <a:gd name="connsiteX59" fmla="*/ 384467 w 768942"/>
                <a:gd name="connsiteY59" fmla="*/ 714659 h 1142774"/>
                <a:gd name="connsiteX60" fmla="*/ 453742 w 768942"/>
                <a:gd name="connsiteY60" fmla="*/ 645388 h 1142774"/>
                <a:gd name="connsiteX61" fmla="*/ 453742 w 768942"/>
                <a:gd name="connsiteY61" fmla="*/ 689353 h 1142774"/>
                <a:gd name="connsiteX62" fmla="*/ 420894 w 768942"/>
                <a:gd name="connsiteY62" fmla="*/ 722201 h 1142774"/>
                <a:gd name="connsiteX63" fmla="*/ 420894 w 768942"/>
                <a:gd name="connsiteY63" fmla="*/ 820102 h 1142774"/>
                <a:gd name="connsiteX64" fmla="*/ 533063 w 768942"/>
                <a:gd name="connsiteY64" fmla="*/ 707937 h 1142774"/>
                <a:gd name="connsiteX65" fmla="*/ 533063 w 768942"/>
                <a:gd name="connsiteY65" fmla="*/ 666156 h 1142774"/>
                <a:gd name="connsiteX66" fmla="*/ 577843 w 768942"/>
                <a:gd name="connsiteY66" fmla="*/ 666156 h 1142774"/>
                <a:gd name="connsiteX67" fmla="*/ 655871 w 768942"/>
                <a:gd name="connsiteY67" fmla="*/ 744183 h 1142774"/>
                <a:gd name="connsiteX68" fmla="*/ 768942 w 768942"/>
                <a:gd name="connsiteY68" fmla="*/ 744183 h 1142774"/>
                <a:gd name="connsiteX69" fmla="*/ 768942 w 768942"/>
                <a:gd name="connsiteY69" fmla="*/ 84639 h 1142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768942" h="1142774">
                  <a:moveTo>
                    <a:pt x="709647" y="84639"/>
                  </a:moveTo>
                  <a:lnTo>
                    <a:pt x="690140" y="65132"/>
                  </a:lnTo>
                  <a:lnTo>
                    <a:pt x="653762" y="65132"/>
                  </a:lnTo>
                  <a:lnTo>
                    <a:pt x="637946" y="49315"/>
                  </a:lnTo>
                  <a:lnTo>
                    <a:pt x="588388" y="49315"/>
                  </a:lnTo>
                  <a:lnTo>
                    <a:pt x="572835" y="33763"/>
                  </a:lnTo>
                  <a:lnTo>
                    <a:pt x="511942" y="33763"/>
                  </a:lnTo>
                  <a:lnTo>
                    <a:pt x="478180" y="0"/>
                  </a:lnTo>
                  <a:lnTo>
                    <a:pt x="413200" y="64979"/>
                  </a:lnTo>
                  <a:lnTo>
                    <a:pt x="337434" y="64979"/>
                  </a:lnTo>
                  <a:lnTo>
                    <a:pt x="303618" y="98799"/>
                  </a:lnTo>
                  <a:lnTo>
                    <a:pt x="303618" y="131548"/>
                  </a:lnTo>
                  <a:lnTo>
                    <a:pt x="258838" y="176333"/>
                  </a:lnTo>
                  <a:lnTo>
                    <a:pt x="194085" y="176333"/>
                  </a:lnTo>
                  <a:lnTo>
                    <a:pt x="194085" y="233840"/>
                  </a:lnTo>
                  <a:lnTo>
                    <a:pt x="216199" y="255959"/>
                  </a:lnTo>
                  <a:lnTo>
                    <a:pt x="216199" y="291430"/>
                  </a:lnTo>
                  <a:lnTo>
                    <a:pt x="259703" y="291430"/>
                  </a:lnTo>
                  <a:lnTo>
                    <a:pt x="259703" y="307650"/>
                  </a:lnTo>
                  <a:lnTo>
                    <a:pt x="311312" y="307650"/>
                  </a:lnTo>
                  <a:lnTo>
                    <a:pt x="311312" y="329439"/>
                  </a:lnTo>
                  <a:lnTo>
                    <a:pt x="288304" y="352446"/>
                  </a:lnTo>
                  <a:lnTo>
                    <a:pt x="264168" y="328310"/>
                  </a:lnTo>
                  <a:lnTo>
                    <a:pt x="244257" y="348221"/>
                  </a:lnTo>
                  <a:lnTo>
                    <a:pt x="244257" y="370916"/>
                  </a:lnTo>
                  <a:lnTo>
                    <a:pt x="203209" y="370916"/>
                  </a:lnTo>
                  <a:lnTo>
                    <a:pt x="203209" y="330848"/>
                  </a:lnTo>
                  <a:lnTo>
                    <a:pt x="178187" y="330848"/>
                  </a:lnTo>
                  <a:lnTo>
                    <a:pt x="109133" y="399896"/>
                  </a:lnTo>
                  <a:lnTo>
                    <a:pt x="126548" y="417311"/>
                  </a:lnTo>
                  <a:lnTo>
                    <a:pt x="126548" y="451052"/>
                  </a:lnTo>
                  <a:lnTo>
                    <a:pt x="186774" y="451052"/>
                  </a:lnTo>
                  <a:lnTo>
                    <a:pt x="209667" y="428159"/>
                  </a:lnTo>
                  <a:lnTo>
                    <a:pt x="250971" y="428159"/>
                  </a:lnTo>
                  <a:lnTo>
                    <a:pt x="250971" y="516427"/>
                  </a:lnTo>
                  <a:lnTo>
                    <a:pt x="164508" y="516427"/>
                  </a:lnTo>
                  <a:lnTo>
                    <a:pt x="66446" y="614489"/>
                  </a:lnTo>
                  <a:lnTo>
                    <a:pt x="66446" y="702006"/>
                  </a:lnTo>
                  <a:lnTo>
                    <a:pt x="97024" y="702006"/>
                  </a:lnTo>
                  <a:lnTo>
                    <a:pt x="50979" y="748051"/>
                  </a:lnTo>
                  <a:lnTo>
                    <a:pt x="79371" y="776442"/>
                  </a:lnTo>
                  <a:lnTo>
                    <a:pt x="98383" y="757430"/>
                  </a:lnTo>
                  <a:lnTo>
                    <a:pt x="98383" y="716768"/>
                  </a:lnTo>
                  <a:lnTo>
                    <a:pt x="128657" y="716768"/>
                  </a:lnTo>
                  <a:lnTo>
                    <a:pt x="128657" y="775816"/>
                  </a:lnTo>
                  <a:lnTo>
                    <a:pt x="69609" y="834864"/>
                  </a:lnTo>
                  <a:lnTo>
                    <a:pt x="124439" y="834864"/>
                  </a:lnTo>
                  <a:lnTo>
                    <a:pt x="156072" y="866497"/>
                  </a:lnTo>
                  <a:lnTo>
                    <a:pt x="185596" y="836973"/>
                  </a:lnTo>
                  <a:lnTo>
                    <a:pt x="250971" y="836973"/>
                  </a:lnTo>
                  <a:lnTo>
                    <a:pt x="194032" y="893912"/>
                  </a:lnTo>
                  <a:lnTo>
                    <a:pt x="194032" y="938198"/>
                  </a:lnTo>
                  <a:lnTo>
                    <a:pt x="0" y="1132230"/>
                  </a:lnTo>
                  <a:lnTo>
                    <a:pt x="10544" y="1142774"/>
                  </a:lnTo>
                  <a:lnTo>
                    <a:pt x="203521" y="949797"/>
                  </a:lnTo>
                  <a:lnTo>
                    <a:pt x="236209" y="949797"/>
                  </a:lnTo>
                  <a:lnTo>
                    <a:pt x="342826" y="843180"/>
                  </a:lnTo>
                  <a:lnTo>
                    <a:pt x="315938" y="816292"/>
                  </a:lnTo>
                  <a:lnTo>
                    <a:pt x="384467" y="747762"/>
                  </a:lnTo>
                  <a:lnTo>
                    <a:pt x="384467" y="714659"/>
                  </a:lnTo>
                  <a:lnTo>
                    <a:pt x="453742" y="645388"/>
                  </a:lnTo>
                  <a:lnTo>
                    <a:pt x="453742" y="689353"/>
                  </a:lnTo>
                  <a:lnTo>
                    <a:pt x="420894" y="722201"/>
                  </a:lnTo>
                  <a:lnTo>
                    <a:pt x="420894" y="820102"/>
                  </a:lnTo>
                  <a:lnTo>
                    <a:pt x="533063" y="707937"/>
                  </a:lnTo>
                  <a:lnTo>
                    <a:pt x="533063" y="666156"/>
                  </a:lnTo>
                  <a:lnTo>
                    <a:pt x="577843" y="666156"/>
                  </a:lnTo>
                  <a:lnTo>
                    <a:pt x="655871" y="744183"/>
                  </a:lnTo>
                  <a:lnTo>
                    <a:pt x="768942" y="744183"/>
                  </a:lnTo>
                  <a:lnTo>
                    <a:pt x="768942" y="84639"/>
                  </a:lnTo>
                  <a:close/>
                </a:path>
              </a:pathLst>
            </a:custGeom>
            <a:solidFill>
              <a:schemeClr val="accent1"/>
            </a:solidFill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692" name="Graphic 6">
              <a:extLst>
                <a:ext uri="{FF2B5EF4-FFF2-40B4-BE49-F238E27FC236}">
                  <a16:creationId xmlns:a16="http://schemas.microsoft.com/office/drawing/2014/main" id="{26487DE4-6A87-F468-9F22-9F35C2ED784D}"/>
                </a:ext>
              </a:extLst>
            </p:cNvPr>
            <p:cNvGrpSpPr/>
            <p:nvPr/>
          </p:nvGrpSpPr>
          <p:grpSpPr>
            <a:xfrm>
              <a:off x="10518320" y="5871022"/>
              <a:ext cx="396390" cy="473521"/>
              <a:chOff x="10518320" y="5871022"/>
              <a:chExt cx="396390" cy="473521"/>
            </a:xfrm>
            <a:grpFill/>
          </p:grpSpPr>
          <p:sp>
            <p:nvSpPr>
              <p:cNvPr id="839" name="Freeform: Shape 838">
                <a:extLst>
                  <a:ext uri="{FF2B5EF4-FFF2-40B4-BE49-F238E27FC236}">
                    <a16:creationId xmlns:a16="http://schemas.microsoft.com/office/drawing/2014/main" id="{7501FDA4-616B-05D2-BED8-D1B00BEC2B43}"/>
                  </a:ext>
                </a:extLst>
              </p:cNvPr>
              <p:cNvSpPr/>
              <p:nvPr/>
            </p:nvSpPr>
            <p:spPr>
              <a:xfrm>
                <a:off x="10743935" y="5871022"/>
                <a:ext cx="170776" cy="258713"/>
              </a:xfrm>
              <a:custGeom>
                <a:avLst/>
                <a:gdLst>
                  <a:gd name="connsiteX0" fmla="*/ 0 w 170776"/>
                  <a:gd name="connsiteY0" fmla="*/ 0 h 258713"/>
                  <a:gd name="connsiteX1" fmla="*/ 22456 w 170776"/>
                  <a:gd name="connsiteY1" fmla="*/ 0 h 258713"/>
                  <a:gd name="connsiteX2" fmla="*/ 72739 w 170776"/>
                  <a:gd name="connsiteY2" fmla="*/ 50283 h 258713"/>
                  <a:gd name="connsiteX3" fmla="*/ 87130 w 170776"/>
                  <a:gd name="connsiteY3" fmla="*/ 50283 h 258713"/>
                  <a:gd name="connsiteX4" fmla="*/ 147414 w 170776"/>
                  <a:gd name="connsiteY4" fmla="*/ 110567 h 258713"/>
                  <a:gd name="connsiteX5" fmla="*/ 147414 w 170776"/>
                  <a:gd name="connsiteY5" fmla="*/ 88605 h 258713"/>
                  <a:gd name="connsiteX6" fmla="*/ 170776 w 170776"/>
                  <a:gd name="connsiteY6" fmla="*/ 88605 h 258713"/>
                  <a:gd name="connsiteX7" fmla="*/ 170776 w 170776"/>
                  <a:gd name="connsiteY7" fmla="*/ 145544 h 258713"/>
                  <a:gd name="connsiteX8" fmla="*/ 142661 w 170776"/>
                  <a:gd name="connsiteY8" fmla="*/ 145544 h 258713"/>
                  <a:gd name="connsiteX9" fmla="*/ 116646 w 170776"/>
                  <a:gd name="connsiteY9" fmla="*/ 171559 h 258713"/>
                  <a:gd name="connsiteX10" fmla="*/ 116646 w 170776"/>
                  <a:gd name="connsiteY10" fmla="*/ 229198 h 258713"/>
                  <a:gd name="connsiteX11" fmla="*/ 87122 w 170776"/>
                  <a:gd name="connsiteY11" fmla="*/ 258714 h 258713"/>
                  <a:gd name="connsiteX12" fmla="*/ 62524 w 170776"/>
                  <a:gd name="connsiteY12" fmla="*/ 258714 h 258713"/>
                  <a:gd name="connsiteX13" fmla="*/ 62524 w 170776"/>
                  <a:gd name="connsiteY13" fmla="*/ 199674 h 258713"/>
                  <a:gd name="connsiteX14" fmla="*/ 25965 w 170776"/>
                  <a:gd name="connsiteY14" fmla="*/ 163123 h 258713"/>
                  <a:gd name="connsiteX15" fmla="*/ 67088 w 170776"/>
                  <a:gd name="connsiteY15" fmla="*/ 122001 h 258713"/>
                  <a:gd name="connsiteX16" fmla="*/ 67088 w 170776"/>
                  <a:gd name="connsiteY16" fmla="*/ 67516 h 258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70776" h="258713">
                    <a:moveTo>
                      <a:pt x="0" y="0"/>
                    </a:moveTo>
                    <a:lnTo>
                      <a:pt x="22456" y="0"/>
                    </a:lnTo>
                    <a:lnTo>
                      <a:pt x="72739" y="50283"/>
                    </a:lnTo>
                    <a:lnTo>
                      <a:pt x="87130" y="50283"/>
                    </a:lnTo>
                    <a:lnTo>
                      <a:pt x="147414" y="110567"/>
                    </a:lnTo>
                    <a:lnTo>
                      <a:pt x="147414" y="88605"/>
                    </a:lnTo>
                    <a:lnTo>
                      <a:pt x="170776" y="88605"/>
                    </a:lnTo>
                    <a:lnTo>
                      <a:pt x="170776" y="145544"/>
                    </a:lnTo>
                    <a:lnTo>
                      <a:pt x="142661" y="145544"/>
                    </a:lnTo>
                    <a:lnTo>
                      <a:pt x="116646" y="171559"/>
                    </a:lnTo>
                    <a:lnTo>
                      <a:pt x="116646" y="229198"/>
                    </a:lnTo>
                    <a:lnTo>
                      <a:pt x="87122" y="258714"/>
                    </a:lnTo>
                    <a:lnTo>
                      <a:pt x="62524" y="258714"/>
                    </a:lnTo>
                    <a:lnTo>
                      <a:pt x="62524" y="199674"/>
                    </a:lnTo>
                    <a:lnTo>
                      <a:pt x="25965" y="163123"/>
                    </a:lnTo>
                    <a:lnTo>
                      <a:pt x="67088" y="122001"/>
                    </a:lnTo>
                    <a:lnTo>
                      <a:pt x="67088" y="67516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40" name="Freeform: Shape 839">
                <a:extLst>
                  <a:ext uri="{FF2B5EF4-FFF2-40B4-BE49-F238E27FC236}">
                    <a16:creationId xmlns:a16="http://schemas.microsoft.com/office/drawing/2014/main" id="{1C309E7F-9679-682B-5D10-9D16E6F720B0}"/>
                  </a:ext>
                </a:extLst>
              </p:cNvPr>
              <p:cNvSpPr/>
              <p:nvPr/>
            </p:nvSpPr>
            <p:spPr>
              <a:xfrm>
                <a:off x="10518320" y="6083168"/>
                <a:ext cx="253927" cy="261375"/>
              </a:xfrm>
              <a:custGeom>
                <a:avLst/>
                <a:gdLst>
                  <a:gd name="connsiteX0" fmla="*/ 253928 w 253927"/>
                  <a:gd name="connsiteY0" fmla="*/ 26690 h 261375"/>
                  <a:gd name="connsiteX1" fmla="*/ 253928 w 253927"/>
                  <a:gd name="connsiteY1" fmla="*/ 58645 h 261375"/>
                  <a:gd name="connsiteX2" fmla="*/ 201692 w 253927"/>
                  <a:gd name="connsiteY2" fmla="*/ 110872 h 261375"/>
                  <a:gd name="connsiteX3" fmla="*/ 201692 w 253927"/>
                  <a:gd name="connsiteY3" fmla="*/ 128401 h 261375"/>
                  <a:gd name="connsiteX4" fmla="*/ 175068 w 253927"/>
                  <a:gd name="connsiteY4" fmla="*/ 155025 h 261375"/>
                  <a:gd name="connsiteX5" fmla="*/ 147752 w 253927"/>
                  <a:gd name="connsiteY5" fmla="*/ 155025 h 261375"/>
                  <a:gd name="connsiteX6" fmla="*/ 147752 w 253927"/>
                  <a:gd name="connsiteY6" fmla="*/ 213959 h 261375"/>
                  <a:gd name="connsiteX7" fmla="*/ 100335 w 253927"/>
                  <a:gd name="connsiteY7" fmla="*/ 261375 h 261375"/>
                  <a:gd name="connsiteX8" fmla="*/ 31270 w 253927"/>
                  <a:gd name="connsiteY8" fmla="*/ 261375 h 261375"/>
                  <a:gd name="connsiteX9" fmla="*/ 0 w 253927"/>
                  <a:gd name="connsiteY9" fmla="*/ 230104 h 261375"/>
                  <a:gd name="connsiteX10" fmla="*/ 38660 w 253927"/>
                  <a:gd name="connsiteY10" fmla="*/ 191445 h 261375"/>
                  <a:gd name="connsiteX11" fmla="*/ 38660 w 253927"/>
                  <a:gd name="connsiteY11" fmla="*/ 162069 h 261375"/>
                  <a:gd name="connsiteX12" fmla="*/ 59534 w 253927"/>
                  <a:gd name="connsiteY12" fmla="*/ 141195 h 261375"/>
                  <a:gd name="connsiteX13" fmla="*/ 92089 w 253927"/>
                  <a:gd name="connsiteY13" fmla="*/ 141195 h 261375"/>
                  <a:gd name="connsiteX14" fmla="*/ 161360 w 253927"/>
                  <a:gd name="connsiteY14" fmla="*/ 71924 h 261375"/>
                  <a:gd name="connsiteX15" fmla="*/ 161360 w 253927"/>
                  <a:gd name="connsiteY15" fmla="*/ 48685 h 261375"/>
                  <a:gd name="connsiteX16" fmla="*/ 210045 w 253927"/>
                  <a:gd name="connsiteY16" fmla="*/ 0 h 261375"/>
                  <a:gd name="connsiteX17" fmla="*/ 236719 w 253927"/>
                  <a:gd name="connsiteY17" fmla="*/ 26682 h 261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53927" h="261375">
                    <a:moveTo>
                      <a:pt x="253928" y="26690"/>
                    </a:moveTo>
                    <a:lnTo>
                      <a:pt x="253928" y="58645"/>
                    </a:lnTo>
                    <a:lnTo>
                      <a:pt x="201692" y="110872"/>
                    </a:lnTo>
                    <a:lnTo>
                      <a:pt x="201692" y="128401"/>
                    </a:lnTo>
                    <a:lnTo>
                      <a:pt x="175068" y="155025"/>
                    </a:lnTo>
                    <a:lnTo>
                      <a:pt x="147752" y="155025"/>
                    </a:lnTo>
                    <a:lnTo>
                      <a:pt x="147752" y="213959"/>
                    </a:lnTo>
                    <a:lnTo>
                      <a:pt x="100335" y="261375"/>
                    </a:lnTo>
                    <a:lnTo>
                      <a:pt x="31270" y="261375"/>
                    </a:lnTo>
                    <a:lnTo>
                      <a:pt x="0" y="230104"/>
                    </a:lnTo>
                    <a:lnTo>
                      <a:pt x="38660" y="191445"/>
                    </a:lnTo>
                    <a:lnTo>
                      <a:pt x="38660" y="162069"/>
                    </a:lnTo>
                    <a:lnTo>
                      <a:pt x="59534" y="141195"/>
                    </a:lnTo>
                    <a:lnTo>
                      <a:pt x="92089" y="141195"/>
                    </a:lnTo>
                    <a:lnTo>
                      <a:pt x="161360" y="71924"/>
                    </a:lnTo>
                    <a:lnTo>
                      <a:pt x="161360" y="48685"/>
                    </a:lnTo>
                    <a:lnTo>
                      <a:pt x="210045" y="0"/>
                    </a:lnTo>
                    <a:lnTo>
                      <a:pt x="236719" y="26682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693" name="Graphic 6">
              <a:extLst>
                <a:ext uri="{FF2B5EF4-FFF2-40B4-BE49-F238E27FC236}">
                  <a16:creationId xmlns:a16="http://schemas.microsoft.com/office/drawing/2014/main" id="{FA166F25-919A-BC97-7B36-C82FABB4665C}"/>
                </a:ext>
              </a:extLst>
            </p:cNvPr>
            <p:cNvGrpSpPr/>
            <p:nvPr/>
          </p:nvGrpSpPr>
          <p:grpSpPr>
            <a:xfrm>
              <a:off x="9249695" y="5024003"/>
              <a:ext cx="1248072" cy="1160686"/>
              <a:chOff x="9249695" y="5024003"/>
              <a:chExt cx="1248072" cy="1160686"/>
            </a:xfrm>
            <a:grpFill/>
          </p:grpSpPr>
          <p:sp>
            <p:nvSpPr>
              <p:cNvPr id="837" name="Freeform: Shape 836">
                <a:extLst>
                  <a:ext uri="{FF2B5EF4-FFF2-40B4-BE49-F238E27FC236}">
                    <a16:creationId xmlns:a16="http://schemas.microsoft.com/office/drawing/2014/main" id="{06EE6098-CABA-24A6-61DF-6C26E5278342}"/>
                  </a:ext>
                </a:extLst>
              </p:cNvPr>
              <p:cNvSpPr/>
              <p:nvPr/>
            </p:nvSpPr>
            <p:spPr>
              <a:xfrm>
                <a:off x="9249695" y="5024003"/>
                <a:ext cx="1248072" cy="971688"/>
              </a:xfrm>
              <a:custGeom>
                <a:avLst/>
                <a:gdLst>
                  <a:gd name="connsiteX0" fmla="*/ 962281 w 1248072"/>
                  <a:gd name="connsiteY0" fmla="*/ 9061 h 971688"/>
                  <a:gd name="connsiteX1" fmla="*/ 962281 w 1248072"/>
                  <a:gd name="connsiteY1" fmla="*/ 69007 h 971688"/>
                  <a:gd name="connsiteX2" fmla="*/ 991558 w 1248072"/>
                  <a:gd name="connsiteY2" fmla="*/ 98285 h 971688"/>
                  <a:gd name="connsiteX3" fmla="*/ 1013866 w 1248072"/>
                  <a:gd name="connsiteY3" fmla="*/ 98285 h 971688"/>
                  <a:gd name="connsiteX4" fmla="*/ 1040350 w 1248072"/>
                  <a:gd name="connsiteY4" fmla="*/ 124768 h 971688"/>
                  <a:gd name="connsiteX5" fmla="*/ 1040350 w 1248072"/>
                  <a:gd name="connsiteY5" fmla="*/ 246061 h 971688"/>
                  <a:gd name="connsiteX6" fmla="*/ 1248072 w 1248072"/>
                  <a:gd name="connsiteY6" fmla="*/ 453783 h 971688"/>
                  <a:gd name="connsiteX7" fmla="*/ 1248072 w 1248072"/>
                  <a:gd name="connsiteY7" fmla="*/ 558336 h 971688"/>
                  <a:gd name="connsiteX8" fmla="*/ 1213910 w 1248072"/>
                  <a:gd name="connsiteY8" fmla="*/ 592490 h 971688"/>
                  <a:gd name="connsiteX9" fmla="*/ 1213910 w 1248072"/>
                  <a:gd name="connsiteY9" fmla="*/ 644766 h 971688"/>
                  <a:gd name="connsiteX10" fmla="*/ 1191257 w 1248072"/>
                  <a:gd name="connsiteY10" fmla="*/ 667420 h 971688"/>
                  <a:gd name="connsiteX11" fmla="*/ 1191257 w 1248072"/>
                  <a:gd name="connsiteY11" fmla="*/ 729813 h 971688"/>
                  <a:gd name="connsiteX12" fmla="*/ 1146476 w 1248072"/>
                  <a:gd name="connsiteY12" fmla="*/ 774593 h 971688"/>
                  <a:gd name="connsiteX13" fmla="*/ 1146476 w 1248072"/>
                  <a:gd name="connsiteY13" fmla="*/ 820428 h 971688"/>
                  <a:gd name="connsiteX14" fmla="*/ 1110057 w 1248072"/>
                  <a:gd name="connsiteY14" fmla="*/ 820428 h 971688"/>
                  <a:gd name="connsiteX15" fmla="*/ 1110057 w 1248072"/>
                  <a:gd name="connsiteY15" fmla="*/ 884558 h 971688"/>
                  <a:gd name="connsiteX16" fmla="*/ 1080789 w 1248072"/>
                  <a:gd name="connsiteY16" fmla="*/ 913827 h 971688"/>
                  <a:gd name="connsiteX17" fmla="*/ 1044535 w 1248072"/>
                  <a:gd name="connsiteY17" fmla="*/ 913827 h 971688"/>
                  <a:gd name="connsiteX18" fmla="*/ 1004804 w 1248072"/>
                  <a:gd name="connsiteY18" fmla="*/ 953566 h 971688"/>
                  <a:gd name="connsiteX19" fmla="*/ 976227 w 1248072"/>
                  <a:gd name="connsiteY19" fmla="*/ 953566 h 971688"/>
                  <a:gd name="connsiteX20" fmla="*/ 943812 w 1248072"/>
                  <a:gd name="connsiteY20" fmla="*/ 921150 h 971688"/>
                  <a:gd name="connsiteX21" fmla="*/ 893274 w 1248072"/>
                  <a:gd name="connsiteY21" fmla="*/ 971688 h 971688"/>
                  <a:gd name="connsiteX22" fmla="*/ 870966 w 1248072"/>
                  <a:gd name="connsiteY22" fmla="*/ 949381 h 971688"/>
                  <a:gd name="connsiteX23" fmla="*/ 842389 w 1248072"/>
                  <a:gd name="connsiteY23" fmla="*/ 949381 h 971688"/>
                  <a:gd name="connsiteX24" fmla="*/ 767459 w 1248072"/>
                  <a:gd name="connsiteY24" fmla="*/ 874450 h 971688"/>
                  <a:gd name="connsiteX25" fmla="*/ 767459 w 1248072"/>
                  <a:gd name="connsiteY25" fmla="*/ 830189 h 971688"/>
                  <a:gd name="connsiteX26" fmla="*/ 740620 w 1248072"/>
                  <a:gd name="connsiteY26" fmla="*/ 830189 h 971688"/>
                  <a:gd name="connsiteX27" fmla="*/ 761536 w 1248072"/>
                  <a:gd name="connsiteY27" fmla="*/ 809274 h 971688"/>
                  <a:gd name="connsiteX28" fmla="*/ 743413 w 1248072"/>
                  <a:gd name="connsiteY28" fmla="*/ 791150 h 971688"/>
                  <a:gd name="connsiteX29" fmla="*/ 716220 w 1248072"/>
                  <a:gd name="connsiteY29" fmla="*/ 818335 h 971688"/>
                  <a:gd name="connsiteX30" fmla="*/ 701590 w 1248072"/>
                  <a:gd name="connsiteY30" fmla="*/ 803705 h 971688"/>
                  <a:gd name="connsiteX31" fmla="*/ 730867 w 1248072"/>
                  <a:gd name="connsiteY31" fmla="*/ 774428 h 971688"/>
                  <a:gd name="connsiteX32" fmla="*/ 730867 w 1248072"/>
                  <a:gd name="connsiteY32" fmla="*/ 736781 h 971688"/>
                  <a:gd name="connsiteX33" fmla="*/ 712735 w 1248072"/>
                  <a:gd name="connsiteY33" fmla="*/ 736781 h 971688"/>
                  <a:gd name="connsiteX34" fmla="*/ 712735 w 1248072"/>
                  <a:gd name="connsiteY34" fmla="*/ 768843 h 971688"/>
                  <a:gd name="connsiteX35" fmla="*/ 673705 w 1248072"/>
                  <a:gd name="connsiteY35" fmla="*/ 768843 h 971688"/>
                  <a:gd name="connsiteX36" fmla="*/ 673705 w 1248072"/>
                  <a:gd name="connsiteY36" fmla="*/ 809274 h 971688"/>
                  <a:gd name="connsiteX37" fmla="*/ 653490 w 1248072"/>
                  <a:gd name="connsiteY37" fmla="*/ 789058 h 971688"/>
                  <a:gd name="connsiteX38" fmla="*/ 653490 w 1248072"/>
                  <a:gd name="connsiteY38" fmla="*/ 759090 h 971688"/>
                  <a:gd name="connsiteX39" fmla="*/ 595291 w 1248072"/>
                  <a:gd name="connsiteY39" fmla="*/ 700882 h 971688"/>
                  <a:gd name="connsiteX40" fmla="*/ 542660 w 1248072"/>
                  <a:gd name="connsiteY40" fmla="*/ 700882 h 971688"/>
                  <a:gd name="connsiteX41" fmla="*/ 517395 w 1248072"/>
                  <a:gd name="connsiteY41" fmla="*/ 675608 h 971688"/>
                  <a:gd name="connsiteX42" fmla="*/ 465983 w 1248072"/>
                  <a:gd name="connsiteY42" fmla="*/ 675608 h 971688"/>
                  <a:gd name="connsiteX43" fmla="*/ 429119 w 1248072"/>
                  <a:gd name="connsiteY43" fmla="*/ 712464 h 971688"/>
                  <a:gd name="connsiteX44" fmla="*/ 322391 w 1248072"/>
                  <a:gd name="connsiteY44" fmla="*/ 712464 h 971688"/>
                  <a:gd name="connsiteX45" fmla="*/ 322391 w 1248072"/>
                  <a:gd name="connsiteY45" fmla="*/ 736781 h 971688"/>
                  <a:gd name="connsiteX46" fmla="*/ 297299 w 1248072"/>
                  <a:gd name="connsiteY46" fmla="*/ 761873 h 971688"/>
                  <a:gd name="connsiteX47" fmla="*/ 185769 w 1248072"/>
                  <a:gd name="connsiteY47" fmla="*/ 761873 h 971688"/>
                  <a:gd name="connsiteX48" fmla="*/ 128607 w 1248072"/>
                  <a:gd name="connsiteY48" fmla="*/ 819035 h 971688"/>
                  <a:gd name="connsiteX49" fmla="*/ 67269 w 1248072"/>
                  <a:gd name="connsiteY49" fmla="*/ 819035 h 971688"/>
                  <a:gd name="connsiteX50" fmla="*/ 20561 w 1248072"/>
                  <a:gd name="connsiteY50" fmla="*/ 772336 h 971688"/>
                  <a:gd name="connsiteX51" fmla="*/ 61692 w 1248072"/>
                  <a:gd name="connsiteY51" fmla="*/ 731205 h 971688"/>
                  <a:gd name="connsiteX52" fmla="*/ 61692 w 1248072"/>
                  <a:gd name="connsiteY52" fmla="*/ 682413 h 971688"/>
                  <a:gd name="connsiteX53" fmla="*/ 28931 w 1248072"/>
                  <a:gd name="connsiteY53" fmla="*/ 649651 h 971688"/>
                  <a:gd name="connsiteX54" fmla="*/ 28931 w 1248072"/>
                  <a:gd name="connsiteY54" fmla="*/ 522091 h 971688"/>
                  <a:gd name="connsiteX55" fmla="*/ 0 w 1248072"/>
                  <a:gd name="connsiteY55" fmla="*/ 493159 h 971688"/>
                  <a:gd name="connsiteX56" fmla="*/ 0 w 1248072"/>
                  <a:gd name="connsiteY56" fmla="*/ 470506 h 971688"/>
                  <a:gd name="connsiteX57" fmla="*/ 36599 w 1248072"/>
                  <a:gd name="connsiteY57" fmla="*/ 470506 h 971688"/>
                  <a:gd name="connsiteX58" fmla="*/ 8024 w 1248072"/>
                  <a:gd name="connsiteY58" fmla="*/ 441928 h 971688"/>
                  <a:gd name="connsiteX59" fmla="*/ 50547 w 1248072"/>
                  <a:gd name="connsiteY59" fmla="*/ 399414 h 971688"/>
                  <a:gd name="connsiteX60" fmla="*/ 50547 w 1248072"/>
                  <a:gd name="connsiteY60" fmla="*/ 358983 h 971688"/>
                  <a:gd name="connsiteX61" fmla="*/ 85400 w 1248072"/>
                  <a:gd name="connsiteY61" fmla="*/ 324130 h 971688"/>
                  <a:gd name="connsiteX62" fmla="*/ 181583 w 1248072"/>
                  <a:gd name="connsiteY62" fmla="*/ 324130 h 971688"/>
                  <a:gd name="connsiteX63" fmla="*/ 235953 w 1248072"/>
                  <a:gd name="connsiteY63" fmla="*/ 269761 h 971688"/>
                  <a:gd name="connsiteX64" fmla="*/ 287538 w 1248072"/>
                  <a:gd name="connsiteY64" fmla="*/ 269761 h 971688"/>
                  <a:gd name="connsiteX65" fmla="*/ 287538 w 1248072"/>
                  <a:gd name="connsiteY65" fmla="*/ 250237 h 971688"/>
                  <a:gd name="connsiteX66" fmla="*/ 308453 w 1248072"/>
                  <a:gd name="connsiteY66" fmla="*/ 229321 h 971688"/>
                  <a:gd name="connsiteX67" fmla="*/ 308453 w 1248072"/>
                  <a:gd name="connsiteY67" fmla="*/ 193083 h 971688"/>
                  <a:gd name="connsiteX68" fmla="*/ 331453 w 1248072"/>
                  <a:gd name="connsiteY68" fmla="*/ 170076 h 971688"/>
                  <a:gd name="connsiteX69" fmla="*/ 359338 w 1248072"/>
                  <a:gd name="connsiteY69" fmla="*/ 197961 h 971688"/>
                  <a:gd name="connsiteX70" fmla="*/ 359338 w 1248072"/>
                  <a:gd name="connsiteY70" fmla="*/ 169385 h 971688"/>
                  <a:gd name="connsiteX71" fmla="*/ 393491 w 1248072"/>
                  <a:gd name="connsiteY71" fmla="*/ 169385 h 971688"/>
                  <a:gd name="connsiteX72" fmla="*/ 393491 w 1248072"/>
                  <a:gd name="connsiteY72" fmla="*/ 123377 h 971688"/>
                  <a:gd name="connsiteX73" fmla="*/ 443675 w 1248072"/>
                  <a:gd name="connsiteY73" fmla="*/ 73192 h 971688"/>
                  <a:gd name="connsiteX74" fmla="*/ 502229 w 1248072"/>
                  <a:gd name="connsiteY74" fmla="*/ 131745 h 971688"/>
                  <a:gd name="connsiteX75" fmla="*/ 553814 w 1248072"/>
                  <a:gd name="connsiteY75" fmla="*/ 131745 h 971688"/>
                  <a:gd name="connsiteX76" fmla="*/ 553814 w 1248072"/>
                  <a:gd name="connsiteY76" fmla="*/ 103861 h 971688"/>
                  <a:gd name="connsiteX77" fmla="*/ 595637 w 1248072"/>
                  <a:gd name="connsiteY77" fmla="*/ 62038 h 971688"/>
                  <a:gd name="connsiteX78" fmla="*/ 643036 w 1248072"/>
                  <a:gd name="connsiteY78" fmla="*/ 62038 h 971688"/>
                  <a:gd name="connsiteX79" fmla="*/ 643036 w 1248072"/>
                  <a:gd name="connsiteY79" fmla="*/ 31369 h 971688"/>
                  <a:gd name="connsiteX80" fmla="*/ 611667 w 1248072"/>
                  <a:gd name="connsiteY80" fmla="*/ 0 h 971688"/>
                  <a:gd name="connsiteX81" fmla="*/ 658367 w 1248072"/>
                  <a:gd name="connsiteY81" fmla="*/ 0 h 971688"/>
                  <a:gd name="connsiteX82" fmla="*/ 658367 w 1248072"/>
                  <a:gd name="connsiteY82" fmla="*/ 31369 h 971688"/>
                  <a:gd name="connsiteX83" fmla="*/ 739228 w 1248072"/>
                  <a:gd name="connsiteY83" fmla="*/ 31369 h 971688"/>
                  <a:gd name="connsiteX84" fmla="*/ 775466 w 1248072"/>
                  <a:gd name="connsiteY84" fmla="*/ 67615 h 971688"/>
                  <a:gd name="connsiteX85" fmla="*/ 740620 w 1248072"/>
                  <a:gd name="connsiteY85" fmla="*/ 102461 h 971688"/>
                  <a:gd name="connsiteX86" fmla="*/ 740620 w 1248072"/>
                  <a:gd name="connsiteY86" fmla="*/ 158230 h 971688"/>
                  <a:gd name="connsiteX87" fmla="*/ 759444 w 1248072"/>
                  <a:gd name="connsiteY87" fmla="*/ 177053 h 971688"/>
                  <a:gd name="connsiteX88" fmla="*/ 797782 w 1248072"/>
                  <a:gd name="connsiteY88" fmla="*/ 177053 h 971688"/>
                  <a:gd name="connsiteX89" fmla="*/ 833674 w 1248072"/>
                  <a:gd name="connsiteY89" fmla="*/ 212945 h 971688"/>
                  <a:gd name="connsiteX90" fmla="*/ 868882 w 1248072"/>
                  <a:gd name="connsiteY90" fmla="*/ 212945 h 971688"/>
                  <a:gd name="connsiteX91" fmla="*/ 908093 w 1248072"/>
                  <a:gd name="connsiteY91" fmla="*/ 173734 h 971688"/>
                  <a:gd name="connsiteX92" fmla="*/ 908093 w 1248072"/>
                  <a:gd name="connsiteY92" fmla="*/ 106646 h 971688"/>
                  <a:gd name="connsiteX93" fmla="*/ 946341 w 1248072"/>
                  <a:gd name="connsiteY93" fmla="*/ 68398 h 971688"/>
                  <a:gd name="connsiteX94" fmla="*/ 946341 w 1248072"/>
                  <a:gd name="connsiteY94" fmla="*/ 9046 h 971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248072" h="971688">
                    <a:moveTo>
                      <a:pt x="962281" y="9061"/>
                    </a:moveTo>
                    <a:lnTo>
                      <a:pt x="962281" y="69007"/>
                    </a:lnTo>
                    <a:lnTo>
                      <a:pt x="991558" y="98285"/>
                    </a:lnTo>
                    <a:lnTo>
                      <a:pt x="1013866" y="98285"/>
                    </a:lnTo>
                    <a:lnTo>
                      <a:pt x="1040350" y="124768"/>
                    </a:lnTo>
                    <a:lnTo>
                      <a:pt x="1040350" y="246061"/>
                    </a:lnTo>
                    <a:lnTo>
                      <a:pt x="1248072" y="453783"/>
                    </a:lnTo>
                    <a:lnTo>
                      <a:pt x="1248072" y="558336"/>
                    </a:lnTo>
                    <a:lnTo>
                      <a:pt x="1213910" y="592490"/>
                    </a:lnTo>
                    <a:lnTo>
                      <a:pt x="1213910" y="644766"/>
                    </a:lnTo>
                    <a:lnTo>
                      <a:pt x="1191257" y="667420"/>
                    </a:lnTo>
                    <a:lnTo>
                      <a:pt x="1191257" y="729813"/>
                    </a:lnTo>
                    <a:lnTo>
                      <a:pt x="1146476" y="774593"/>
                    </a:lnTo>
                    <a:lnTo>
                      <a:pt x="1146476" y="820428"/>
                    </a:lnTo>
                    <a:lnTo>
                      <a:pt x="1110057" y="820428"/>
                    </a:lnTo>
                    <a:lnTo>
                      <a:pt x="1110057" y="884558"/>
                    </a:lnTo>
                    <a:lnTo>
                      <a:pt x="1080789" y="913827"/>
                    </a:lnTo>
                    <a:lnTo>
                      <a:pt x="1044535" y="913827"/>
                    </a:lnTo>
                    <a:lnTo>
                      <a:pt x="1004804" y="953566"/>
                    </a:lnTo>
                    <a:lnTo>
                      <a:pt x="976227" y="953566"/>
                    </a:lnTo>
                    <a:lnTo>
                      <a:pt x="943812" y="921150"/>
                    </a:lnTo>
                    <a:lnTo>
                      <a:pt x="893274" y="971688"/>
                    </a:lnTo>
                    <a:lnTo>
                      <a:pt x="870966" y="949381"/>
                    </a:lnTo>
                    <a:lnTo>
                      <a:pt x="842389" y="949381"/>
                    </a:lnTo>
                    <a:lnTo>
                      <a:pt x="767459" y="874450"/>
                    </a:lnTo>
                    <a:lnTo>
                      <a:pt x="767459" y="830189"/>
                    </a:lnTo>
                    <a:lnTo>
                      <a:pt x="740620" y="830189"/>
                    </a:lnTo>
                    <a:lnTo>
                      <a:pt x="761536" y="809274"/>
                    </a:lnTo>
                    <a:lnTo>
                      <a:pt x="743413" y="791150"/>
                    </a:lnTo>
                    <a:lnTo>
                      <a:pt x="716220" y="818335"/>
                    </a:lnTo>
                    <a:lnTo>
                      <a:pt x="701590" y="803705"/>
                    </a:lnTo>
                    <a:lnTo>
                      <a:pt x="730867" y="774428"/>
                    </a:lnTo>
                    <a:lnTo>
                      <a:pt x="730867" y="736781"/>
                    </a:lnTo>
                    <a:lnTo>
                      <a:pt x="712735" y="736781"/>
                    </a:lnTo>
                    <a:lnTo>
                      <a:pt x="712735" y="768843"/>
                    </a:lnTo>
                    <a:lnTo>
                      <a:pt x="673705" y="768843"/>
                    </a:lnTo>
                    <a:lnTo>
                      <a:pt x="673705" y="809274"/>
                    </a:lnTo>
                    <a:lnTo>
                      <a:pt x="653490" y="789058"/>
                    </a:lnTo>
                    <a:lnTo>
                      <a:pt x="653490" y="759090"/>
                    </a:lnTo>
                    <a:lnTo>
                      <a:pt x="595291" y="700882"/>
                    </a:lnTo>
                    <a:lnTo>
                      <a:pt x="542660" y="700882"/>
                    </a:lnTo>
                    <a:lnTo>
                      <a:pt x="517395" y="675608"/>
                    </a:lnTo>
                    <a:lnTo>
                      <a:pt x="465983" y="675608"/>
                    </a:lnTo>
                    <a:lnTo>
                      <a:pt x="429119" y="712464"/>
                    </a:lnTo>
                    <a:lnTo>
                      <a:pt x="322391" y="712464"/>
                    </a:lnTo>
                    <a:lnTo>
                      <a:pt x="322391" y="736781"/>
                    </a:lnTo>
                    <a:lnTo>
                      <a:pt x="297299" y="761873"/>
                    </a:lnTo>
                    <a:lnTo>
                      <a:pt x="185769" y="761873"/>
                    </a:lnTo>
                    <a:lnTo>
                      <a:pt x="128607" y="819035"/>
                    </a:lnTo>
                    <a:lnTo>
                      <a:pt x="67269" y="819035"/>
                    </a:lnTo>
                    <a:lnTo>
                      <a:pt x="20561" y="772336"/>
                    </a:lnTo>
                    <a:lnTo>
                      <a:pt x="61692" y="731205"/>
                    </a:lnTo>
                    <a:lnTo>
                      <a:pt x="61692" y="682413"/>
                    </a:lnTo>
                    <a:lnTo>
                      <a:pt x="28931" y="649651"/>
                    </a:lnTo>
                    <a:lnTo>
                      <a:pt x="28931" y="522091"/>
                    </a:lnTo>
                    <a:lnTo>
                      <a:pt x="0" y="493159"/>
                    </a:lnTo>
                    <a:lnTo>
                      <a:pt x="0" y="470506"/>
                    </a:lnTo>
                    <a:lnTo>
                      <a:pt x="36599" y="470506"/>
                    </a:lnTo>
                    <a:lnTo>
                      <a:pt x="8024" y="441928"/>
                    </a:lnTo>
                    <a:lnTo>
                      <a:pt x="50547" y="399414"/>
                    </a:lnTo>
                    <a:lnTo>
                      <a:pt x="50547" y="358983"/>
                    </a:lnTo>
                    <a:lnTo>
                      <a:pt x="85400" y="324130"/>
                    </a:lnTo>
                    <a:lnTo>
                      <a:pt x="181583" y="324130"/>
                    </a:lnTo>
                    <a:lnTo>
                      <a:pt x="235953" y="269761"/>
                    </a:lnTo>
                    <a:lnTo>
                      <a:pt x="287538" y="269761"/>
                    </a:lnTo>
                    <a:lnTo>
                      <a:pt x="287538" y="250237"/>
                    </a:lnTo>
                    <a:lnTo>
                      <a:pt x="308453" y="229321"/>
                    </a:lnTo>
                    <a:lnTo>
                      <a:pt x="308453" y="193083"/>
                    </a:lnTo>
                    <a:lnTo>
                      <a:pt x="331453" y="170076"/>
                    </a:lnTo>
                    <a:lnTo>
                      <a:pt x="359338" y="197961"/>
                    </a:lnTo>
                    <a:lnTo>
                      <a:pt x="359338" y="169385"/>
                    </a:lnTo>
                    <a:lnTo>
                      <a:pt x="393491" y="169385"/>
                    </a:lnTo>
                    <a:lnTo>
                      <a:pt x="393491" y="123377"/>
                    </a:lnTo>
                    <a:lnTo>
                      <a:pt x="443675" y="73192"/>
                    </a:lnTo>
                    <a:lnTo>
                      <a:pt x="502229" y="131745"/>
                    </a:lnTo>
                    <a:lnTo>
                      <a:pt x="553814" y="131745"/>
                    </a:lnTo>
                    <a:lnTo>
                      <a:pt x="553814" y="103861"/>
                    </a:lnTo>
                    <a:lnTo>
                      <a:pt x="595637" y="62038"/>
                    </a:lnTo>
                    <a:lnTo>
                      <a:pt x="643036" y="62038"/>
                    </a:lnTo>
                    <a:lnTo>
                      <a:pt x="643036" y="31369"/>
                    </a:lnTo>
                    <a:lnTo>
                      <a:pt x="611667" y="0"/>
                    </a:lnTo>
                    <a:lnTo>
                      <a:pt x="658367" y="0"/>
                    </a:lnTo>
                    <a:lnTo>
                      <a:pt x="658367" y="31369"/>
                    </a:lnTo>
                    <a:lnTo>
                      <a:pt x="739228" y="31369"/>
                    </a:lnTo>
                    <a:lnTo>
                      <a:pt x="775466" y="67615"/>
                    </a:lnTo>
                    <a:lnTo>
                      <a:pt x="740620" y="102461"/>
                    </a:lnTo>
                    <a:lnTo>
                      <a:pt x="740620" y="158230"/>
                    </a:lnTo>
                    <a:lnTo>
                      <a:pt x="759444" y="177053"/>
                    </a:lnTo>
                    <a:lnTo>
                      <a:pt x="797782" y="177053"/>
                    </a:lnTo>
                    <a:lnTo>
                      <a:pt x="833674" y="212945"/>
                    </a:lnTo>
                    <a:lnTo>
                      <a:pt x="868882" y="212945"/>
                    </a:lnTo>
                    <a:lnTo>
                      <a:pt x="908093" y="173734"/>
                    </a:lnTo>
                    <a:lnTo>
                      <a:pt x="908093" y="106646"/>
                    </a:lnTo>
                    <a:lnTo>
                      <a:pt x="946341" y="68398"/>
                    </a:lnTo>
                    <a:lnTo>
                      <a:pt x="946341" y="9046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38" name="Freeform: Shape 837">
                <a:extLst>
                  <a:ext uri="{FF2B5EF4-FFF2-40B4-BE49-F238E27FC236}">
                    <a16:creationId xmlns:a16="http://schemas.microsoft.com/office/drawing/2014/main" id="{C0AAA005-E1E2-4052-C7A6-371B6929CDA6}"/>
                  </a:ext>
                </a:extLst>
              </p:cNvPr>
              <p:cNvSpPr/>
              <p:nvPr/>
            </p:nvSpPr>
            <p:spPr>
              <a:xfrm>
                <a:off x="10150325" y="6050999"/>
                <a:ext cx="119685" cy="133690"/>
              </a:xfrm>
              <a:custGeom>
                <a:avLst/>
                <a:gdLst>
                  <a:gd name="connsiteX0" fmla="*/ 119686 w 119685"/>
                  <a:gd name="connsiteY0" fmla="*/ 0 h 133690"/>
                  <a:gd name="connsiteX1" fmla="*/ 119686 w 119685"/>
                  <a:gd name="connsiteY1" fmla="*/ 72797 h 133690"/>
                  <a:gd name="connsiteX2" fmla="*/ 58793 w 119685"/>
                  <a:gd name="connsiteY2" fmla="*/ 133691 h 133690"/>
                  <a:gd name="connsiteX3" fmla="*/ 34294 w 119685"/>
                  <a:gd name="connsiteY3" fmla="*/ 109192 h 133690"/>
                  <a:gd name="connsiteX4" fmla="*/ 34294 w 119685"/>
                  <a:gd name="connsiteY4" fmla="*/ 65795 h 133690"/>
                  <a:gd name="connsiteX5" fmla="*/ 0 w 119685"/>
                  <a:gd name="connsiteY5" fmla="*/ 31502 h 133690"/>
                  <a:gd name="connsiteX6" fmla="*/ 22398 w 119685"/>
                  <a:gd name="connsiteY6" fmla="*/ 9103 h 133690"/>
                  <a:gd name="connsiteX7" fmla="*/ 51799 w 119685"/>
                  <a:gd name="connsiteY7" fmla="*/ 38504 h 133690"/>
                  <a:gd name="connsiteX8" fmla="*/ 90294 w 119685"/>
                  <a:gd name="connsiteY8" fmla="*/ 9 h 133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9685" h="133690">
                    <a:moveTo>
                      <a:pt x="119686" y="0"/>
                    </a:moveTo>
                    <a:lnTo>
                      <a:pt x="119686" y="72797"/>
                    </a:lnTo>
                    <a:lnTo>
                      <a:pt x="58793" y="133691"/>
                    </a:lnTo>
                    <a:lnTo>
                      <a:pt x="34294" y="109192"/>
                    </a:lnTo>
                    <a:lnTo>
                      <a:pt x="34294" y="65795"/>
                    </a:lnTo>
                    <a:lnTo>
                      <a:pt x="0" y="31502"/>
                    </a:lnTo>
                    <a:lnTo>
                      <a:pt x="22398" y="9103"/>
                    </a:lnTo>
                    <a:lnTo>
                      <a:pt x="51799" y="38504"/>
                    </a:lnTo>
                    <a:lnTo>
                      <a:pt x="90294" y="9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694" name="Graphic 6">
              <a:extLst>
                <a:ext uri="{FF2B5EF4-FFF2-40B4-BE49-F238E27FC236}">
                  <a16:creationId xmlns:a16="http://schemas.microsoft.com/office/drawing/2014/main" id="{D4408372-E009-71D2-95C2-C345AB33FFDF}"/>
                </a:ext>
              </a:extLst>
            </p:cNvPr>
            <p:cNvGrpSpPr/>
            <p:nvPr/>
          </p:nvGrpSpPr>
          <p:grpSpPr>
            <a:xfrm>
              <a:off x="6645950" y="964455"/>
              <a:ext cx="4552072" cy="2350633"/>
              <a:chOff x="6645950" y="964455"/>
              <a:chExt cx="4552072" cy="2350633"/>
            </a:xfrm>
            <a:grpFill/>
          </p:grpSpPr>
          <p:sp>
            <p:nvSpPr>
              <p:cNvPr id="835" name="Freeform: Shape 834">
                <a:extLst>
                  <a:ext uri="{FF2B5EF4-FFF2-40B4-BE49-F238E27FC236}">
                    <a16:creationId xmlns:a16="http://schemas.microsoft.com/office/drawing/2014/main" id="{5A6B95EE-2144-FFCE-166A-CAC21A9A8EE6}"/>
                  </a:ext>
                </a:extLst>
              </p:cNvPr>
              <p:cNvSpPr/>
              <p:nvPr/>
            </p:nvSpPr>
            <p:spPr>
              <a:xfrm>
                <a:off x="6645950" y="964455"/>
                <a:ext cx="4552072" cy="2350633"/>
              </a:xfrm>
              <a:custGeom>
                <a:avLst/>
                <a:gdLst>
                  <a:gd name="connsiteX0" fmla="*/ 41848 w 4552072"/>
                  <a:gd name="connsiteY0" fmla="*/ 1425670 h 2350633"/>
                  <a:gd name="connsiteX1" fmla="*/ 10437 w 4552072"/>
                  <a:gd name="connsiteY1" fmla="*/ 1394300 h 2350633"/>
                  <a:gd name="connsiteX2" fmla="*/ 10437 w 4552072"/>
                  <a:gd name="connsiteY2" fmla="*/ 1347995 h 2350633"/>
                  <a:gd name="connsiteX3" fmla="*/ 55011 w 4552072"/>
                  <a:gd name="connsiteY3" fmla="*/ 1303422 h 2350633"/>
                  <a:gd name="connsiteX4" fmla="*/ 72080 w 4552072"/>
                  <a:gd name="connsiteY4" fmla="*/ 1303422 h 2350633"/>
                  <a:gd name="connsiteX5" fmla="*/ 113384 w 4552072"/>
                  <a:gd name="connsiteY5" fmla="*/ 1262101 h 2350633"/>
                  <a:gd name="connsiteX6" fmla="*/ 113384 w 4552072"/>
                  <a:gd name="connsiteY6" fmla="*/ 1215056 h 2350633"/>
                  <a:gd name="connsiteX7" fmla="*/ 79296 w 4552072"/>
                  <a:gd name="connsiteY7" fmla="*/ 1180984 h 2350633"/>
                  <a:gd name="connsiteX8" fmla="*/ 79296 w 4552072"/>
                  <a:gd name="connsiteY8" fmla="*/ 1144878 h 2350633"/>
                  <a:gd name="connsiteX9" fmla="*/ 79296 w 4552072"/>
                  <a:gd name="connsiteY9" fmla="*/ 1096284 h 2350633"/>
                  <a:gd name="connsiteX10" fmla="*/ 60317 w 4552072"/>
                  <a:gd name="connsiteY10" fmla="*/ 1077321 h 2350633"/>
                  <a:gd name="connsiteX11" fmla="*/ 60317 w 4552072"/>
                  <a:gd name="connsiteY11" fmla="*/ 1003041 h 2350633"/>
                  <a:gd name="connsiteX12" fmla="*/ 60317 w 4552072"/>
                  <a:gd name="connsiteY12" fmla="*/ 945130 h 2350633"/>
                  <a:gd name="connsiteX13" fmla="*/ 41501 w 4552072"/>
                  <a:gd name="connsiteY13" fmla="*/ 926298 h 2350633"/>
                  <a:gd name="connsiteX14" fmla="*/ 76874 w 4552072"/>
                  <a:gd name="connsiteY14" fmla="*/ 890917 h 2350633"/>
                  <a:gd name="connsiteX15" fmla="*/ 76874 w 4552072"/>
                  <a:gd name="connsiteY15" fmla="*/ 855817 h 2350633"/>
                  <a:gd name="connsiteX16" fmla="*/ 42161 w 4552072"/>
                  <a:gd name="connsiteY16" fmla="*/ 821103 h 2350633"/>
                  <a:gd name="connsiteX17" fmla="*/ 21681 w 4552072"/>
                  <a:gd name="connsiteY17" fmla="*/ 800624 h 2350633"/>
                  <a:gd name="connsiteX18" fmla="*/ 19243 w 4552072"/>
                  <a:gd name="connsiteY18" fmla="*/ 764543 h 2350633"/>
                  <a:gd name="connsiteX19" fmla="*/ 75689 w 4552072"/>
                  <a:gd name="connsiteY19" fmla="*/ 708094 h 2350633"/>
                  <a:gd name="connsiteX20" fmla="*/ 105772 w 4552072"/>
                  <a:gd name="connsiteY20" fmla="*/ 738182 h 2350633"/>
                  <a:gd name="connsiteX21" fmla="*/ 169787 w 4552072"/>
                  <a:gd name="connsiteY21" fmla="*/ 738182 h 2350633"/>
                  <a:gd name="connsiteX22" fmla="*/ 190967 w 4552072"/>
                  <a:gd name="connsiteY22" fmla="*/ 759357 h 2350633"/>
                  <a:gd name="connsiteX23" fmla="*/ 241398 w 4552072"/>
                  <a:gd name="connsiteY23" fmla="*/ 759357 h 2350633"/>
                  <a:gd name="connsiteX24" fmla="*/ 275321 w 4552072"/>
                  <a:gd name="connsiteY24" fmla="*/ 793276 h 2350633"/>
                  <a:gd name="connsiteX25" fmla="*/ 326988 w 4552072"/>
                  <a:gd name="connsiteY25" fmla="*/ 793276 h 2350633"/>
                  <a:gd name="connsiteX26" fmla="*/ 347722 w 4552072"/>
                  <a:gd name="connsiteY26" fmla="*/ 814014 h 2350633"/>
                  <a:gd name="connsiteX27" fmla="*/ 347722 w 4552072"/>
                  <a:gd name="connsiteY27" fmla="*/ 835807 h 2350633"/>
                  <a:gd name="connsiteX28" fmla="*/ 383573 w 4552072"/>
                  <a:gd name="connsiteY28" fmla="*/ 871658 h 2350633"/>
                  <a:gd name="connsiteX29" fmla="*/ 383573 w 4552072"/>
                  <a:gd name="connsiteY29" fmla="*/ 907858 h 2350633"/>
                  <a:gd name="connsiteX30" fmla="*/ 357912 w 4552072"/>
                  <a:gd name="connsiteY30" fmla="*/ 907858 h 2350633"/>
                  <a:gd name="connsiteX31" fmla="*/ 304845 w 4552072"/>
                  <a:gd name="connsiteY31" fmla="*/ 960930 h 2350633"/>
                  <a:gd name="connsiteX32" fmla="*/ 195885 w 4552072"/>
                  <a:gd name="connsiteY32" fmla="*/ 960930 h 2350633"/>
                  <a:gd name="connsiteX33" fmla="*/ 169170 w 4552072"/>
                  <a:gd name="connsiteY33" fmla="*/ 934219 h 2350633"/>
                  <a:gd name="connsiteX34" fmla="*/ 148790 w 4552072"/>
                  <a:gd name="connsiteY34" fmla="*/ 954603 h 2350633"/>
                  <a:gd name="connsiteX35" fmla="*/ 196239 w 4552072"/>
                  <a:gd name="connsiteY35" fmla="*/ 1002053 h 2350633"/>
                  <a:gd name="connsiteX36" fmla="*/ 180423 w 4552072"/>
                  <a:gd name="connsiteY36" fmla="*/ 1017869 h 2350633"/>
                  <a:gd name="connsiteX37" fmla="*/ 180423 w 4552072"/>
                  <a:gd name="connsiteY37" fmla="*/ 1071999 h 2350633"/>
                  <a:gd name="connsiteX38" fmla="*/ 235253 w 4552072"/>
                  <a:gd name="connsiteY38" fmla="*/ 1126829 h 2350633"/>
                  <a:gd name="connsiteX39" fmla="*/ 253524 w 4552072"/>
                  <a:gd name="connsiteY39" fmla="*/ 1108554 h 2350633"/>
                  <a:gd name="connsiteX40" fmla="*/ 283048 w 4552072"/>
                  <a:gd name="connsiteY40" fmla="*/ 1138074 h 2350633"/>
                  <a:gd name="connsiteX41" fmla="*/ 332960 w 4552072"/>
                  <a:gd name="connsiteY41" fmla="*/ 1088166 h 2350633"/>
                  <a:gd name="connsiteX42" fmla="*/ 382164 w 4552072"/>
                  <a:gd name="connsiteY42" fmla="*/ 1088166 h 2350633"/>
                  <a:gd name="connsiteX43" fmla="*/ 382164 w 4552072"/>
                  <a:gd name="connsiteY43" fmla="*/ 1029118 h 2350633"/>
                  <a:gd name="connsiteX44" fmla="*/ 443675 w 4552072"/>
                  <a:gd name="connsiteY44" fmla="*/ 967611 h 2350633"/>
                  <a:gd name="connsiteX45" fmla="*/ 491125 w 4552072"/>
                  <a:gd name="connsiteY45" fmla="*/ 1015060 h 2350633"/>
                  <a:gd name="connsiteX46" fmla="*/ 491125 w 4552072"/>
                  <a:gd name="connsiteY46" fmla="*/ 973587 h 2350633"/>
                  <a:gd name="connsiteX47" fmla="*/ 453865 w 4552072"/>
                  <a:gd name="connsiteY47" fmla="*/ 936328 h 2350633"/>
                  <a:gd name="connsiteX48" fmla="*/ 453865 w 4552072"/>
                  <a:gd name="connsiteY48" fmla="*/ 828072 h 2350633"/>
                  <a:gd name="connsiteX49" fmla="*/ 487607 w 4552072"/>
                  <a:gd name="connsiteY49" fmla="*/ 794330 h 2350633"/>
                  <a:gd name="connsiteX50" fmla="*/ 526275 w 4552072"/>
                  <a:gd name="connsiteY50" fmla="*/ 794330 h 2350633"/>
                  <a:gd name="connsiteX51" fmla="*/ 526275 w 4552072"/>
                  <a:gd name="connsiteY51" fmla="*/ 870953 h 2350633"/>
                  <a:gd name="connsiteX52" fmla="*/ 510804 w 4552072"/>
                  <a:gd name="connsiteY52" fmla="*/ 886420 h 2350633"/>
                  <a:gd name="connsiteX53" fmla="*/ 581805 w 4552072"/>
                  <a:gd name="connsiteY53" fmla="*/ 957421 h 2350633"/>
                  <a:gd name="connsiteX54" fmla="*/ 688657 w 4552072"/>
                  <a:gd name="connsiteY54" fmla="*/ 850569 h 2350633"/>
                  <a:gd name="connsiteX55" fmla="*/ 665459 w 4552072"/>
                  <a:gd name="connsiteY55" fmla="*/ 827372 h 2350633"/>
                  <a:gd name="connsiteX56" fmla="*/ 713963 w 4552072"/>
                  <a:gd name="connsiteY56" fmla="*/ 778868 h 2350633"/>
                  <a:gd name="connsiteX57" fmla="*/ 762813 w 4552072"/>
                  <a:gd name="connsiteY57" fmla="*/ 778868 h 2350633"/>
                  <a:gd name="connsiteX58" fmla="*/ 762813 w 4552072"/>
                  <a:gd name="connsiteY58" fmla="*/ 841784 h 2350633"/>
                  <a:gd name="connsiteX59" fmla="*/ 794100 w 4552072"/>
                  <a:gd name="connsiteY59" fmla="*/ 810501 h 2350633"/>
                  <a:gd name="connsiteX60" fmla="*/ 872127 w 4552072"/>
                  <a:gd name="connsiteY60" fmla="*/ 810501 h 2350633"/>
                  <a:gd name="connsiteX61" fmla="*/ 892161 w 4552072"/>
                  <a:gd name="connsiteY61" fmla="*/ 790467 h 2350633"/>
                  <a:gd name="connsiteX62" fmla="*/ 915005 w 4552072"/>
                  <a:gd name="connsiteY62" fmla="*/ 813314 h 2350633"/>
                  <a:gd name="connsiteX63" fmla="*/ 950855 w 4552072"/>
                  <a:gd name="connsiteY63" fmla="*/ 813314 h 2350633"/>
                  <a:gd name="connsiteX64" fmla="*/ 991624 w 4552072"/>
                  <a:gd name="connsiteY64" fmla="*/ 772546 h 2350633"/>
                  <a:gd name="connsiteX65" fmla="*/ 965609 w 4552072"/>
                  <a:gd name="connsiteY65" fmla="*/ 746531 h 2350633"/>
                  <a:gd name="connsiteX66" fmla="*/ 965609 w 4552072"/>
                  <a:gd name="connsiteY66" fmla="*/ 701541 h 2350633"/>
                  <a:gd name="connsiteX67" fmla="*/ 1116046 w 4552072"/>
                  <a:gd name="connsiteY67" fmla="*/ 701541 h 2350633"/>
                  <a:gd name="connsiteX68" fmla="*/ 1116046 w 4552072"/>
                  <a:gd name="connsiteY68" fmla="*/ 753562 h 2350633"/>
                  <a:gd name="connsiteX69" fmla="*/ 1183439 w 4552072"/>
                  <a:gd name="connsiteY69" fmla="*/ 820955 h 2350633"/>
                  <a:gd name="connsiteX70" fmla="*/ 1197410 w 4552072"/>
                  <a:gd name="connsiteY70" fmla="*/ 806983 h 2350633"/>
                  <a:gd name="connsiteX71" fmla="*/ 1197410 w 4552072"/>
                  <a:gd name="connsiteY71" fmla="*/ 767797 h 2350633"/>
                  <a:gd name="connsiteX72" fmla="*/ 1150842 w 4552072"/>
                  <a:gd name="connsiteY72" fmla="*/ 721225 h 2350633"/>
                  <a:gd name="connsiteX73" fmla="*/ 1150842 w 4552072"/>
                  <a:gd name="connsiteY73" fmla="*/ 622458 h 2350633"/>
                  <a:gd name="connsiteX74" fmla="*/ 1206727 w 4552072"/>
                  <a:gd name="connsiteY74" fmla="*/ 566574 h 2350633"/>
                  <a:gd name="connsiteX75" fmla="*/ 1206727 w 4552072"/>
                  <a:gd name="connsiteY75" fmla="*/ 518070 h 2350633"/>
                  <a:gd name="connsiteX76" fmla="*/ 1172277 w 4552072"/>
                  <a:gd name="connsiteY76" fmla="*/ 483624 h 2350633"/>
                  <a:gd name="connsiteX77" fmla="*/ 1172277 w 4552072"/>
                  <a:gd name="connsiteY77" fmla="*/ 458322 h 2350633"/>
                  <a:gd name="connsiteX78" fmla="*/ 1198992 w 4552072"/>
                  <a:gd name="connsiteY78" fmla="*/ 431607 h 2350633"/>
                  <a:gd name="connsiteX79" fmla="*/ 1296353 w 4552072"/>
                  <a:gd name="connsiteY79" fmla="*/ 431607 h 2350633"/>
                  <a:gd name="connsiteX80" fmla="*/ 1296353 w 4552072"/>
                  <a:gd name="connsiteY80" fmla="*/ 460076 h 2350633"/>
                  <a:gd name="connsiteX81" fmla="*/ 1267175 w 4552072"/>
                  <a:gd name="connsiteY81" fmla="*/ 489250 h 2350633"/>
                  <a:gd name="connsiteX82" fmla="*/ 1267175 w 4552072"/>
                  <a:gd name="connsiteY82" fmla="*/ 540559 h 2350633"/>
                  <a:gd name="connsiteX83" fmla="*/ 1230971 w 4552072"/>
                  <a:gd name="connsiteY83" fmla="*/ 576764 h 2350633"/>
                  <a:gd name="connsiteX84" fmla="*/ 1267175 w 4552072"/>
                  <a:gd name="connsiteY84" fmla="*/ 612969 h 2350633"/>
                  <a:gd name="connsiteX85" fmla="*/ 1267175 w 4552072"/>
                  <a:gd name="connsiteY85" fmla="*/ 695214 h 2350633"/>
                  <a:gd name="connsiteX86" fmla="*/ 1305843 w 4552072"/>
                  <a:gd name="connsiteY86" fmla="*/ 733878 h 2350633"/>
                  <a:gd name="connsiteX87" fmla="*/ 1305843 w 4552072"/>
                  <a:gd name="connsiteY87" fmla="*/ 774650 h 2350633"/>
                  <a:gd name="connsiteX88" fmla="*/ 1342394 w 4552072"/>
                  <a:gd name="connsiteY88" fmla="*/ 811201 h 2350633"/>
                  <a:gd name="connsiteX89" fmla="*/ 1342394 w 4552072"/>
                  <a:gd name="connsiteY89" fmla="*/ 873058 h 2350633"/>
                  <a:gd name="connsiteX90" fmla="*/ 1262958 w 4552072"/>
                  <a:gd name="connsiteY90" fmla="*/ 952494 h 2350633"/>
                  <a:gd name="connsiteX91" fmla="*/ 1291781 w 4552072"/>
                  <a:gd name="connsiteY91" fmla="*/ 981314 h 2350633"/>
                  <a:gd name="connsiteX92" fmla="*/ 1318315 w 4552072"/>
                  <a:gd name="connsiteY92" fmla="*/ 981314 h 2350633"/>
                  <a:gd name="connsiteX93" fmla="*/ 1318315 w 4552072"/>
                  <a:gd name="connsiteY93" fmla="*/ 943169 h 2350633"/>
                  <a:gd name="connsiteX94" fmla="*/ 1371547 w 4552072"/>
                  <a:gd name="connsiteY94" fmla="*/ 889933 h 2350633"/>
                  <a:gd name="connsiteX95" fmla="*/ 1371547 w 4552072"/>
                  <a:gd name="connsiteY95" fmla="*/ 833324 h 2350633"/>
                  <a:gd name="connsiteX96" fmla="*/ 1390856 w 4552072"/>
                  <a:gd name="connsiteY96" fmla="*/ 814014 h 2350633"/>
                  <a:gd name="connsiteX97" fmla="*/ 1390856 w 4552072"/>
                  <a:gd name="connsiteY97" fmla="*/ 768357 h 2350633"/>
                  <a:gd name="connsiteX98" fmla="*/ 1416830 w 4552072"/>
                  <a:gd name="connsiteY98" fmla="*/ 794330 h 2350633"/>
                  <a:gd name="connsiteX99" fmla="*/ 1416830 w 4552072"/>
                  <a:gd name="connsiteY99" fmla="*/ 825337 h 2350633"/>
                  <a:gd name="connsiteX100" fmla="*/ 1468769 w 4552072"/>
                  <a:gd name="connsiteY100" fmla="*/ 877280 h 2350633"/>
                  <a:gd name="connsiteX101" fmla="*/ 1468769 w 4552072"/>
                  <a:gd name="connsiteY101" fmla="*/ 852126 h 2350633"/>
                  <a:gd name="connsiteX102" fmla="*/ 1426443 w 4552072"/>
                  <a:gd name="connsiteY102" fmla="*/ 809797 h 2350633"/>
                  <a:gd name="connsiteX103" fmla="*/ 1426443 w 4552072"/>
                  <a:gd name="connsiteY103" fmla="*/ 780577 h 2350633"/>
                  <a:gd name="connsiteX104" fmla="*/ 1357247 w 4552072"/>
                  <a:gd name="connsiteY104" fmla="*/ 711380 h 2350633"/>
                  <a:gd name="connsiteX105" fmla="*/ 1357247 w 4552072"/>
                  <a:gd name="connsiteY105" fmla="*/ 638892 h 2350633"/>
                  <a:gd name="connsiteX106" fmla="*/ 1313043 w 4552072"/>
                  <a:gd name="connsiteY106" fmla="*/ 594693 h 2350633"/>
                  <a:gd name="connsiteX107" fmla="*/ 1313043 w 4552072"/>
                  <a:gd name="connsiteY107" fmla="*/ 554098 h 2350633"/>
                  <a:gd name="connsiteX108" fmla="*/ 1325877 w 4552072"/>
                  <a:gd name="connsiteY108" fmla="*/ 541267 h 2350633"/>
                  <a:gd name="connsiteX109" fmla="*/ 1325877 w 4552072"/>
                  <a:gd name="connsiteY109" fmla="*/ 483982 h 2350633"/>
                  <a:gd name="connsiteX110" fmla="*/ 1343803 w 4552072"/>
                  <a:gd name="connsiteY110" fmla="*/ 466053 h 2350633"/>
                  <a:gd name="connsiteX111" fmla="*/ 1397924 w 4552072"/>
                  <a:gd name="connsiteY111" fmla="*/ 466053 h 2350633"/>
                  <a:gd name="connsiteX112" fmla="*/ 1374727 w 4552072"/>
                  <a:gd name="connsiteY112" fmla="*/ 489250 h 2350633"/>
                  <a:gd name="connsiteX113" fmla="*/ 1374727 w 4552072"/>
                  <a:gd name="connsiteY113" fmla="*/ 619999 h 2350633"/>
                  <a:gd name="connsiteX114" fmla="*/ 1427803 w 4552072"/>
                  <a:gd name="connsiteY114" fmla="*/ 619999 h 2350633"/>
                  <a:gd name="connsiteX115" fmla="*/ 1427803 w 4552072"/>
                  <a:gd name="connsiteY115" fmla="*/ 585199 h 2350633"/>
                  <a:gd name="connsiteX116" fmla="*/ 1404960 w 4552072"/>
                  <a:gd name="connsiteY116" fmla="*/ 562356 h 2350633"/>
                  <a:gd name="connsiteX117" fmla="*/ 1404960 w 4552072"/>
                  <a:gd name="connsiteY117" fmla="*/ 516661 h 2350633"/>
                  <a:gd name="connsiteX118" fmla="*/ 1425340 w 4552072"/>
                  <a:gd name="connsiteY118" fmla="*/ 496277 h 2350633"/>
                  <a:gd name="connsiteX119" fmla="*/ 1470334 w 4552072"/>
                  <a:gd name="connsiteY119" fmla="*/ 496277 h 2350633"/>
                  <a:gd name="connsiteX120" fmla="*/ 1534300 w 4552072"/>
                  <a:gd name="connsiteY120" fmla="*/ 560247 h 2350633"/>
                  <a:gd name="connsiteX121" fmla="*/ 1548362 w 4552072"/>
                  <a:gd name="connsiteY121" fmla="*/ 546185 h 2350633"/>
                  <a:gd name="connsiteX122" fmla="*/ 1565933 w 4552072"/>
                  <a:gd name="connsiteY122" fmla="*/ 563761 h 2350633"/>
                  <a:gd name="connsiteX123" fmla="*/ 1565933 w 4552072"/>
                  <a:gd name="connsiteY123" fmla="*/ 590475 h 2350633"/>
                  <a:gd name="connsiteX124" fmla="*/ 1550471 w 4552072"/>
                  <a:gd name="connsiteY124" fmla="*/ 605938 h 2350633"/>
                  <a:gd name="connsiteX125" fmla="*/ 1550471 w 4552072"/>
                  <a:gd name="connsiteY125" fmla="*/ 688887 h 2350633"/>
                  <a:gd name="connsiteX126" fmla="*/ 1599674 w 4552072"/>
                  <a:gd name="connsiteY126" fmla="*/ 688887 h 2350633"/>
                  <a:gd name="connsiteX127" fmla="*/ 1623572 w 4552072"/>
                  <a:gd name="connsiteY127" fmla="*/ 664986 h 2350633"/>
                  <a:gd name="connsiteX128" fmla="*/ 1623572 w 4552072"/>
                  <a:gd name="connsiteY128" fmla="*/ 567983 h 2350633"/>
                  <a:gd name="connsiteX129" fmla="*/ 1511103 w 4552072"/>
                  <a:gd name="connsiteY129" fmla="*/ 455509 h 2350633"/>
                  <a:gd name="connsiteX130" fmla="*/ 1511103 w 4552072"/>
                  <a:gd name="connsiteY130" fmla="*/ 402083 h 2350633"/>
                  <a:gd name="connsiteX131" fmla="*/ 1550471 w 4552072"/>
                  <a:gd name="connsiteY131" fmla="*/ 362719 h 2350633"/>
                  <a:gd name="connsiteX132" fmla="*/ 1600177 w 4552072"/>
                  <a:gd name="connsiteY132" fmla="*/ 362719 h 2350633"/>
                  <a:gd name="connsiteX133" fmla="*/ 1600177 w 4552072"/>
                  <a:gd name="connsiteY133" fmla="*/ 337916 h 2350633"/>
                  <a:gd name="connsiteX134" fmla="*/ 1618958 w 4552072"/>
                  <a:gd name="connsiteY134" fmla="*/ 319133 h 2350633"/>
                  <a:gd name="connsiteX135" fmla="*/ 1618958 w 4552072"/>
                  <a:gd name="connsiteY135" fmla="*/ 294840 h 2350633"/>
                  <a:gd name="connsiteX136" fmla="*/ 1647478 w 4552072"/>
                  <a:gd name="connsiteY136" fmla="*/ 266326 h 2350633"/>
                  <a:gd name="connsiteX137" fmla="*/ 1688865 w 4552072"/>
                  <a:gd name="connsiteY137" fmla="*/ 266326 h 2350633"/>
                  <a:gd name="connsiteX138" fmla="*/ 1719179 w 4552072"/>
                  <a:gd name="connsiteY138" fmla="*/ 236011 h 2350633"/>
                  <a:gd name="connsiteX139" fmla="*/ 1744304 w 4552072"/>
                  <a:gd name="connsiteY139" fmla="*/ 236011 h 2350633"/>
                  <a:gd name="connsiteX140" fmla="*/ 1793335 w 4552072"/>
                  <a:gd name="connsiteY140" fmla="*/ 186980 h 2350633"/>
                  <a:gd name="connsiteX141" fmla="*/ 1793335 w 4552072"/>
                  <a:gd name="connsiteY141" fmla="*/ 148674 h 2350633"/>
                  <a:gd name="connsiteX142" fmla="*/ 1814778 w 4552072"/>
                  <a:gd name="connsiteY142" fmla="*/ 127232 h 2350633"/>
                  <a:gd name="connsiteX143" fmla="*/ 1849220 w 4552072"/>
                  <a:gd name="connsiteY143" fmla="*/ 127232 h 2350633"/>
                  <a:gd name="connsiteX144" fmla="*/ 1872417 w 4552072"/>
                  <a:gd name="connsiteY144" fmla="*/ 150425 h 2350633"/>
                  <a:gd name="connsiteX145" fmla="*/ 1916003 w 4552072"/>
                  <a:gd name="connsiteY145" fmla="*/ 150425 h 2350633"/>
                  <a:gd name="connsiteX146" fmla="*/ 1933574 w 4552072"/>
                  <a:gd name="connsiteY146" fmla="*/ 132854 h 2350633"/>
                  <a:gd name="connsiteX147" fmla="*/ 1960989 w 4552072"/>
                  <a:gd name="connsiteY147" fmla="*/ 160269 h 2350633"/>
                  <a:gd name="connsiteX148" fmla="*/ 1960989 w 4552072"/>
                  <a:gd name="connsiteY148" fmla="*/ 111061 h 2350633"/>
                  <a:gd name="connsiteX149" fmla="*/ 1994031 w 4552072"/>
                  <a:gd name="connsiteY149" fmla="*/ 111061 h 2350633"/>
                  <a:gd name="connsiteX150" fmla="*/ 1994031 w 4552072"/>
                  <a:gd name="connsiteY150" fmla="*/ 82237 h 2350633"/>
                  <a:gd name="connsiteX151" fmla="*/ 2019337 w 4552072"/>
                  <a:gd name="connsiteY151" fmla="*/ 56931 h 2350633"/>
                  <a:gd name="connsiteX152" fmla="*/ 1988412 w 4552072"/>
                  <a:gd name="connsiteY152" fmla="*/ 26006 h 2350633"/>
                  <a:gd name="connsiteX153" fmla="*/ 2014419 w 4552072"/>
                  <a:gd name="connsiteY153" fmla="*/ 0 h 2350633"/>
                  <a:gd name="connsiteX154" fmla="*/ 2094555 w 4552072"/>
                  <a:gd name="connsiteY154" fmla="*/ 0 h 2350633"/>
                  <a:gd name="connsiteX155" fmla="*/ 2172064 w 4552072"/>
                  <a:gd name="connsiteY155" fmla="*/ 77509 h 2350633"/>
                  <a:gd name="connsiteX156" fmla="*/ 2140950 w 4552072"/>
                  <a:gd name="connsiteY156" fmla="*/ 108622 h 2350633"/>
                  <a:gd name="connsiteX157" fmla="*/ 2177872 w 4552072"/>
                  <a:gd name="connsiteY157" fmla="*/ 108622 h 2350633"/>
                  <a:gd name="connsiteX158" fmla="*/ 2207025 w 4552072"/>
                  <a:gd name="connsiteY158" fmla="*/ 79469 h 2350633"/>
                  <a:gd name="connsiteX159" fmla="*/ 2255487 w 4552072"/>
                  <a:gd name="connsiteY159" fmla="*/ 79469 h 2350633"/>
                  <a:gd name="connsiteX160" fmla="*/ 2277318 w 4552072"/>
                  <a:gd name="connsiteY160" fmla="*/ 101304 h 2350633"/>
                  <a:gd name="connsiteX161" fmla="*/ 2318004 w 4552072"/>
                  <a:gd name="connsiteY161" fmla="*/ 101304 h 2350633"/>
                  <a:gd name="connsiteX162" fmla="*/ 2375561 w 4552072"/>
                  <a:gd name="connsiteY162" fmla="*/ 158860 h 2350633"/>
                  <a:gd name="connsiteX163" fmla="*/ 2375561 w 4552072"/>
                  <a:gd name="connsiteY163" fmla="*/ 264130 h 2350633"/>
                  <a:gd name="connsiteX164" fmla="*/ 2347618 w 4552072"/>
                  <a:gd name="connsiteY164" fmla="*/ 292072 h 2350633"/>
                  <a:gd name="connsiteX165" fmla="*/ 2299461 w 4552072"/>
                  <a:gd name="connsiteY165" fmla="*/ 292072 h 2350633"/>
                  <a:gd name="connsiteX166" fmla="*/ 2269591 w 4552072"/>
                  <a:gd name="connsiteY166" fmla="*/ 321946 h 2350633"/>
                  <a:gd name="connsiteX167" fmla="*/ 2269591 w 4552072"/>
                  <a:gd name="connsiteY167" fmla="*/ 369041 h 2350633"/>
                  <a:gd name="connsiteX168" fmla="*/ 2243576 w 4552072"/>
                  <a:gd name="connsiteY168" fmla="*/ 395056 h 2350633"/>
                  <a:gd name="connsiteX169" fmla="*/ 2258536 w 4552072"/>
                  <a:gd name="connsiteY169" fmla="*/ 410016 h 2350633"/>
                  <a:gd name="connsiteX170" fmla="*/ 2304032 w 4552072"/>
                  <a:gd name="connsiteY170" fmla="*/ 364519 h 2350633"/>
                  <a:gd name="connsiteX171" fmla="*/ 2343005 w 4552072"/>
                  <a:gd name="connsiteY171" fmla="*/ 364519 h 2350633"/>
                  <a:gd name="connsiteX172" fmla="*/ 2360271 w 4552072"/>
                  <a:gd name="connsiteY172" fmla="*/ 381786 h 2350633"/>
                  <a:gd name="connsiteX173" fmla="*/ 2419937 w 4552072"/>
                  <a:gd name="connsiteY173" fmla="*/ 381786 h 2350633"/>
                  <a:gd name="connsiteX174" fmla="*/ 2438999 w 4552072"/>
                  <a:gd name="connsiteY174" fmla="*/ 400847 h 2350633"/>
                  <a:gd name="connsiteX175" fmla="*/ 2517554 w 4552072"/>
                  <a:gd name="connsiteY175" fmla="*/ 400847 h 2350633"/>
                  <a:gd name="connsiteX176" fmla="*/ 2535661 w 4552072"/>
                  <a:gd name="connsiteY176" fmla="*/ 418954 h 2350633"/>
                  <a:gd name="connsiteX177" fmla="*/ 2535661 w 4552072"/>
                  <a:gd name="connsiteY177" fmla="*/ 440397 h 2350633"/>
                  <a:gd name="connsiteX178" fmla="*/ 2558504 w 4552072"/>
                  <a:gd name="connsiteY178" fmla="*/ 463240 h 2350633"/>
                  <a:gd name="connsiteX179" fmla="*/ 2646367 w 4552072"/>
                  <a:gd name="connsiteY179" fmla="*/ 463240 h 2350633"/>
                  <a:gd name="connsiteX180" fmla="*/ 2667456 w 4552072"/>
                  <a:gd name="connsiteY180" fmla="*/ 442151 h 2350633"/>
                  <a:gd name="connsiteX181" fmla="*/ 2640749 w 4552072"/>
                  <a:gd name="connsiteY181" fmla="*/ 415445 h 2350633"/>
                  <a:gd name="connsiteX182" fmla="*/ 2681345 w 4552072"/>
                  <a:gd name="connsiteY182" fmla="*/ 374845 h 2350633"/>
                  <a:gd name="connsiteX183" fmla="*/ 2720177 w 4552072"/>
                  <a:gd name="connsiteY183" fmla="*/ 413682 h 2350633"/>
                  <a:gd name="connsiteX184" fmla="*/ 2784497 w 4552072"/>
                  <a:gd name="connsiteY184" fmla="*/ 413682 h 2350633"/>
                  <a:gd name="connsiteX185" fmla="*/ 2836164 w 4552072"/>
                  <a:gd name="connsiteY185" fmla="*/ 465349 h 2350633"/>
                  <a:gd name="connsiteX186" fmla="*/ 2836164 w 4552072"/>
                  <a:gd name="connsiteY186" fmla="*/ 484328 h 2350633"/>
                  <a:gd name="connsiteX187" fmla="*/ 2866397 w 4552072"/>
                  <a:gd name="connsiteY187" fmla="*/ 514557 h 2350633"/>
                  <a:gd name="connsiteX188" fmla="*/ 2866397 w 4552072"/>
                  <a:gd name="connsiteY188" fmla="*/ 572192 h 2350633"/>
                  <a:gd name="connsiteX189" fmla="*/ 2846709 w 4552072"/>
                  <a:gd name="connsiteY189" fmla="*/ 591880 h 2350633"/>
                  <a:gd name="connsiteX190" fmla="*/ 2893103 w 4552072"/>
                  <a:gd name="connsiteY190" fmla="*/ 638275 h 2350633"/>
                  <a:gd name="connsiteX191" fmla="*/ 2914192 w 4552072"/>
                  <a:gd name="connsiteY191" fmla="*/ 617186 h 2350633"/>
                  <a:gd name="connsiteX192" fmla="*/ 2914192 w 4552072"/>
                  <a:gd name="connsiteY192" fmla="*/ 584849 h 2350633"/>
                  <a:gd name="connsiteX193" fmla="*/ 2941788 w 4552072"/>
                  <a:gd name="connsiteY193" fmla="*/ 557257 h 2350633"/>
                  <a:gd name="connsiteX194" fmla="*/ 2967622 w 4552072"/>
                  <a:gd name="connsiteY194" fmla="*/ 583090 h 2350633"/>
                  <a:gd name="connsiteX195" fmla="*/ 3027016 w 4552072"/>
                  <a:gd name="connsiteY195" fmla="*/ 583090 h 2350633"/>
                  <a:gd name="connsiteX196" fmla="*/ 3094853 w 4552072"/>
                  <a:gd name="connsiteY196" fmla="*/ 650928 h 2350633"/>
                  <a:gd name="connsiteX197" fmla="*/ 3094853 w 4552072"/>
                  <a:gd name="connsiteY197" fmla="*/ 596806 h 2350633"/>
                  <a:gd name="connsiteX198" fmla="*/ 3108215 w 4552072"/>
                  <a:gd name="connsiteY198" fmla="*/ 583445 h 2350633"/>
                  <a:gd name="connsiteX199" fmla="*/ 3108215 w 4552072"/>
                  <a:gd name="connsiteY199" fmla="*/ 553921 h 2350633"/>
                  <a:gd name="connsiteX200" fmla="*/ 3134699 w 4552072"/>
                  <a:gd name="connsiteY200" fmla="*/ 553921 h 2350633"/>
                  <a:gd name="connsiteX201" fmla="*/ 3134699 w 4552072"/>
                  <a:gd name="connsiteY201" fmla="*/ 529800 h 2350633"/>
                  <a:gd name="connsiteX202" fmla="*/ 3143357 w 4552072"/>
                  <a:gd name="connsiteY202" fmla="*/ 521143 h 2350633"/>
                  <a:gd name="connsiteX203" fmla="*/ 3290013 w 4552072"/>
                  <a:gd name="connsiteY203" fmla="*/ 521143 h 2350633"/>
                  <a:gd name="connsiteX204" fmla="*/ 3313474 w 4552072"/>
                  <a:gd name="connsiteY204" fmla="*/ 544604 h 2350633"/>
                  <a:gd name="connsiteX205" fmla="*/ 3352307 w 4552072"/>
                  <a:gd name="connsiteY205" fmla="*/ 544604 h 2350633"/>
                  <a:gd name="connsiteX206" fmla="*/ 3385530 w 4552072"/>
                  <a:gd name="connsiteY206" fmla="*/ 577822 h 2350633"/>
                  <a:gd name="connsiteX207" fmla="*/ 3385530 w 4552072"/>
                  <a:gd name="connsiteY207" fmla="*/ 597152 h 2350633"/>
                  <a:gd name="connsiteX208" fmla="*/ 3417508 w 4552072"/>
                  <a:gd name="connsiteY208" fmla="*/ 629135 h 2350633"/>
                  <a:gd name="connsiteX209" fmla="*/ 3446332 w 4552072"/>
                  <a:gd name="connsiteY209" fmla="*/ 629135 h 2350633"/>
                  <a:gd name="connsiteX210" fmla="*/ 3486400 w 4552072"/>
                  <a:gd name="connsiteY210" fmla="*/ 669203 h 2350633"/>
                  <a:gd name="connsiteX211" fmla="*/ 3459686 w 4552072"/>
                  <a:gd name="connsiteY211" fmla="*/ 695914 h 2350633"/>
                  <a:gd name="connsiteX212" fmla="*/ 3541231 w 4552072"/>
                  <a:gd name="connsiteY212" fmla="*/ 695914 h 2350633"/>
                  <a:gd name="connsiteX213" fmla="*/ 3558102 w 4552072"/>
                  <a:gd name="connsiteY213" fmla="*/ 679043 h 2350633"/>
                  <a:gd name="connsiteX214" fmla="*/ 3648082 w 4552072"/>
                  <a:gd name="connsiteY214" fmla="*/ 679043 h 2350633"/>
                  <a:gd name="connsiteX215" fmla="*/ 3686042 w 4552072"/>
                  <a:gd name="connsiteY215" fmla="*/ 717007 h 2350633"/>
                  <a:gd name="connsiteX216" fmla="*/ 3686042 w 4552072"/>
                  <a:gd name="connsiteY216" fmla="*/ 749097 h 2350633"/>
                  <a:gd name="connsiteX217" fmla="*/ 3725640 w 4552072"/>
                  <a:gd name="connsiteY217" fmla="*/ 749097 h 2350633"/>
                  <a:gd name="connsiteX218" fmla="*/ 3742272 w 4552072"/>
                  <a:gd name="connsiteY218" fmla="*/ 765729 h 2350633"/>
                  <a:gd name="connsiteX219" fmla="*/ 3815868 w 4552072"/>
                  <a:gd name="connsiteY219" fmla="*/ 765729 h 2350633"/>
                  <a:gd name="connsiteX220" fmla="*/ 3846315 w 4552072"/>
                  <a:gd name="connsiteY220" fmla="*/ 796172 h 2350633"/>
                  <a:gd name="connsiteX221" fmla="*/ 3896491 w 4552072"/>
                  <a:gd name="connsiteY221" fmla="*/ 796172 h 2350633"/>
                  <a:gd name="connsiteX222" fmla="*/ 3957911 w 4552072"/>
                  <a:gd name="connsiteY222" fmla="*/ 857596 h 2350633"/>
                  <a:gd name="connsiteX223" fmla="*/ 3957911 w 4552072"/>
                  <a:gd name="connsiteY223" fmla="*/ 789231 h 2350633"/>
                  <a:gd name="connsiteX224" fmla="*/ 3982682 w 4552072"/>
                  <a:gd name="connsiteY224" fmla="*/ 764460 h 2350633"/>
                  <a:gd name="connsiteX225" fmla="*/ 4108159 w 4552072"/>
                  <a:gd name="connsiteY225" fmla="*/ 764460 h 2350633"/>
                  <a:gd name="connsiteX226" fmla="*/ 4123975 w 4552072"/>
                  <a:gd name="connsiteY226" fmla="*/ 780273 h 2350633"/>
                  <a:gd name="connsiteX227" fmla="*/ 4123975 w 4552072"/>
                  <a:gd name="connsiteY227" fmla="*/ 806275 h 2350633"/>
                  <a:gd name="connsiteX228" fmla="*/ 4145772 w 4552072"/>
                  <a:gd name="connsiteY228" fmla="*/ 828072 h 2350633"/>
                  <a:gd name="connsiteX229" fmla="*/ 4196377 w 4552072"/>
                  <a:gd name="connsiteY229" fmla="*/ 828072 h 2350633"/>
                  <a:gd name="connsiteX230" fmla="*/ 4227309 w 4552072"/>
                  <a:gd name="connsiteY230" fmla="*/ 859005 h 2350633"/>
                  <a:gd name="connsiteX231" fmla="*/ 4261051 w 4552072"/>
                  <a:gd name="connsiteY231" fmla="*/ 859005 h 2350633"/>
                  <a:gd name="connsiteX232" fmla="*/ 4320099 w 4552072"/>
                  <a:gd name="connsiteY232" fmla="*/ 918053 h 2350633"/>
                  <a:gd name="connsiteX233" fmla="*/ 4362276 w 4552072"/>
                  <a:gd name="connsiteY233" fmla="*/ 918053 h 2350633"/>
                  <a:gd name="connsiteX234" fmla="*/ 4391100 w 4552072"/>
                  <a:gd name="connsiteY234" fmla="*/ 946876 h 2350633"/>
                  <a:gd name="connsiteX235" fmla="*/ 4379855 w 4552072"/>
                  <a:gd name="connsiteY235" fmla="*/ 958121 h 2350633"/>
                  <a:gd name="connsiteX236" fmla="*/ 4418515 w 4552072"/>
                  <a:gd name="connsiteY236" fmla="*/ 996780 h 2350633"/>
                  <a:gd name="connsiteX237" fmla="*/ 4456474 w 4552072"/>
                  <a:gd name="connsiteY237" fmla="*/ 996780 h 2350633"/>
                  <a:gd name="connsiteX238" fmla="*/ 4456474 w 4552072"/>
                  <a:gd name="connsiteY238" fmla="*/ 1018573 h 2350633"/>
                  <a:gd name="connsiteX239" fmla="*/ 4483890 w 4552072"/>
                  <a:gd name="connsiteY239" fmla="*/ 1018573 h 2350633"/>
                  <a:gd name="connsiteX240" fmla="*/ 4552073 w 4552072"/>
                  <a:gd name="connsiteY240" fmla="*/ 1086757 h 2350633"/>
                  <a:gd name="connsiteX241" fmla="*/ 4552073 w 4552072"/>
                  <a:gd name="connsiteY241" fmla="*/ 1106441 h 2350633"/>
                  <a:gd name="connsiteX242" fmla="*/ 4519740 w 4552072"/>
                  <a:gd name="connsiteY242" fmla="*/ 1106441 h 2350633"/>
                  <a:gd name="connsiteX243" fmla="*/ 4519740 w 4552072"/>
                  <a:gd name="connsiteY243" fmla="*/ 1142996 h 2350633"/>
                  <a:gd name="connsiteX244" fmla="*/ 4497424 w 4552072"/>
                  <a:gd name="connsiteY244" fmla="*/ 1165312 h 2350633"/>
                  <a:gd name="connsiteX245" fmla="*/ 4478972 w 4552072"/>
                  <a:gd name="connsiteY245" fmla="*/ 1146859 h 2350633"/>
                  <a:gd name="connsiteX246" fmla="*/ 4448385 w 4552072"/>
                  <a:gd name="connsiteY246" fmla="*/ 1146859 h 2350633"/>
                  <a:gd name="connsiteX247" fmla="*/ 4393209 w 4552072"/>
                  <a:gd name="connsiteY247" fmla="*/ 1091679 h 2350633"/>
                  <a:gd name="connsiteX248" fmla="*/ 4333452 w 4552072"/>
                  <a:gd name="connsiteY248" fmla="*/ 1091679 h 2350633"/>
                  <a:gd name="connsiteX249" fmla="*/ 4287766 w 4552072"/>
                  <a:gd name="connsiteY249" fmla="*/ 1045988 h 2350633"/>
                  <a:gd name="connsiteX250" fmla="*/ 4262460 w 4552072"/>
                  <a:gd name="connsiteY250" fmla="*/ 1045988 h 2350633"/>
                  <a:gd name="connsiteX251" fmla="*/ 4262460 w 4552072"/>
                  <a:gd name="connsiteY251" fmla="*/ 1102923 h 2350633"/>
                  <a:gd name="connsiteX252" fmla="*/ 4281439 w 4552072"/>
                  <a:gd name="connsiteY252" fmla="*/ 1102923 h 2350633"/>
                  <a:gd name="connsiteX253" fmla="*/ 4308854 w 4552072"/>
                  <a:gd name="connsiteY253" fmla="*/ 1130343 h 2350633"/>
                  <a:gd name="connsiteX254" fmla="*/ 4289175 w 4552072"/>
                  <a:gd name="connsiteY254" fmla="*/ 1150023 h 2350633"/>
                  <a:gd name="connsiteX255" fmla="*/ 4258242 w 4552072"/>
                  <a:gd name="connsiteY255" fmla="*/ 1150023 h 2350633"/>
                  <a:gd name="connsiteX256" fmla="*/ 4258242 w 4552072"/>
                  <a:gd name="connsiteY256" fmla="*/ 1184464 h 2350633"/>
                  <a:gd name="connsiteX257" fmla="*/ 4295501 w 4552072"/>
                  <a:gd name="connsiteY257" fmla="*/ 1184464 h 2350633"/>
                  <a:gd name="connsiteX258" fmla="*/ 4315889 w 4552072"/>
                  <a:gd name="connsiteY258" fmla="*/ 1204853 h 2350633"/>
                  <a:gd name="connsiteX259" fmla="*/ 4315889 w 4552072"/>
                  <a:gd name="connsiteY259" fmla="*/ 1225946 h 2350633"/>
                  <a:gd name="connsiteX260" fmla="*/ 4331352 w 4552072"/>
                  <a:gd name="connsiteY260" fmla="*/ 1241408 h 2350633"/>
                  <a:gd name="connsiteX261" fmla="*/ 4331352 w 4552072"/>
                  <a:gd name="connsiteY261" fmla="*/ 1294833 h 2350633"/>
                  <a:gd name="connsiteX262" fmla="*/ 4303236 w 4552072"/>
                  <a:gd name="connsiteY262" fmla="*/ 1294833 h 2350633"/>
                  <a:gd name="connsiteX263" fmla="*/ 4289175 w 4552072"/>
                  <a:gd name="connsiteY263" fmla="*/ 1308891 h 2350633"/>
                  <a:gd name="connsiteX264" fmla="*/ 4230118 w 4552072"/>
                  <a:gd name="connsiteY264" fmla="*/ 1308891 h 2350633"/>
                  <a:gd name="connsiteX265" fmla="*/ 4230118 w 4552072"/>
                  <a:gd name="connsiteY265" fmla="*/ 1349664 h 2350633"/>
                  <a:gd name="connsiteX266" fmla="*/ 4140582 w 4552072"/>
                  <a:gd name="connsiteY266" fmla="*/ 1439203 h 2350633"/>
                  <a:gd name="connsiteX267" fmla="*/ 4112022 w 4552072"/>
                  <a:gd name="connsiteY267" fmla="*/ 1410648 h 2350633"/>
                  <a:gd name="connsiteX268" fmla="*/ 4064754 w 4552072"/>
                  <a:gd name="connsiteY268" fmla="*/ 1410648 h 2350633"/>
                  <a:gd name="connsiteX269" fmla="*/ 4023104 w 4552072"/>
                  <a:gd name="connsiteY269" fmla="*/ 1452293 h 2350633"/>
                  <a:gd name="connsiteX270" fmla="*/ 4023104 w 4552072"/>
                  <a:gd name="connsiteY270" fmla="*/ 1422419 h 2350633"/>
                  <a:gd name="connsiteX271" fmla="*/ 3989709 w 4552072"/>
                  <a:gd name="connsiteY271" fmla="*/ 1455811 h 2350633"/>
                  <a:gd name="connsiteX272" fmla="*/ 3952458 w 4552072"/>
                  <a:gd name="connsiteY272" fmla="*/ 1455811 h 2350633"/>
                  <a:gd name="connsiteX273" fmla="*/ 3925570 w 4552072"/>
                  <a:gd name="connsiteY273" fmla="*/ 1482699 h 2350633"/>
                  <a:gd name="connsiteX274" fmla="*/ 3947186 w 4552072"/>
                  <a:gd name="connsiteY274" fmla="*/ 1504315 h 2350633"/>
                  <a:gd name="connsiteX275" fmla="*/ 3947186 w 4552072"/>
                  <a:gd name="connsiteY275" fmla="*/ 1567926 h 2350633"/>
                  <a:gd name="connsiteX276" fmla="*/ 3990417 w 4552072"/>
                  <a:gd name="connsiteY276" fmla="*/ 1611162 h 2350633"/>
                  <a:gd name="connsiteX277" fmla="*/ 3990417 w 4552072"/>
                  <a:gd name="connsiteY277" fmla="*/ 1668101 h 2350633"/>
                  <a:gd name="connsiteX278" fmla="*/ 3954567 w 4552072"/>
                  <a:gd name="connsiteY278" fmla="*/ 1703952 h 2350633"/>
                  <a:gd name="connsiteX279" fmla="*/ 3954567 w 4552072"/>
                  <a:gd name="connsiteY279" fmla="*/ 1778466 h 2350633"/>
                  <a:gd name="connsiteX280" fmla="*/ 3927852 w 4552072"/>
                  <a:gd name="connsiteY280" fmla="*/ 1778466 h 2350633"/>
                  <a:gd name="connsiteX281" fmla="*/ 3927852 w 4552072"/>
                  <a:gd name="connsiteY281" fmla="*/ 1850167 h 2350633"/>
                  <a:gd name="connsiteX282" fmla="*/ 3903246 w 4552072"/>
                  <a:gd name="connsiteY282" fmla="*/ 1850167 h 2350633"/>
                  <a:gd name="connsiteX283" fmla="*/ 3903246 w 4552072"/>
                  <a:gd name="connsiteY283" fmla="*/ 1931004 h 2350633"/>
                  <a:gd name="connsiteX284" fmla="*/ 3880048 w 4552072"/>
                  <a:gd name="connsiteY284" fmla="*/ 1954201 h 2350633"/>
                  <a:gd name="connsiteX285" fmla="*/ 3855401 w 4552072"/>
                  <a:gd name="connsiteY285" fmla="*/ 1954201 h 2350633"/>
                  <a:gd name="connsiteX286" fmla="*/ 3855401 w 4552072"/>
                  <a:gd name="connsiteY286" fmla="*/ 1884654 h 2350633"/>
                  <a:gd name="connsiteX287" fmla="*/ 3829353 w 4552072"/>
                  <a:gd name="connsiteY287" fmla="*/ 1858602 h 2350633"/>
                  <a:gd name="connsiteX288" fmla="*/ 3829353 w 4552072"/>
                  <a:gd name="connsiteY288" fmla="*/ 1779957 h 2350633"/>
                  <a:gd name="connsiteX289" fmla="*/ 3803956 w 4552072"/>
                  <a:gd name="connsiteY289" fmla="*/ 1754564 h 2350633"/>
                  <a:gd name="connsiteX290" fmla="*/ 3803956 w 4552072"/>
                  <a:gd name="connsiteY290" fmla="*/ 1654562 h 2350633"/>
                  <a:gd name="connsiteX291" fmla="*/ 3831890 w 4552072"/>
                  <a:gd name="connsiteY291" fmla="*/ 1626628 h 2350633"/>
                  <a:gd name="connsiteX292" fmla="*/ 3831890 w 4552072"/>
                  <a:gd name="connsiteY292" fmla="*/ 1591124 h 2350633"/>
                  <a:gd name="connsiteX293" fmla="*/ 3862469 w 4552072"/>
                  <a:gd name="connsiteY293" fmla="*/ 1560549 h 2350633"/>
                  <a:gd name="connsiteX294" fmla="*/ 3862469 w 4552072"/>
                  <a:gd name="connsiteY294" fmla="*/ 1499388 h 2350633"/>
                  <a:gd name="connsiteX295" fmla="*/ 3959476 w 4552072"/>
                  <a:gd name="connsiteY295" fmla="*/ 1402385 h 2350633"/>
                  <a:gd name="connsiteX296" fmla="*/ 3939096 w 4552072"/>
                  <a:gd name="connsiteY296" fmla="*/ 1382001 h 2350633"/>
                  <a:gd name="connsiteX297" fmla="*/ 3939096 w 4552072"/>
                  <a:gd name="connsiteY297" fmla="*/ 1321544 h 2350633"/>
                  <a:gd name="connsiteX298" fmla="*/ 3939096 w 4552072"/>
                  <a:gd name="connsiteY298" fmla="*/ 1307491 h 2350633"/>
                  <a:gd name="connsiteX299" fmla="*/ 3874430 w 4552072"/>
                  <a:gd name="connsiteY299" fmla="*/ 1307491 h 2350633"/>
                  <a:gd name="connsiteX300" fmla="*/ 3908872 w 4552072"/>
                  <a:gd name="connsiteY300" fmla="*/ 1341933 h 2350633"/>
                  <a:gd name="connsiteX301" fmla="*/ 3860376 w 4552072"/>
                  <a:gd name="connsiteY301" fmla="*/ 1390432 h 2350633"/>
                  <a:gd name="connsiteX302" fmla="*/ 3808355 w 4552072"/>
                  <a:gd name="connsiteY302" fmla="*/ 1338415 h 2350633"/>
                  <a:gd name="connsiteX303" fmla="*/ 3733837 w 4552072"/>
                  <a:gd name="connsiteY303" fmla="*/ 1412934 h 2350633"/>
                  <a:gd name="connsiteX304" fmla="*/ 3701504 w 4552072"/>
                  <a:gd name="connsiteY304" fmla="*/ 1412934 h 2350633"/>
                  <a:gd name="connsiteX305" fmla="*/ 3680415 w 4552072"/>
                  <a:gd name="connsiteY305" fmla="*/ 1434018 h 2350633"/>
                  <a:gd name="connsiteX306" fmla="*/ 3583408 w 4552072"/>
                  <a:gd name="connsiteY306" fmla="*/ 1434018 h 2350633"/>
                  <a:gd name="connsiteX307" fmla="*/ 3565829 w 4552072"/>
                  <a:gd name="connsiteY307" fmla="*/ 1451593 h 2350633"/>
                  <a:gd name="connsiteX308" fmla="*/ 3546849 w 4552072"/>
                  <a:gd name="connsiteY308" fmla="*/ 1432613 h 2350633"/>
                  <a:gd name="connsiteX309" fmla="*/ 3511707 w 4552072"/>
                  <a:gd name="connsiteY309" fmla="*/ 1432613 h 2350633"/>
                  <a:gd name="connsiteX310" fmla="*/ 3469530 w 4552072"/>
                  <a:gd name="connsiteY310" fmla="*/ 1474791 h 2350633"/>
                  <a:gd name="connsiteX311" fmla="*/ 3416100 w 4552072"/>
                  <a:gd name="connsiteY311" fmla="*/ 1474791 h 2350633"/>
                  <a:gd name="connsiteX312" fmla="*/ 3416100 w 4552072"/>
                  <a:gd name="connsiteY312" fmla="*/ 1454929 h 2350633"/>
                  <a:gd name="connsiteX313" fmla="*/ 3397647 w 4552072"/>
                  <a:gd name="connsiteY313" fmla="*/ 1454929 h 2350633"/>
                  <a:gd name="connsiteX314" fmla="*/ 3363733 w 4552072"/>
                  <a:gd name="connsiteY314" fmla="*/ 1488848 h 2350633"/>
                  <a:gd name="connsiteX315" fmla="*/ 3363733 w 4552072"/>
                  <a:gd name="connsiteY315" fmla="*/ 1543328 h 2350633"/>
                  <a:gd name="connsiteX316" fmla="*/ 3340889 w 4552072"/>
                  <a:gd name="connsiteY316" fmla="*/ 1566172 h 2350633"/>
                  <a:gd name="connsiteX317" fmla="*/ 3340889 w 4552072"/>
                  <a:gd name="connsiteY317" fmla="*/ 1625924 h 2350633"/>
                  <a:gd name="connsiteX318" fmla="*/ 3300821 w 4552072"/>
                  <a:gd name="connsiteY318" fmla="*/ 1665992 h 2350633"/>
                  <a:gd name="connsiteX319" fmla="*/ 3300821 w 4552072"/>
                  <a:gd name="connsiteY319" fmla="*/ 1723636 h 2350633"/>
                  <a:gd name="connsiteX320" fmla="*/ 3332265 w 4552072"/>
                  <a:gd name="connsiteY320" fmla="*/ 1723636 h 2350633"/>
                  <a:gd name="connsiteX321" fmla="*/ 3332265 w 4552072"/>
                  <a:gd name="connsiteY321" fmla="*/ 1765294 h 2350633"/>
                  <a:gd name="connsiteX322" fmla="*/ 3352834 w 4552072"/>
                  <a:gd name="connsiteY322" fmla="*/ 1785867 h 2350633"/>
                  <a:gd name="connsiteX323" fmla="*/ 3370084 w 4552072"/>
                  <a:gd name="connsiteY323" fmla="*/ 1785867 h 2350633"/>
                  <a:gd name="connsiteX324" fmla="*/ 3387984 w 4552072"/>
                  <a:gd name="connsiteY324" fmla="*/ 1767963 h 2350633"/>
                  <a:gd name="connsiteX325" fmla="*/ 3419576 w 4552072"/>
                  <a:gd name="connsiteY325" fmla="*/ 1767963 h 2350633"/>
                  <a:gd name="connsiteX326" fmla="*/ 3465221 w 4552072"/>
                  <a:gd name="connsiteY326" fmla="*/ 1813612 h 2350633"/>
                  <a:gd name="connsiteX327" fmla="*/ 3465221 w 4552072"/>
                  <a:gd name="connsiteY327" fmla="*/ 1866948 h 2350633"/>
                  <a:gd name="connsiteX328" fmla="*/ 3452478 w 4552072"/>
                  <a:gd name="connsiteY328" fmla="*/ 1879691 h 2350633"/>
                  <a:gd name="connsiteX329" fmla="*/ 3452478 w 4552072"/>
                  <a:gd name="connsiteY329" fmla="*/ 1945589 h 2350633"/>
                  <a:gd name="connsiteX330" fmla="*/ 3435434 w 4552072"/>
                  <a:gd name="connsiteY330" fmla="*/ 1962637 h 2350633"/>
                  <a:gd name="connsiteX331" fmla="*/ 3435434 w 4552072"/>
                  <a:gd name="connsiteY331" fmla="*/ 2007277 h 2350633"/>
                  <a:gd name="connsiteX332" fmla="*/ 3421026 w 4552072"/>
                  <a:gd name="connsiteY332" fmla="*/ 2021684 h 2350633"/>
                  <a:gd name="connsiteX333" fmla="*/ 3421026 w 4552072"/>
                  <a:gd name="connsiteY333" fmla="*/ 2077215 h 2350633"/>
                  <a:gd name="connsiteX334" fmla="*/ 3400638 w 4552072"/>
                  <a:gd name="connsiteY334" fmla="*/ 2097603 h 2350633"/>
                  <a:gd name="connsiteX335" fmla="*/ 3368832 w 4552072"/>
                  <a:gd name="connsiteY335" fmla="*/ 2097603 h 2350633"/>
                  <a:gd name="connsiteX336" fmla="*/ 3368832 w 4552072"/>
                  <a:gd name="connsiteY336" fmla="*/ 2169836 h 2350633"/>
                  <a:gd name="connsiteX337" fmla="*/ 3274106 w 4552072"/>
                  <a:gd name="connsiteY337" fmla="*/ 2264557 h 2350633"/>
                  <a:gd name="connsiteX338" fmla="*/ 3191325 w 4552072"/>
                  <a:gd name="connsiteY338" fmla="*/ 2264557 h 2350633"/>
                  <a:gd name="connsiteX339" fmla="*/ 3155960 w 4552072"/>
                  <a:gd name="connsiteY339" fmla="*/ 2299922 h 2350633"/>
                  <a:gd name="connsiteX340" fmla="*/ 3155228 w 4552072"/>
                  <a:gd name="connsiteY340" fmla="*/ 2298916 h 2350633"/>
                  <a:gd name="connsiteX341" fmla="*/ 3155228 w 4552072"/>
                  <a:gd name="connsiteY341" fmla="*/ 2282920 h 2350633"/>
                  <a:gd name="connsiteX342" fmla="*/ 3155228 w 4552072"/>
                  <a:gd name="connsiteY342" fmla="*/ 2198573 h 2350633"/>
                  <a:gd name="connsiteX343" fmla="*/ 3185493 w 4552072"/>
                  <a:gd name="connsiteY343" fmla="*/ 2168283 h 2350633"/>
                  <a:gd name="connsiteX344" fmla="*/ 3263488 w 4552072"/>
                  <a:gd name="connsiteY344" fmla="*/ 2090305 h 2350633"/>
                  <a:gd name="connsiteX345" fmla="*/ 3263488 w 4552072"/>
                  <a:gd name="connsiteY345" fmla="*/ 2056843 h 2350633"/>
                  <a:gd name="connsiteX346" fmla="*/ 3207207 w 4552072"/>
                  <a:gd name="connsiteY346" fmla="*/ 2056843 h 2350633"/>
                  <a:gd name="connsiteX347" fmla="*/ 3181687 w 4552072"/>
                  <a:gd name="connsiteY347" fmla="*/ 2031339 h 2350633"/>
                  <a:gd name="connsiteX348" fmla="*/ 3123463 w 4552072"/>
                  <a:gd name="connsiteY348" fmla="*/ 1973098 h 2350633"/>
                  <a:gd name="connsiteX349" fmla="*/ 3047495 w 4552072"/>
                  <a:gd name="connsiteY349" fmla="*/ 1973098 h 2350633"/>
                  <a:gd name="connsiteX350" fmla="*/ 3047495 w 4552072"/>
                  <a:gd name="connsiteY350" fmla="*/ 1836451 h 2350633"/>
                  <a:gd name="connsiteX351" fmla="*/ 2989979 w 4552072"/>
                  <a:gd name="connsiteY351" fmla="*/ 1778919 h 2350633"/>
                  <a:gd name="connsiteX352" fmla="*/ 2844929 w 4552072"/>
                  <a:gd name="connsiteY352" fmla="*/ 1778919 h 2350633"/>
                  <a:gd name="connsiteX353" fmla="*/ 2807794 w 4552072"/>
                  <a:gd name="connsiteY353" fmla="*/ 1816063 h 2350633"/>
                  <a:gd name="connsiteX354" fmla="*/ 2807794 w 4552072"/>
                  <a:gd name="connsiteY354" fmla="*/ 1838313 h 2350633"/>
                  <a:gd name="connsiteX355" fmla="*/ 2872592 w 4552072"/>
                  <a:gd name="connsiteY355" fmla="*/ 1838313 h 2350633"/>
                  <a:gd name="connsiteX356" fmla="*/ 2872592 w 4552072"/>
                  <a:gd name="connsiteY356" fmla="*/ 1868191 h 2350633"/>
                  <a:gd name="connsiteX357" fmla="*/ 2817316 w 4552072"/>
                  <a:gd name="connsiteY357" fmla="*/ 1923466 h 2350633"/>
                  <a:gd name="connsiteX358" fmla="*/ 2775370 w 4552072"/>
                  <a:gd name="connsiteY358" fmla="*/ 1965429 h 2350633"/>
                  <a:gd name="connsiteX359" fmla="*/ 2714839 w 4552072"/>
                  <a:gd name="connsiteY359" fmla="*/ 1965429 h 2350633"/>
                  <a:gd name="connsiteX360" fmla="*/ 2641688 w 4552072"/>
                  <a:gd name="connsiteY360" fmla="*/ 1965429 h 2350633"/>
                  <a:gd name="connsiteX361" fmla="*/ 2603927 w 4552072"/>
                  <a:gd name="connsiteY361" fmla="*/ 2003199 h 2350633"/>
                  <a:gd name="connsiteX362" fmla="*/ 2480905 w 4552072"/>
                  <a:gd name="connsiteY362" fmla="*/ 2003199 h 2350633"/>
                  <a:gd name="connsiteX363" fmla="*/ 2447542 w 4552072"/>
                  <a:gd name="connsiteY363" fmla="*/ 1969836 h 2350633"/>
                  <a:gd name="connsiteX364" fmla="*/ 2395842 w 4552072"/>
                  <a:gd name="connsiteY364" fmla="*/ 1918145 h 2350633"/>
                  <a:gd name="connsiteX365" fmla="*/ 2334883 w 4552072"/>
                  <a:gd name="connsiteY365" fmla="*/ 1918145 h 2350633"/>
                  <a:gd name="connsiteX366" fmla="*/ 2266295 w 4552072"/>
                  <a:gd name="connsiteY366" fmla="*/ 1918145 h 2350633"/>
                  <a:gd name="connsiteX367" fmla="*/ 2266295 w 4552072"/>
                  <a:gd name="connsiteY367" fmla="*/ 1861436 h 2350633"/>
                  <a:gd name="connsiteX368" fmla="*/ 2203886 w 4552072"/>
                  <a:gd name="connsiteY368" fmla="*/ 1861436 h 2350633"/>
                  <a:gd name="connsiteX369" fmla="*/ 2145876 w 4552072"/>
                  <a:gd name="connsiteY369" fmla="*/ 1919446 h 2350633"/>
                  <a:gd name="connsiteX370" fmla="*/ 2145876 w 4552072"/>
                  <a:gd name="connsiteY370" fmla="*/ 1973782 h 2350633"/>
                  <a:gd name="connsiteX371" fmla="*/ 2083698 w 4552072"/>
                  <a:gd name="connsiteY371" fmla="*/ 1973782 h 2350633"/>
                  <a:gd name="connsiteX372" fmla="*/ 2032014 w 4552072"/>
                  <a:gd name="connsiteY372" fmla="*/ 1922107 h 2350633"/>
                  <a:gd name="connsiteX373" fmla="*/ 1941762 w 4552072"/>
                  <a:gd name="connsiteY373" fmla="*/ 1922107 h 2350633"/>
                  <a:gd name="connsiteX374" fmla="*/ 1852811 w 4552072"/>
                  <a:gd name="connsiteY374" fmla="*/ 2011050 h 2350633"/>
                  <a:gd name="connsiteX375" fmla="*/ 1835726 w 4552072"/>
                  <a:gd name="connsiteY375" fmla="*/ 2011050 h 2350633"/>
                  <a:gd name="connsiteX376" fmla="*/ 1822777 w 4552072"/>
                  <a:gd name="connsiteY376" fmla="*/ 2011050 h 2350633"/>
                  <a:gd name="connsiteX377" fmla="*/ 1822777 w 4552072"/>
                  <a:gd name="connsiteY377" fmla="*/ 1984656 h 2350633"/>
                  <a:gd name="connsiteX378" fmla="*/ 1785345 w 4552072"/>
                  <a:gd name="connsiteY378" fmla="*/ 1984656 h 2350633"/>
                  <a:gd name="connsiteX379" fmla="*/ 1727120 w 4552072"/>
                  <a:gd name="connsiteY379" fmla="*/ 1926407 h 2350633"/>
                  <a:gd name="connsiteX380" fmla="*/ 1640327 w 4552072"/>
                  <a:gd name="connsiteY380" fmla="*/ 1926407 h 2350633"/>
                  <a:gd name="connsiteX381" fmla="*/ 1514257 w 4552072"/>
                  <a:gd name="connsiteY381" fmla="*/ 1800362 h 2350633"/>
                  <a:gd name="connsiteX382" fmla="*/ 1514257 w 4552072"/>
                  <a:gd name="connsiteY382" fmla="*/ 1748835 h 2350633"/>
                  <a:gd name="connsiteX383" fmla="*/ 1495459 w 4552072"/>
                  <a:gd name="connsiteY383" fmla="*/ 1730012 h 2350633"/>
                  <a:gd name="connsiteX384" fmla="*/ 1462772 w 4552072"/>
                  <a:gd name="connsiteY384" fmla="*/ 1762715 h 2350633"/>
                  <a:gd name="connsiteX385" fmla="*/ 1389143 w 4552072"/>
                  <a:gd name="connsiteY385" fmla="*/ 1762715 h 2350633"/>
                  <a:gd name="connsiteX386" fmla="*/ 1352288 w 4552072"/>
                  <a:gd name="connsiteY386" fmla="*/ 1725868 h 2350633"/>
                  <a:gd name="connsiteX387" fmla="*/ 1307013 w 4552072"/>
                  <a:gd name="connsiteY387" fmla="*/ 1680594 h 2350633"/>
                  <a:gd name="connsiteX388" fmla="*/ 1190779 w 4552072"/>
                  <a:gd name="connsiteY388" fmla="*/ 1680594 h 2350633"/>
                  <a:gd name="connsiteX389" fmla="*/ 1115930 w 4552072"/>
                  <a:gd name="connsiteY389" fmla="*/ 1755424 h 2350633"/>
                  <a:gd name="connsiteX390" fmla="*/ 998922 w 4552072"/>
                  <a:gd name="connsiteY390" fmla="*/ 1755424 h 2350633"/>
                  <a:gd name="connsiteX391" fmla="*/ 998922 w 4552072"/>
                  <a:gd name="connsiteY391" fmla="*/ 1855991 h 2350633"/>
                  <a:gd name="connsiteX392" fmla="*/ 1033175 w 4552072"/>
                  <a:gd name="connsiteY392" fmla="*/ 1890227 h 2350633"/>
                  <a:gd name="connsiteX393" fmla="*/ 1017144 w 4552072"/>
                  <a:gd name="connsiteY393" fmla="*/ 1906233 h 2350633"/>
                  <a:gd name="connsiteX394" fmla="*/ 897401 w 4552072"/>
                  <a:gd name="connsiteY394" fmla="*/ 1906233 h 2350633"/>
                  <a:gd name="connsiteX395" fmla="*/ 840296 w 4552072"/>
                  <a:gd name="connsiteY395" fmla="*/ 1906233 h 2350633"/>
                  <a:gd name="connsiteX396" fmla="*/ 803161 w 4552072"/>
                  <a:gd name="connsiteY396" fmla="*/ 1869072 h 2350633"/>
                  <a:gd name="connsiteX397" fmla="*/ 693418 w 4552072"/>
                  <a:gd name="connsiteY397" fmla="*/ 1869072 h 2350633"/>
                  <a:gd name="connsiteX398" fmla="*/ 633893 w 4552072"/>
                  <a:gd name="connsiteY398" fmla="*/ 1928606 h 2350633"/>
                  <a:gd name="connsiteX399" fmla="*/ 633893 w 4552072"/>
                  <a:gd name="connsiteY399" fmla="*/ 1965165 h 2350633"/>
                  <a:gd name="connsiteX400" fmla="*/ 592078 w 4552072"/>
                  <a:gd name="connsiteY400" fmla="*/ 1923343 h 2350633"/>
                  <a:gd name="connsiteX401" fmla="*/ 592078 w 4552072"/>
                  <a:gd name="connsiteY401" fmla="*/ 2013875 h 2350633"/>
                  <a:gd name="connsiteX402" fmla="*/ 651637 w 4552072"/>
                  <a:gd name="connsiteY402" fmla="*/ 2073417 h 2350633"/>
                  <a:gd name="connsiteX403" fmla="*/ 651637 w 4552072"/>
                  <a:gd name="connsiteY403" fmla="*/ 2096112 h 2350633"/>
                  <a:gd name="connsiteX404" fmla="*/ 653680 w 4552072"/>
                  <a:gd name="connsiteY404" fmla="*/ 2096112 h 2350633"/>
                  <a:gd name="connsiteX405" fmla="*/ 653680 w 4552072"/>
                  <a:gd name="connsiteY405" fmla="*/ 2131872 h 2350633"/>
                  <a:gd name="connsiteX406" fmla="*/ 574597 w 4552072"/>
                  <a:gd name="connsiteY406" fmla="*/ 2210954 h 2350633"/>
                  <a:gd name="connsiteX407" fmla="*/ 605176 w 4552072"/>
                  <a:gd name="connsiteY407" fmla="*/ 2241533 h 2350633"/>
                  <a:gd name="connsiteX408" fmla="*/ 575125 w 4552072"/>
                  <a:gd name="connsiteY408" fmla="*/ 2271584 h 2350633"/>
                  <a:gd name="connsiteX409" fmla="*/ 624254 w 4552072"/>
                  <a:gd name="connsiteY409" fmla="*/ 2320713 h 2350633"/>
                  <a:gd name="connsiteX410" fmla="*/ 594187 w 4552072"/>
                  <a:gd name="connsiteY410" fmla="*/ 2350633 h 2350633"/>
                  <a:gd name="connsiteX411" fmla="*/ 541400 w 4552072"/>
                  <a:gd name="connsiteY411" fmla="*/ 2297838 h 2350633"/>
                  <a:gd name="connsiteX412" fmla="*/ 493571 w 4552072"/>
                  <a:gd name="connsiteY412" fmla="*/ 2297838 h 2350633"/>
                  <a:gd name="connsiteX413" fmla="*/ 449236 w 4552072"/>
                  <a:gd name="connsiteY413" fmla="*/ 2253486 h 2350633"/>
                  <a:gd name="connsiteX414" fmla="*/ 411161 w 4552072"/>
                  <a:gd name="connsiteY414" fmla="*/ 2253486 h 2350633"/>
                  <a:gd name="connsiteX415" fmla="*/ 383796 w 4552072"/>
                  <a:gd name="connsiteY415" fmla="*/ 2226121 h 2350633"/>
                  <a:gd name="connsiteX416" fmla="*/ 364873 w 4552072"/>
                  <a:gd name="connsiteY416" fmla="*/ 2245022 h 2350633"/>
                  <a:gd name="connsiteX417" fmla="*/ 365293 w 4552072"/>
                  <a:gd name="connsiteY417" fmla="*/ 2240478 h 2350633"/>
                  <a:gd name="connsiteX418" fmla="*/ 302555 w 4552072"/>
                  <a:gd name="connsiteY418" fmla="*/ 2240478 h 2350633"/>
                  <a:gd name="connsiteX419" fmla="*/ 278830 w 4552072"/>
                  <a:gd name="connsiteY419" fmla="*/ 2216754 h 2350633"/>
                  <a:gd name="connsiteX420" fmla="*/ 278830 w 4552072"/>
                  <a:gd name="connsiteY420" fmla="*/ 2180903 h 2350633"/>
                  <a:gd name="connsiteX421" fmla="*/ 315735 w 4552072"/>
                  <a:gd name="connsiteY421" fmla="*/ 2143998 h 2350633"/>
                  <a:gd name="connsiteX422" fmla="*/ 293065 w 4552072"/>
                  <a:gd name="connsiteY422" fmla="*/ 2121328 h 2350633"/>
                  <a:gd name="connsiteX423" fmla="*/ 316790 w 4552072"/>
                  <a:gd name="connsiteY423" fmla="*/ 2097603 h 2350633"/>
                  <a:gd name="connsiteX424" fmla="*/ 316954 w 4552072"/>
                  <a:gd name="connsiteY424" fmla="*/ 2096112 h 2350633"/>
                  <a:gd name="connsiteX425" fmla="*/ 318800 w 4552072"/>
                  <a:gd name="connsiteY425" fmla="*/ 2096112 h 2350633"/>
                  <a:gd name="connsiteX426" fmla="*/ 315768 w 4552072"/>
                  <a:gd name="connsiteY426" fmla="*/ 2099152 h 2350633"/>
                  <a:gd name="connsiteX427" fmla="*/ 340531 w 4552072"/>
                  <a:gd name="connsiteY427" fmla="*/ 2095899 h 2350633"/>
                  <a:gd name="connsiteX428" fmla="*/ 384372 w 4552072"/>
                  <a:gd name="connsiteY428" fmla="*/ 2095899 h 2350633"/>
                  <a:gd name="connsiteX429" fmla="*/ 402693 w 4552072"/>
                  <a:gd name="connsiteY429" fmla="*/ 2077586 h 2350633"/>
                  <a:gd name="connsiteX430" fmla="*/ 402693 w 4552072"/>
                  <a:gd name="connsiteY430" fmla="*/ 2049364 h 2350633"/>
                  <a:gd name="connsiteX431" fmla="*/ 378276 w 4552072"/>
                  <a:gd name="connsiteY431" fmla="*/ 2024938 h 2350633"/>
                  <a:gd name="connsiteX432" fmla="*/ 378276 w 4552072"/>
                  <a:gd name="connsiteY432" fmla="*/ 1994871 h 2350633"/>
                  <a:gd name="connsiteX433" fmla="*/ 349032 w 4552072"/>
                  <a:gd name="connsiteY433" fmla="*/ 1965610 h 2350633"/>
                  <a:gd name="connsiteX434" fmla="*/ 315999 w 4552072"/>
                  <a:gd name="connsiteY434" fmla="*/ 1965610 h 2350633"/>
                  <a:gd name="connsiteX435" fmla="*/ 276030 w 4552072"/>
                  <a:gd name="connsiteY435" fmla="*/ 1925624 h 2350633"/>
                  <a:gd name="connsiteX436" fmla="*/ 252750 w 4552072"/>
                  <a:gd name="connsiteY436" fmla="*/ 1948896 h 2350633"/>
                  <a:gd name="connsiteX437" fmla="*/ 227196 w 4552072"/>
                  <a:gd name="connsiteY437" fmla="*/ 1923343 h 2350633"/>
                  <a:gd name="connsiteX438" fmla="*/ 227196 w 4552072"/>
                  <a:gd name="connsiteY438" fmla="*/ 1896109 h 2350633"/>
                  <a:gd name="connsiteX439" fmla="*/ 209798 w 4552072"/>
                  <a:gd name="connsiteY439" fmla="*/ 1878719 h 2350633"/>
                  <a:gd name="connsiteX440" fmla="*/ 173997 w 4552072"/>
                  <a:gd name="connsiteY440" fmla="*/ 1842926 h 2350633"/>
                  <a:gd name="connsiteX441" fmla="*/ 131738 w 4552072"/>
                  <a:gd name="connsiteY441" fmla="*/ 1842926 h 2350633"/>
                  <a:gd name="connsiteX442" fmla="*/ 123895 w 4552072"/>
                  <a:gd name="connsiteY442" fmla="*/ 1835075 h 2350633"/>
                  <a:gd name="connsiteX443" fmla="*/ 113384 w 4552072"/>
                  <a:gd name="connsiteY443" fmla="*/ 1824572 h 2350633"/>
                  <a:gd name="connsiteX444" fmla="*/ 113384 w 4552072"/>
                  <a:gd name="connsiteY444" fmla="*/ 1793812 h 2350633"/>
                  <a:gd name="connsiteX445" fmla="*/ 152183 w 4552072"/>
                  <a:gd name="connsiteY445" fmla="*/ 1793812 h 2350633"/>
                  <a:gd name="connsiteX446" fmla="*/ 152183 w 4552072"/>
                  <a:gd name="connsiteY446" fmla="*/ 1775377 h 2350633"/>
                  <a:gd name="connsiteX447" fmla="*/ 117503 w 4552072"/>
                  <a:gd name="connsiteY447" fmla="*/ 1740688 h 2350633"/>
                  <a:gd name="connsiteX448" fmla="*/ 88637 w 4552072"/>
                  <a:gd name="connsiteY448" fmla="*/ 1711806 h 2350633"/>
                  <a:gd name="connsiteX449" fmla="*/ 88637 w 4552072"/>
                  <a:gd name="connsiteY449" fmla="*/ 1660172 h 2350633"/>
                  <a:gd name="connsiteX450" fmla="*/ 33726 w 4552072"/>
                  <a:gd name="connsiteY450" fmla="*/ 1660172 h 2350633"/>
                  <a:gd name="connsiteX451" fmla="*/ 16409 w 4552072"/>
                  <a:gd name="connsiteY451" fmla="*/ 1642856 h 2350633"/>
                  <a:gd name="connsiteX452" fmla="*/ 25273 w 4552072"/>
                  <a:gd name="connsiteY452" fmla="*/ 1633992 h 2350633"/>
                  <a:gd name="connsiteX453" fmla="*/ 25273 w 4552072"/>
                  <a:gd name="connsiteY453" fmla="*/ 1594245 h 2350633"/>
                  <a:gd name="connsiteX454" fmla="*/ 25273 w 4552072"/>
                  <a:gd name="connsiteY454" fmla="*/ 1553024 h 2350633"/>
                  <a:gd name="connsiteX455" fmla="*/ 16855 w 4552072"/>
                  <a:gd name="connsiteY455" fmla="*/ 1544597 h 2350633"/>
                  <a:gd name="connsiteX456" fmla="*/ 8024 w 4552072"/>
                  <a:gd name="connsiteY456" fmla="*/ 1535758 h 2350633"/>
                  <a:gd name="connsiteX457" fmla="*/ 0 w 4552072"/>
                  <a:gd name="connsiteY457" fmla="*/ 1527742 h 2350633"/>
                  <a:gd name="connsiteX458" fmla="*/ 0 w 4552072"/>
                  <a:gd name="connsiteY458" fmla="*/ 1481364 h 2350633"/>
                  <a:gd name="connsiteX459" fmla="*/ 0 w 4552072"/>
                  <a:gd name="connsiteY459" fmla="*/ 1450026 h 2350633"/>
                  <a:gd name="connsiteX460" fmla="*/ 24450 w 4552072"/>
                  <a:gd name="connsiteY460" fmla="*/ 1425660 h 2350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</a:cxnLst>
                <a:rect l="l" t="t" r="r" b="b"/>
                <a:pathLst>
                  <a:path w="4552072" h="2350633">
                    <a:moveTo>
                      <a:pt x="41848" y="1425670"/>
                    </a:moveTo>
                    <a:lnTo>
                      <a:pt x="10437" y="1394300"/>
                    </a:lnTo>
                    <a:lnTo>
                      <a:pt x="10437" y="1347995"/>
                    </a:lnTo>
                    <a:lnTo>
                      <a:pt x="55011" y="1303422"/>
                    </a:lnTo>
                    <a:lnTo>
                      <a:pt x="72080" y="1303422"/>
                    </a:lnTo>
                    <a:lnTo>
                      <a:pt x="113384" y="1262101"/>
                    </a:lnTo>
                    <a:lnTo>
                      <a:pt x="113384" y="1215056"/>
                    </a:lnTo>
                    <a:lnTo>
                      <a:pt x="79296" y="1180984"/>
                    </a:lnTo>
                    <a:lnTo>
                      <a:pt x="79296" y="1144878"/>
                    </a:lnTo>
                    <a:lnTo>
                      <a:pt x="79296" y="1096284"/>
                    </a:lnTo>
                    <a:lnTo>
                      <a:pt x="60317" y="1077321"/>
                    </a:lnTo>
                    <a:lnTo>
                      <a:pt x="60317" y="1003041"/>
                    </a:lnTo>
                    <a:lnTo>
                      <a:pt x="60317" y="945130"/>
                    </a:lnTo>
                    <a:lnTo>
                      <a:pt x="41501" y="926298"/>
                    </a:lnTo>
                    <a:lnTo>
                      <a:pt x="76874" y="890917"/>
                    </a:lnTo>
                    <a:lnTo>
                      <a:pt x="76874" y="855817"/>
                    </a:lnTo>
                    <a:lnTo>
                      <a:pt x="42161" y="821103"/>
                    </a:lnTo>
                    <a:lnTo>
                      <a:pt x="21681" y="800624"/>
                    </a:lnTo>
                    <a:lnTo>
                      <a:pt x="19243" y="764543"/>
                    </a:lnTo>
                    <a:lnTo>
                      <a:pt x="75689" y="708094"/>
                    </a:lnTo>
                    <a:lnTo>
                      <a:pt x="105772" y="738182"/>
                    </a:lnTo>
                    <a:lnTo>
                      <a:pt x="169787" y="738182"/>
                    </a:lnTo>
                    <a:lnTo>
                      <a:pt x="190967" y="759357"/>
                    </a:lnTo>
                    <a:lnTo>
                      <a:pt x="241398" y="759357"/>
                    </a:lnTo>
                    <a:lnTo>
                      <a:pt x="275321" y="793276"/>
                    </a:lnTo>
                    <a:lnTo>
                      <a:pt x="326988" y="793276"/>
                    </a:lnTo>
                    <a:lnTo>
                      <a:pt x="347722" y="814014"/>
                    </a:lnTo>
                    <a:lnTo>
                      <a:pt x="347722" y="835807"/>
                    </a:lnTo>
                    <a:lnTo>
                      <a:pt x="383573" y="871658"/>
                    </a:lnTo>
                    <a:lnTo>
                      <a:pt x="383573" y="907858"/>
                    </a:lnTo>
                    <a:lnTo>
                      <a:pt x="357912" y="907858"/>
                    </a:lnTo>
                    <a:lnTo>
                      <a:pt x="304845" y="960930"/>
                    </a:lnTo>
                    <a:lnTo>
                      <a:pt x="195885" y="960930"/>
                    </a:lnTo>
                    <a:lnTo>
                      <a:pt x="169170" y="934219"/>
                    </a:lnTo>
                    <a:lnTo>
                      <a:pt x="148790" y="954603"/>
                    </a:lnTo>
                    <a:lnTo>
                      <a:pt x="196239" y="1002053"/>
                    </a:lnTo>
                    <a:lnTo>
                      <a:pt x="180423" y="1017869"/>
                    </a:lnTo>
                    <a:lnTo>
                      <a:pt x="180423" y="1071999"/>
                    </a:lnTo>
                    <a:lnTo>
                      <a:pt x="235253" y="1126829"/>
                    </a:lnTo>
                    <a:lnTo>
                      <a:pt x="253524" y="1108554"/>
                    </a:lnTo>
                    <a:lnTo>
                      <a:pt x="283048" y="1138074"/>
                    </a:lnTo>
                    <a:lnTo>
                      <a:pt x="332960" y="1088166"/>
                    </a:lnTo>
                    <a:lnTo>
                      <a:pt x="382164" y="1088166"/>
                    </a:lnTo>
                    <a:lnTo>
                      <a:pt x="382164" y="1029118"/>
                    </a:lnTo>
                    <a:lnTo>
                      <a:pt x="443675" y="967611"/>
                    </a:lnTo>
                    <a:lnTo>
                      <a:pt x="491125" y="1015060"/>
                    </a:lnTo>
                    <a:lnTo>
                      <a:pt x="491125" y="973587"/>
                    </a:lnTo>
                    <a:lnTo>
                      <a:pt x="453865" y="936328"/>
                    </a:lnTo>
                    <a:lnTo>
                      <a:pt x="453865" y="828072"/>
                    </a:lnTo>
                    <a:lnTo>
                      <a:pt x="487607" y="794330"/>
                    </a:lnTo>
                    <a:lnTo>
                      <a:pt x="526275" y="794330"/>
                    </a:lnTo>
                    <a:lnTo>
                      <a:pt x="526275" y="870953"/>
                    </a:lnTo>
                    <a:lnTo>
                      <a:pt x="510804" y="886420"/>
                    </a:lnTo>
                    <a:lnTo>
                      <a:pt x="581805" y="957421"/>
                    </a:lnTo>
                    <a:lnTo>
                      <a:pt x="688657" y="850569"/>
                    </a:lnTo>
                    <a:lnTo>
                      <a:pt x="665459" y="827372"/>
                    </a:lnTo>
                    <a:lnTo>
                      <a:pt x="713963" y="778868"/>
                    </a:lnTo>
                    <a:lnTo>
                      <a:pt x="762813" y="778868"/>
                    </a:lnTo>
                    <a:lnTo>
                      <a:pt x="762813" y="841784"/>
                    </a:lnTo>
                    <a:lnTo>
                      <a:pt x="794100" y="810501"/>
                    </a:lnTo>
                    <a:lnTo>
                      <a:pt x="872127" y="810501"/>
                    </a:lnTo>
                    <a:lnTo>
                      <a:pt x="892161" y="790467"/>
                    </a:lnTo>
                    <a:lnTo>
                      <a:pt x="915005" y="813314"/>
                    </a:lnTo>
                    <a:lnTo>
                      <a:pt x="950855" y="813314"/>
                    </a:lnTo>
                    <a:lnTo>
                      <a:pt x="991624" y="772546"/>
                    </a:lnTo>
                    <a:lnTo>
                      <a:pt x="965609" y="746531"/>
                    </a:lnTo>
                    <a:lnTo>
                      <a:pt x="965609" y="701541"/>
                    </a:lnTo>
                    <a:lnTo>
                      <a:pt x="1116046" y="701541"/>
                    </a:lnTo>
                    <a:lnTo>
                      <a:pt x="1116046" y="753562"/>
                    </a:lnTo>
                    <a:lnTo>
                      <a:pt x="1183439" y="820955"/>
                    </a:lnTo>
                    <a:lnTo>
                      <a:pt x="1197410" y="806983"/>
                    </a:lnTo>
                    <a:lnTo>
                      <a:pt x="1197410" y="767797"/>
                    </a:lnTo>
                    <a:lnTo>
                      <a:pt x="1150842" y="721225"/>
                    </a:lnTo>
                    <a:lnTo>
                      <a:pt x="1150842" y="622458"/>
                    </a:lnTo>
                    <a:lnTo>
                      <a:pt x="1206727" y="566574"/>
                    </a:lnTo>
                    <a:lnTo>
                      <a:pt x="1206727" y="518070"/>
                    </a:lnTo>
                    <a:lnTo>
                      <a:pt x="1172277" y="483624"/>
                    </a:lnTo>
                    <a:lnTo>
                      <a:pt x="1172277" y="458322"/>
                    </a:lnTo>
                    <a:lnTo>
                      <a:pt x="1198992" y="431607"/>
                    </a:lnTo>
                    <a:lnTo>
                      <a:pt x="1296353" y="431607"/>
                    </a:lnTo>
                    <a:lnTo>
                      <a:pt x="1296353" y="460076"/>
                    </a:lnTo>
                    <a:lnTo>
                      <a:pt x="1267175" y="489250"/>
                    </a:lnTo>
                    <a:lnTo>
                      <a:pt x="1267175" y="540559"/>
                    </a:lnTo>
                    <a:lnTo>
                      <a:pt x="1230971" y="576764"/>
                    </a:lnTo>
                    <a:lnTo>
                      <a:pt x="1267175" y="612969"/>
                    </a:lnTo>
                    <a:lnTo>
                      <a:pt x="1267175" y="695214"/>
                    </a:lnTo>
                    <a:lnTo>
                      <a:pt x="1305843" y="733878"/>
                    </a:lnTo>
                    <a:lnTo>
                      <a:pt x="1305843" y="774650"/>
                    </a:lnTo>
                    <a:lnTo>
                      <a:pt x="1342394" y="811201"/>
                    </a:lnTo>
                    <a:lnTo>
                      <a:pt x="1342394" y="873058"/>
                    </a:lnTo>
                    <a:lnTo>
                      <a:pt x="1262958" y="952494"/>
                    </a:lnTo>
                    <a:lnTo>
                      <a:pt x="1291781" y="981314"/>
                    </a:lnTo>
                    <a:lnTo>
                      <a:pt x="1318315" y="981314"/>
                    </a:lnTo>
                    <a:lnTo>
                      <a:pt x="1318315" y="943169"/>
                    </a:lnTo>
                    <a:lnTo>
                      <a:pt x="1371547" y="889933"/>
                    </a:lnTo>
                    <a:lnTo>
                      <a:pt x="1371547" y="833324"/>
                    </a:lnTo>
                    <a:lnTo>
                      <a:pt x="1390856" y="814014"/>
                    </a:lnTo>
                    <a:lnTo>
                      <a:pt x="1390856" y="768357"/>
                    </a:lnTo>
                    <a:lnTo>
                      <a:pt x="1416830" y="794330"/>
                    </a:lnTo>
                    <a:lnTo>
                      <a:pt x="1416830" y="825337"/>
                    </a:lnTo>
                    <a:lnTo>
                      <a:pt x="1468769" y="877280"/>
                    </a:lnTo>
                    <a:lnTo>
                      <a:pt x="1468769" y="852126"/>
                    </a:lnTo>
                    <a:lnTo>
                      <a:pt x="1426443" y="809797"/>
                    </a:lnTo>
                    <a:lnTo>
                      <a:pt x="1426443" y="780577"/>
                    </a:lnTo>
                    <a:lnTo>
                      <a:pt x="1357247" y="711380"/>
                    </a:lnTo>
                    <a:lnTo>
                      <a:pt x="1357247" y="638892"/>
                    </a:lnTo>
                    <a:lnTo>
                      <a:pt x="1313043" y="594693"/>
                    </a:lnTo>
                    <a:lnTo>
                      <a:pt x="1313043" y="554098"/>
                    </a:lnTo>
                    <a:lnTo>
                      <a:pt x="1325877" y="541267"/>
                    </a:lnTo>
                    <a:lnTo>
                      <a:pt x="1325877" y="483982"/>
                    </a:lnTo>
                    <a:lnTo>
                      <a:pt x="1343803" y="466053"/>
                    </a:lnTo>
                    <a:lnTo>
                      <a:pt x="1397924" y="466053"/>
                    </a:lnTo>
                    <a:lnTo>
                      <a:pt x="1374727" y="489250"/>
                    </a:lnTo>
                    <a:lnTo>
                      <a:pt x="1374727" y="619999"/>
                    </a:lnTo>
                    <a:lnTo>
                      <a:pt x="1427803" y="619999"/>
                    </a:lnTo>
                    <a:lnTo>
                      <a:pt x="1427803" y="585199"/>
                    </a:lnTo>
                    <a:lnTo>
                      <a:pt x="1404960" y="562356"/>
                    </a:lnTo>
                    <a:lnTo>
                      <a:pt x="1404960" y="516661"/>
                    </a:lnTo>
                    <a:lnTo>
                      <a:pt x="1425340" y="496277"/>
                    </a:lnTo>
                    <a:lnTo>
                      <a:pt x="1470334" y="496277"/>
                    </a:lnTo>
                    <a:lnTo>
                      <a:pt x="1534300" y="560247"/>
                    </a:lnTo>
                    <a:lnTo>
                      <a:pt x="1548362" y="546185"/>
                    </a:lnTo>
                    <a:lnTo>
                      <a:pt x="1565933" y="563761"/>
                    </a:lnTo>
                    <a:lnTo>
                      <a:pt x="1565933" y="590475"/>
                    </a:lnTo>
                    <a:lnTo>
                      <a:pt x="1550471" y="605938"/>
                    </a:lnTo>
                    <a:lnTo>
                      <a:pt x="1550471" y="688887"/>
                    </a:lnTo>
                    <a:lnTo>
                      <a:pt x="1599674" y="688887"/>
                    </a:lnTo>
                    <a:lnTo>
                      <a:pt x="1623572" y="664986"/>
                    </a:lnTo>
                    <a:lnTo>
                      <a:pt x="1623572" y="567983"/>
                    </a:lnTo>
                    <a:lnTo>
                      <a:pt x="1511103" y="455509"/>
                    </a:lnTo>
                    <a:lnTo>
                      <a:pt x="1511103" y="402083"/>
                    </a:lnTo>
                    <a:lnTo>
                      <a:pt x="1550471" y="362719"/>
                    </a:lnTo>
                    <a:lnTo>
                      <a:pt x="1600177" y="362719"/>
                    </a:lnTo>
                    <a:lnTo>
                      <a:pt x="1600177" y="337916"/>
                    </a:lnTo>
                    <a:lnTo>
                      <a:pt x="1618958" y="319133"/>
                    </a:lnTo>
                    <a:lnTo>
                      <a:pt x="1618958" y="294840"/>
                    </a:lnTo>
                    <a:lnTo>
                      <a:pt x="1647478" y="266326"/>
                    </a:lnTo>
                    <a:lnTo>
                      <a:pt x="1688865" y="266326"/>
                    </a:lnTo>
                    <a:lnTo>
                      <a:pt x="1719179" y="236011"/>
                    </a:lnTo>
                    <a:lnTo>
                      <a:pt x="1744304" y="236011"/>
                    </a:lnTo>
                    <a:lnTo>
                      <a:pt x="1793335" y="186980"/>
                    </a:lnTo>
                    <a:lnTo>
                      <a:pt x="1793335" y="148674"/>
                    </a:lnTo>
                    <a:lnTo>
                      <a:pt x="1814778" y="127232"/>
                    </a:lnTo>
                    <a:lnTo>
                      <a:pt x="1849220" y="127232"/>
                    </a:lnTo>
                    <a:lnTo>
                      <a:pt x="1872417" y="150425"/>
                    </a:lnTo>
                    <a:lnTo>
                      <a:pt x="1916003" y="150425"/>
                    </a:lnTo>
                    <a:lnTo>
                      <a:pt x="1933574" y="132854"/>
                    </a:lnTo>
                    <a:lnTo>
                      <a:pt x="1960989" y="160269"/>
                    </a:lnTo>
                    <a:lnTo>
                      <a:pt x="1960989" y="111061"/>
                    </a:lnTo>
                    <a:lnTo>
                      <a:pt x="1994031" y="111061"/>
                    </a:lnTo>
                    <a:lnTo>
                      <a:pt x="1994031" y="82237"/>
                    </a:lnTo>
                    <a:lnTo>
                      <a:pt x="2019337" y="56931"/>
                    </a:lnTo>
                    <a:lnTo>
                      <a:pt x="1988412" y="26006"/>
                    </a:lnTo>
                    <a:lnTo>
                      <a:pt x="2014419" y="0"/>
                    </a:lnTo>
                    <a:lnTo>
                      <a:pt x="2094555" y="0"/>
                    </a:lnTo>
                    <a:lnTo>
                      <a:pt x="2172064" y="77509"/>
                    </a:lnTo>
                    <a:lnTo>
                      <a:pt x="2140950" y="108622"/>
                    </a:lnTo>
                    <a:lnTo>
                      <a:pt x="2177872" y="108622"/>
                    </a:lnTo>
                    <a:lnTo>
                      <a:pt x="2207025" y="79469"/>
                    </a:lnTo>
                    <a:lnTo>
                      <a:pt x="2255487" y="79469"/>
                    </a:lnTo>
                    <a:lnTo>
                      <a:pt x="2277318" y="101304"/>
                    </a:lnTo>
                    <a:lnTo>
                      <a:pt x="2318004" y="101304"/>
                    </a:lnTo>
                    <a:lnTo>
                      <a:pt x="2375561" y="158860"/>
                    </a:lnTo>
                    <a:lnTo>
                      <a:pt x="2375561" y="264130"/>
                    </a:lnTo>
                    <a:lnTo>
                      <a:pt x="2347618" y="292072"/>
                    </a:lnTo>
                    <a:lnTo>
                      <a:pt x="2299461" y="292072"/>
                    </a:lnTo>
                    <a:lnTo>
                      <a:pt x="2269591" y="321946"/>
                    </a:lnTo>
                    <a:lnTo>
                      <a:pt x="2269591" y="369041"/>
                    </a:lnTo>
                    <a:lnTo>
                      <a:pt x="2243576" y="395056"/>
                    </a:lnTo>
                    <a:lnTo>
                      <a:pt x="2258536" y="410016"/>
                    </a:lnTo>
                    <a:lnTo>
                      <a:pt x="2304032" y="364519"/>
                    </a:lnTo>
                    <a:lnTo>
                      <a:pt x="2343005" y="364519"/>
                    </a:lnTo>
                    <a:lnTo>
                      <a:pt x="2360271" y="381786"/>
                    </a:lnTo>
                    <a:lnTo>
                      <a:pt x="2419937" y="381786"/>
                    </a:lnTo>
                    <a:lnTo>
                      <a:pt x="2438999" y="400847"/>
                    </a:lnTo>
                    <a:lnTo>
                      <a:pt x="2517554" y="400847"/>
                    </a:lnTo>
                    <a:lnTo>
                      <a:pt x="2535661" y="418954"/>
                    </a:lnTo>
                    <a:lnTo>
                      <a:pt x="2535661" y="440397"/>
                    </a:lnTo>
                    <a:lnTo>
                      <a:pt x="2558504" y="463240"/>
                    </a:lnTo>
                    <a:lnTo>
                      <a:pt x="2646367" y="463240"/>
                    </a:lnTo>
                    <a:lnTo>
                      <a:pt x="2667456" y="442151"/>
                    </a:lnTo>
                    <a:lnTo>
                      <a:pt x="2640749" y="415445"/>
                    </a:lnTo>
                    <a:lnTo>
                      <a:pt x="2681345" y="374845"/>
                    </a:lnTo>
                    <a:lnTo>
                      <a:pt x="2720177" y="413682"/>
                    </a:lnTo>
                    <a:lnTo>
                      <a:pt x="2784497" y="413682"/>
                    </a:lnTo>
                    <a:lnTo>
                      <a:pt x="2836164" y="465349"/>
                    </a:lnTo>
                    <a:lnTo>
                      <a:pt x="2836164" y="484328"/>
                    </a:lnTo>
                    <a:lnTo>
                      <a:pt x="2866397" y="514557"/>
                    </a:lnTo>
                    <a:lnTo>
                      <a:pt x="2866397" y="572192"/>
                    </a:lnTo>
                    <a:lnTo>
                      <a:pt x="2846709" y="591880"/>
                    </a:lnTo>
                    <a:lnTo>
                      <a:pt x="2893103" y="638275"/>
                    </a:lnTo>
                    <a:lnTo>
                      <a:pt x="2914192" y="617186"/>
                    </a:lnTo>
                    <a:lnTo>
                      <a:pt x="2914192" y="584849"/>
                    </a:lnTo>
                    <a:lnTo>
                      <a:pt x="2941788" y="557257"/>
                    </a:lnTo>
                    <a:lnTo>
                      <a:pt x="2967622" y="583090"/>
                    </a:lnTo>
                    <a:lnTo>
                      <a:pt x="3027016" y="583090"/>
                    </a:lnTo>
                    <a:lnTo>
                      <a:pt x="3094853" y="650928"/>
                    </a:lnTo>
                    <a:lnTo>
                      <a:pt x="3094853" y="596806"/>
                    </a:lnTo>
                    <a:lnTo>
                      <a:pt x="3108215" y="583445"/>
                    </a:lnTo>
                    <a:lnTo>
                      <a:pt x="3108215" y="553921"/>
                    </a:lnTo>
                    <a:lnTo>
                      <a:pt x="3134699" y="553921"/>
                    </a:lnTo>
                    <a:lnTo>
                      <a:pt x="3134699" y="529800"/>
                    </a:lnTo>
                    <a:lnTo>
                      <a:pt x="3143357" y="521143"/>
                    </a:lnTo>
                    <a:lnTo>
                      <a:pt x="3290013" y="521143"/>
                    </a:lnTo>
                    <a:lnTo>
                      <a:pt x="3313474" y="544604"/>
                    </a:lnTo>
                    <a:lnTo>
                      <a:pt x="3352307" y="544604"/>
                    </a:lnTo>
                    <a:lnTo>
                      <a:pt x="3385530" y="577822"/>
                    </a:lnTo>
                    <a:lnTo>
                      <a:pt x="3385530" y="597152"/>
                    </a:lnTo>
                    <a:lnTo>
                      <a:pt x="3417508" y="629135"/>
                    </a:lnTo>
                    <a:lnTo>
                      <a:pt x="3446332" y="629135"/>
                    </a:lnTo>
                    <a:lnTo>
                      <a:pt x="3486400" y="669203"/>
                    </a:lnTo>
                    <a:lnTo>
                      <a:pt x="3459686" y="695914"/>
                    </a:lnTo>
                    <a:lnTo>
                      <a:pt x="3541231" y="695914"/>
                    </a:lnTo>
                    <a:lnTo>
                      <a:pt x="3558102" y="679043"/>
                    </a:lnTo>
                    <a:lnTo>
                      <a:pt x="3648082" y="679043"/>
                    </a:lnTo>
                    <a:lnTo>
                      <a:pt x="3686042" y="717007"/>
                    </a:lnTo>
                    <a:lnTo>
                      <a:pt x="3686042" y="749097"/>
                    </a:lnTo>
                    <a:lnTo>
                      <a:pt x="3725640" y="749097"/>
                    </a:lnTo>
                    <a:lnTo>
                      <a:pt x="3742272" y="765729"/>
                    </a:lnTo>
                    <a:lnTo>
                      <a:pt x="3815868" y="765729"/>
                    </a:lnTo>
                    <a:lnTo>
                      <a:pt x="3846315" y="796172"/>
                    </a:lnTo>
                    <a:lnTo>
                      <a:pt x="3896491" y="796172"/>
                    </a:lnTo>
                    <a:lnTo>
                      <a:pt x="3957911" y="857596"/>
                    </a:lnTo>
                    <a:lnTo>
                      <a:pt x="3957911" y="789231"/>
                    </a:lnTo>
                    <a:lnTo>
                      <a:pt x="3982682" y="764460"/>
                    </a:lnTo>
                    <a:lnTo>
                      <a:pt x="4108159" y="764460"/>
                    </a:lnTo>
                    <a:lnTo>
                      <a:pt x="4123975" y="780273"/>
                    </a:lnTo>
                    <a:lnTo>
                      <a:pt x="4123975" y="806275"/>
                    </a:lnTo>
                    <a:lnTo>
                      <a:pt x="4145772" y="828072"/>
                    </a:lnTo>
                    <a:lnTo>
                      <a:pt x="4196377" y="828072"/>
                    </a:lnTo>
                    <a:lnTo>
                      <a:pt x="4227309" y="859005"/>
                    </a:lnTo>
                    <a:lnTo>
                      <a:pt x="4261051" y="859005"/>
                    </a:lnTo>
                    <a:lnTo>
                      <a:pt x="4320099" y="918053"/>
                    </a:lnTo>
                    <a:lnTo>
                      <a:pt x="4362276" y="918053"/>
                    </a:lnTo>
                    <a:lnTo>
                      <a:pt x="4391100" y="946876"/>
                    </a:lnTo>
                    <a:lnTo>
                      <a:pt x="4379855" y="958121"/>
                    </a:lnTo>
                    <a:lnTo>
                      <a:pt x="4418515" y="996780"/>
                    </a:lnTo>
                    <a:lnTo>
                      <a:pt x="4456474" y="996780"/>
                    </a:lnTo>
                    <a:lnTo>
                      <a:pt x="4456474" y="1018573"/>
                    </a:lnTo>
                    <a:lnTo>
                      <a:pt x="4483890" y="1018573"/>
                    </a:lnTo>
                    <a:lnTo>
                      <a:pt x="4552073" y="1086757"/>
                    </a:lnTo>
                    <a:lnTo>
                      <a:pt x="4552073" y="1106441"/>
                    </a:lnTo>
                    <a:lnTo>
                      <a:pt x="4519740" y="1106441"/>
                    </a:lnTo>
                    <a:lnTo>
                      <a:pt x="4519740" y="1142996"/>
                    </a:lnTo>
                    <a:lnTo>
                      <a:pt x="4497424" y="1165312"/>
                    </a:lnTo>
                    <a:lnTo>
                      <a:pt x="4478972" y="1146859"/>
                    </a:lnTo>
                    <a:lnTo>
                      <a:pt x="4448385" y="1146859"/>
                    </a:lnTo>
                    <a:lnTo>
                      <a:pt x="4393209" y="1091679"/>
                    </a:lnTo>
                    <a:lnTo>
                      <a:pt x="4333452" y="1091679"/>
                    </a:lnTo>
                    <a:lnTo>
                      <a:pt x="4287766" y="1045988"/>
                    </a:lnTo>
                    <a:lnTo>
                      <a:pt x="4262460" y="1045988"/>
                    </a:lnTo>
                    <a:lnTo>
                      <a:pt x="4262460" y="1102923"/>
                    </a:lnTo>
                    <a:lnTo>
                      <a:pt x="4281439" y="1102923"/>
                    </a:lnTo>
                    <a:lnTo>
                      <a:pt x="4308854" y="1130343"/>
                    </a:lnTo>
                    <a:lnTo>
                      <a:pt x="4289175" y="1150023"/>
                    </a:lnTo>
                    <a:lnTo>
                      <a:pt x="4258242" y="1150023"/>
                    </a:lnTo>
                    <a:lnTo>
                      <a:pt x="4258242" y="1184464"/>
                    </a:lnTo>
                    <a:lnTo>
                      <a:pt x="4295501" y="1184464"/>
                    </a:lnTo>
                    <a:lnTo>
                      <a:pt x="4315889" y="1204853"/>
                    </a:lnTo>
                    <a:lnTo>
                      <a:pt x="4315889" y="1225946"/>
                    </a:lnTo>
                    <a:lnTo>
                      <a:pt x="4331352" y="1241408"/>
                    </a:lnTo>
                    <a:lnTo>
                      <a:pt x="4331352" y="1294833"/>
                    </a:lnTo>
                    <a:lnTo>
                      <a:pt x="4303236" y="1294833"/>
                    </a:lnTo>
                    <a:lnTo>
                      <a:pt x="4289175" y="1308891"/>
                    </a:lnTo>
                    <a:lnTo>
                      <a:pt x="4230118" y="1308891"/>
                    </a:lnTo>
                    <a:lnTo>
                      <a:pt x="4230118" y="1349664"/>
                    </a:lnTo>
                    <a:lnTo>
                      <a:pt x="4140582" y="1439203"/>
                    </a:lnTo>
                    <a:lnTo>
                      <a:pt x="4112022" y="1410648"/>
                    </a:lnTo>
                    <a:lnTo>
                      <a:pt x="4064754" y="1410648"/>
                    </a:lnTo>
                    <a:lnTo>
                      <a:pt x="4023104" y="1452293"/>
                    </a:lnTo>
                    <a:lnTo>
                      <a:pt x="4023104" y="1422419"/>
                    </a:lnTo>
                    <a:lnTo>
                      <a:pt x="3989709" y="1455811"/>
                    </a:lnTo>
                    <a:lnTo>
                      <a:pt x="3952458" y="1455811"/>
                    </a:lnTo>
                    <a:lnTo>
                      <a:pt x="3925570" y="1482699"/>
                    </a:lnTo>
                    <a:lnTo>
                      <a:pt x="3947186" y="1504315"/>
                    </a:lnTo>
                    <a:lnTo>
                      <a:pt x="3947186" y="1567926"/>
                    </a:lnTo>
                    <a:lnTo>
                      <a:pt x="3990417" y="1611162"/>
                    </a:lnTo>
                    <a:lnTo>
                      <a:pt x="3990417" y="1668101"/>
                    </a:lnTo>
                    <a:lnTo>
                      <a:pt x="3954567" y="1703952"/>
                    </a:lnTo>
                    <a:lnTo>
                      <a:pt x="3954567" y="1778466"/>
                    </a:lnTo>
                    <a:lnTo>
                      <a:pt x="3927852" y="1778466"/>
                    </a:lnTo>
                    <a:lnTo>
                      <a:pt x="3927852" y="1850167"/>
                    </a:lnTo>
                    <a:lnTo>
                      <a:pt x="3903246" y="1850167"/>
                    </a:lnTo>
                    <a:lnTo>
                      <a:pt x="3903246" y="1931004"/>
                    </a:lnTo>
                    <a:lnTo>
                      <a:pt x="3880048" y="1954201"/>
                    </a:lnTo>
                    <a:lnTo>
                      <a:pt x="3855401" y="1954201"/>
                    </a:lnTo>
                    <a:lnTo>
                      <a:pt x="3855401" y="1884654"/>
                    </a:lnTo>
                    <a:lnTo>
                      <a:pt x="3829353" y="1858602"/>
                    </a:lnTo>
                    <a:lnTo>
                      <a:pt x="3829353" y="1779957"/>
                    </a:lnTo>
                    <a:lnTo>
                      <a:pt x="3803956" y="1754564"/>
                    </a:lnTo>
                    <a:lnTo>
                      <a:pt x="3803956" y="1654562"/>
                    </a:lnTo>
                    <a:lnTo>
                      <a:pt x="3831890" y="1626628"/>
                    </a:lnTo>
                    <a:lnTo>
                      <a:pt x="3831890" y="1591124"/>
                    </a:lnTo>
                    <a:lnTo>
                      <a:pt x="3862469" y="1560549"/>
                    </a:lnTo>
                    <a:lnTo>
                      <a:pt x="3862469" y="1499388"/>
                    </a:lnTo>
                    <a:lnTo>
                      <a:pt x="3959476" y="1402385"/>
                    </a:lnTo>
                    <a:lnTo>
                      <a:pt x="3939096" y="1382001"/>
                    </a:lnTo>
                    <a:lnTo>
                      <a:pt x="3939096" y="1321544"/>
                    </a:lnTo>
                    <a:lnTo>
                      <a:pt x="3939096" y="1307491"/>
                    </a:lnTo>
                    <a:lnTo>
                      <a:pt x="3874430" y="1307491"/>
                    </a:lnTo>
                    <a:lnTo>
                      <a:pt x="3908872" y="1341933"/>
                    </a:lnTo>
                    <a:lnTo>
                      <a:pt x="3860376" y="1390432"/>
                    </a:lnTo>
                    <a:lnTo>
                      <a:pt x="3808355" y="1338415"/>
                    </a:lnTo>
                    <a:lnTo>
                      <a:pt x="3733837" y="1412934"/>
                    </a:lnTo>
                    <a:lnTo>
                      <a:pt x="3701504" y="1412934"/>
                    </a:lnTo>
                    <a:lnTo>
                      <a:pt x="3680415" y="1434018"/>
                    </a:lnTo>
                    <a:lnTo>
                      <a:pt x="3583408" y="1434018"/>
                    </a:lnTo>
                    <a:lnTo>
                      <a:pt x="3565829" y="1451593"/>
                    </a:lnTo>
                    <a:lnTo>
                      <a:pt x="3546849" y="1432613"/>
                    </a:lnTo>
                    <a:lnTo>
                      <a:pt x="3511707" y="1432613"/>
                    </a:lnTo>
                    <a:lnTo>
                      <a:pt x="3469530" y="1474791"/>
                    </a:lnTo>
                    <a:lnTo>
                      <a:pt x="3416100" y="1474791"/>
                    </a:lnTo>
                    <a:lnTo>
                      <a:pt x="3416100" y="1454929"/>
                    </a:lnTo>
                    <a:lnTo>
                      <a:pt x="3397647" y="1454929"/>
                    </a:lnTo>
                    <a:lnTo>
                      <a:pt x="3363733" y="1488848"/>
                    </a:lnTo>
                    <a:lnTo>
                      <a:pt x="3363733" y="1543328"/>
                    </a:lnTo>
                    <a:lnTo>
                      <a:pt x="3340889" y="1566172"/>
                    </a:lnTo>
                    <a:lnTo>
                      <a:pt x="3340889" y="1625924"/>
                    </a:lnTo>
                    <a:lnTo>
                      <a:pt x="3300821" y="1665992"/>
                    </a:lnTo>
                    <a:lnTo>
                      <a:pt x="3300821" y="1723636"/>
                    </a:lnTo>
                    <a:lnTo>
                      <a:pt x="3332265" y="1723636"/>
                    </a:lnTo>
                    <a:lnTo>
                      <a:pt x="3332265" y="1765294"/>
                    </a:lnTo>
                    <a:lnTo>
                      <a:pt x="3352834" y="1785867"/>
                    </a:lnTo>
                    <a:lnTo>
                      <a:pt x="3370084" y="1785867"/>
                    </a:lnTo>
                    <a:lnTo>
                      <a:pt x="3387984" y="1767963"/>
                    </a:lnTo>
                    <a:lnTo>
                      <a:pt x="3419576" y="1767963"/>
                    </a:lnTo>
                    <a:lnTo>
                      <a:pt x="3465221" y="1813612"/>
                    </a:lnTo>
                    <a:lnTo>
                      <a:pt x="3465221" y="1866948"/>
                    </a:lnTo>
                    <a:lnTo>
                      <a:pt x="3452478" y="1879691"/>
                    </a:lnTo>
                    <a:lnTo>
                      <a:pt x="3452478" y="1945589"/>
                    </a:lnTo>
                    <a:lnTo>
                      <a:pt x="3435434" y="1962637"/>
                    </a:lnTo>
                    <a:lnTo>
                      <a:pt x="3435434" y="2007277"/>
                    </a:lnTo>
                    <a:lnTo>
                      <a:pt x="3421026" y="2021684"/>
                    </a:lnTo>
                    <a:lnTo>
                      <a:pt x="3421026" y="2077215"/>
                    </a:lnTo>
                    <a:lnTo>
                      <a:pt x="3400638" y="2097603"/>
                    </a:lnTo>
                    <a:lnTo>
                      <a:pt x="3368832" y="2097603"/>
                    </a:lnTo>
                    <a:lnTo>
                      <a:pt x="3368832" y="2169836"/>
                    </a:lnTo>
                    <a:lnTo>
                      <a:pt x="3274106" y="2264557"/>
                    </a:lnTo>
                    <a:lnTo>
                      <a:pt x="3191325" y="2264557"/>
                    </a:lnTo>
                    <a:lnTo>
                      <a:pt x="3155960" y="2299922"/>
                    </a:lnTo>
                    <a:lnTo>
                      <a:pt x="3155228" y="2298916"/>
                    </a:lnTo>
                    <a:lnTo>
                      <a:pt x="3155228" y="2282920"/>
                    </a:lnTo>
                    <a:lnTo>
                      <a:pt x="3155228" y="2198573"/>
                    </a:lnTo>
                    <a:lnTo>
                      <a:pt x="3185493" y="2168283"/>
                    </a:lnTo>
                    <a:lnTo>
                      <a:pt x="3263488" y="2090305"/>
                    </a:lnTo>
                    <a:lnTo>
                      <a:pt x="3263488" y="2056843"/>
                    </a:lnTo>
                    <a:lnTo>
                      <a:pt x="3207207" y="2056843"/>
                    </a:lnTo>
                    <a:lnTo>
                      <a:pt x="3181687" y="2031339"/>
                    </a:lnTo>
                    <a:lnTo>
                      <a:pt x="3123463" y="1973098"/>
                    </a:lnTo>
                    <a:lnTo>
                      <a:pt x="3047495" y="1973098"/>
                    </a:lnTo>
                    <a:lnTo>
                      <a:pt x="3047495" y="1836451"/>
                    </a:lnTo>
                    <a:lnTo>
                      <a:pt x="2989979" y="1778919"/>
                    </a:lnTo>
                    <a:lnTo>
                      <a:pt x="2844929" y="1778919"/>
                    </a:lnTo>
                    <a:lnTo>
                      <a:pt x="2807794" y="1816063"/>
                    </a:lnTo>
                    <a:lnTo>
                      <a:pt x="2807794" y="1838313"/>
                    </a:lnTo>
                    <a:lnTo>
                      <a:pt x="2872592" y="1838313"/>
                    </a:lnTo>
                    <a:lnTo>
                      <a:pt x="2872592" y="1868191"/>
                    </a:lnTo>
                    <a:lnTo>
                      <a:pt x="2817316" y="1923466"/>
                    </a:lnTo>
                    <a:lnTo>
                      <a:pt x="2775370" y="1965429"/>
                    </a:lnTo>
                    <a:lnTo>
                      <a:pt x="2714839" y="1965429"/>
                    </a:lnTo>
                    <a:lnTo>
                      <a:pt x="2641688" y="1965429"/>
                    </a:lnTo>
                    <a:lnTo>
                      <a:pt x="2603927" y="2003199"/>
                    </a:lnTo>
                    <a:lnTo>
                      <a:pt x="2480905" y="2003199"/>
                    </a:lnTo>
                    <a:lnTo>
                      <a:pt x="2447542" y="1969836"/>
                    </a:lnTo>
                    <a:lnTo>
                      <a:pt x="2395842" y="1918145"/>
                    </a:lnTo>
                    <a:lnTo>
                      <a:pt x="2334883" y="1918145"/>
                    </a:lnTo>
                    <a:lnTo>
                      <a:pt x="2266295" y="1918145"/>
                    </a:lnTo>
                    <a:lnTo>
                      <a:pt x="2266295" y="1861436"/>
                    </a:lnTo>
                    <a:lnTo>
                      <a:pt x="2203886" y="1861436"/>
                    </a:lnTo>
                    <a:lnTo>
                      <a:pt x="2145876" y="1919446"/>
                    </a:lnTo>
                    <a:lnTo>
                      <a:pt x="2145876" y="1973782"/>
                    </a:lnTo>
                    <a:lnTo>
                      <a:pt x="2083698" y="1973782"/>
                    </a:lnTo>
                    <a:lnTo>
                      <a:pt x="2032014" y="1922107"/>
                    </a:lnTo>
                    <a:lnTo>
                      <a:pt x="1941762" y="1922107"/>
                    </a:lnTo>
                    <a:lnTo>
                      <a:pt x="1852811" y="2011050"/>
                    </a:lnTo>
                    <a:lnTo>
                      <a:pt x="1835726" y="2011050"/>
                    </a:lnTo>
                    <a:lnTo>
                      <a:pt x="1822777" y="2011050"/>
                    </a:lnTo>
                    <a:lnTo>
                      <a:pt x="1822777" y="1984656"/>
                    </a:lnTo>
                    <a:lnTo>
                      <a:pt x="1785345" y="1984656"/>
                    </a:lnTo>
                    <a:lnTo>
                      <a:pt x="1727120" y="1926407"/>
                    </a:lnTo>
                    <a:lnTo>
                      <a:pt x="1640327" y="1926407"/>
                    </a:lnTo>
                    <a:lnTo>
                      <a:pt x="1514257" y="1800362"/>
                    </a:lnTo>
                    <a:lnTo>
                      <a:pt x="1514257" y="1748835"/>
                    </a:lnTo>
                    <a:lnTo>
                      <a:pt x="1495459" y="1730012"/>
                    </a:lnTo>
                    <a:lnTo>
                      <a:pt x="1462772" y="1762715"/>
                    </a:lnTo>
                    <a:lnTo>
                      <a:pt x="1389143" y="1762715"/>
                    </a:lnTo>
                    <a:lnTo>
                      <a:pt x="1352288" y="1725868"/>
                    </a:lnTo>
                    <a:lnTo>
                      <a:pt x="1307013" y="1680594"/>
                    </a:lnTo>
                    <a:lnTo>
                      <a:pt x="1190779" y="1680594"/>
                    </a:lnTo>
                    <a:lnTo>
                      <a:pt x="1115930" y="1755424"/>
                    </a:lnTo>
                    <a:lnTo>
                      <a:pt x="998922" y="1755424"/>
                    </a:lnTo>
                    <a:lnTo>
                      <a:pt x="998922" y="1855991"/>
                    </a:lnTo>
                    <a:lnTo>
                      <a:pt x="1033175" y="1890227"/>
                    </a:lnTo>
                    <a:lnTo>
                      <a:pt x="1017144" y="1906233"/>
                    </a:lnTo>
                    <a:lnTo>
                      <a:pt x="897401" y="1906233"/>
                    </a:lnTo>
                    <a:lnTo>
                      <a:pt x="840296" y="1906233"/>
                    </a:lnTo>
                    <a:lnTo>
                      <a:pt x="803161" y="1869072"/>
                    </a:lnTo>
                    <a:lnTo>
                      <a:pt x="693418" y="1869072"/>
                    </a:lnTo>
                    <a:lnTo>
                      <a:pt x="633893" y="1928606"/>
                    </a:lnTo>
                    <a:lnTo>
                      <a:pt x="633893" y="1965165"/>
                    </a:lnTo>
                    <a:lnTo>
                      <a:pt x="592078" y="1923343"/>
                    </a:lnTo>
                    <a:lnTo>
                      <a:pt x="592078" y="2013875"/>
                    </a:lnTo>
                    <a:lnTo>
                      <a:pt x="651637" y="2073417"/>
                    </a:lnTo>
                    <a:lnTo>
                      <a:pt x="651637" y="2096112"/>
                    </a:lnTo>
                    <a:lnTo>
                      <a:pt x="653680" y="2096112"/>
                    </a:lnTo>
                    <a:lnTo>
                      <a:pt x="653680" y="2131872"/>
                    </a:lnTo>
                    <a:lnTo>
                      <a:pt x="574597" y="2210954"/>
                    </a:lnTo>
                    <a:lnTo>
                      <a:pt x="605176" y="2241533"/>
                    </a:lnTo>
                    <a:lnTo>
                      <a:pt x="575125" y="2271584"/>
                    </a:lnTo>
                    <a:lnTo>
                      <a:pt x="624254" y="2320713"/>
                    </a:lnTo>
                    <a:lnTo>
                      <a:pt x="594187" y="2350633"/>
                    </a:lnTo>
                    <a:lnTo>
                      <a:pt x="541400" y="2297838"/>
                    </a:lnTo>
                    <a:lnTo>
                      <a:pt x="493571" y="2297838"/>
                    </a:lnTo>
                    <a:lnTo>
                      <a:pt x="449236" y="2253486"/>
                    </a:lnTo>
                    <a:lnTo>
                      <a:pt x="411161" y="2253486"/>
                    </a:lnTo>
                    <a:lnTo>
                      <a:pt x="383796" y="2226121"/>
                    </a:lnTo>
                    <a:lnTo>
                      <a:pt x="364873" y="2245022"/>
                    </a:lnTo>
                    <a:lnTo>
                      <a:pt x="365293" y="2240478"/>
                    </a:lnTo>
                    <a:lnTo>
                      <a:pt x="302555" y="2240478"/>
                    </a:lnTo>
                    <a:lnTo>
                      <a:pt x="278830" y="2216754"/>
                    </a:lnTo>
                    <a:lnTo>
                      <a:pt x="278830" y="2180903"/>
                    </a:lnTo>
                    <a:lnTo>
                      <a:pt x="315735" y="2143998"/>
                    </a:lnTo>
                    <a:lnTo>
                      <a:pt x="293065" y="2121328"/>
                    </a:lnTo>
                    <a:lnTo>
                      <a:pt x="316790" y="2097603"/>
                    </a:lnTo>
                    <a:lnTo>
                      <a:pt x="316954" y="2096112"/>
                    </a:lnTo>
                    <a:lnTo>
                      <a:pt x="318800" y="2096112"/>
                    </a:lnTo>
                    <a:lnTo>
                      <a:pt x="315768" y="2099152"/>
                    </a:lnTo>
                    <a:lnTo>
                      <a:pt x="340531" y="2095899"/>
                    </a:lnTo>
                    <a:lnTo>
                      <a:pt x="384372" y="2095899"/>
                    </a:lnTo>
                    <a:lnTo>
                      <a:pt x="402693" y="2077586"/>
                    </a:lnTo>
                    <a:lnTo>
                      <a:pt x="402693" y="2049364"/>
                    </a:lnTo>
                    <a:lnTo>
                      <a:pt x="378276" y="2024938"/>
                    </a:lnTo>
                    <a:lnTo>
                      <a:pt x="378276" y="1994871"/>
                    </a:lnTo>
                    <a:lnTo>
                      <a:pt x="349032" y="1965610"/>
                    </a:lnTo>
                    <a:lnTo>
                      <a:pt x="315999" y="1965610"/>
                    </a:lnTo>
                    <a:lnTo>
                      <a:pt x="276030" y="1925624"/>
                    </a:lnTo>
                    <a:lnTo>
                      <a:pt x="252750" y="1948896"/>
                    </a:lnTo>
                    <a:lnTo>
                      <a:pt x="227196" y="1923343"/>
                    </a:lnTo>
                    <a:lnTo>
                      <a:pt x="227196" y="1896109"/>
                    </a:lnTo>
                    <a:lnTo>
                      <a:pt x="209798" y="1878719"/>
                    </a:lnTo>
                    <a:lnTo>
                      <a:pt x="173997" y="1842926"/>
                    </a:lnTo>
                    <a:lnTo>
                      <a:pt x="131738" y="1842926"/>
                    </a:lnTo>
                    <a:lnTo>
                      <a:pt x="123895" y="1835075"/>
                    </a:lnTo>
                    <a:lnTo>
                      <a:pt x="113384" y="1824572"/>
                    </a:lnTo>
                    <a:lnTo>
                      <a:pt x="113384" y="1793812"/>
                    </a:lnTo>
                    <a:lnTo>
                      <a:pt x="152183" y="1793812"/>
                    </a:lnTo>
                    <a:lnTo>
                      <a:pt x="152183" y="1775377"/>
                    </a:lnTo>
                    <a:lnTo>
                      <a:pt x="117503" y="1740688"/>
                    </a:lnTo>
                    <a:lnTo>
                      <a:pt x="88637" y="1711806"/>
                    </a:lnTo>
                    <a:lnTo>
                      <a:pt x="88637" y="1660172"/>
                    </a:lnTo>
                    <a:lnTo>
                      <a:pt x="33726" y="1660172"/>
                    </a:lnTo>
                    <a:lnTo>
                      <a:pt x="16409" y="1642856"/>
                    </a:lnTo>
                    <a:lnTo>
                      <a:pt x="25273" y="1633992"/>
                    </a:lnTo>
                    <a:lnTo>
                      <a:pt x="25273" y="1594245"/>
                    </a:lnTo>
                    <a:lnTo>
                      <a:pt x="25273" y="1553024"/>
                    </a:lnTo>
                    <a:lnTo>
                      <a:pt x="16855" y="1544597"/>
                    </a:lnTo>
                    <a:lnTo>
                      <a:pt x="8024" y="1535758"/>
                    </a:lnTo>
                    <a:lnTo>
                      <a:pt x="0" y="1527742"/>
                    </a:lnTo>
                    <a:lnTo>
                      <a:pt x="0" y="1481364"/>
                    </a:lnTo>
                    <a:lnTo>
                      <a:pt x="0" y="1450026"/>
                    </a:lnTo>
                    <a:lnTo>
                      <a:pt x="24450" y="1425660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36" name="Freeform: Shape 835">
                <a:extLst>
                  <a:ext uri="{FF2B5EF4-FFF2-40B4-BE49-F238E27FC236}">
                    <a16:creationId xmlns:a16="http://schemas.microsoft.com/office/drawing/2014/main" id="{1FCB50EE-DF15-ADA2-6D8A-15EACBA01655}"/>
                  </a:ext>
                </a:extLst>
              </p:cNvPr>
              <p:cNvSpPr/>
              <p:nvPr/>
            </p:nvSpPr>
            <p:spPr>
              <a:xfrm>
                <a:off x="7335241" y="1038570"/>
                <a:ext cx="407906" cy="552614"/>
              </a:xfrm>
              <a:custGeom>
                <a:avLst/>
                <a:gdLst>
                  <a:gd name="connsiteX0" fmla="*/ 140684 w 407906"/>
                  <a:gd name="connsiteY0" fmla="*/ 552615 h 552614"/>
                  <a:gd name="connsiteX1" fmla="*/ 152341 w 407906"/>
                  <a:gd name="connsiteY1" fmla="*/ 540959 h 552614"/>
                  <a:gd name="connsiteX2" fmla="*/ 100731 w 407906"/>
                  <a:gd name="connsiteY2" fmla="*/ 489349 h 552614"/>
                  <a:gd name="connsiteX3" fmla="*/ 100731 w 407906"/>
                  <a:gd name="connsiteY3" fmla="*/ 379463 h 552614"/>
                  <a:gd name="connsiteX4" fmla="*/ 134028 w 407906"/>
                  <a:gd name="connsiteY4" fmla="*/ 346165 h 552614"/>
                  <a:gd name="connsiteX5" fmla="*/ 134028 w 407906"/>
                  <a:gd name="connsiteY5" fmla="*/ 293996 h 552614"/>
                  <a:gd name="connsiteX6" fmla="*/ 158996 w 407906"/>
                  <a:gd name="connsiteY6" fmla="*/ 269023 h 552614"/>
                  <a:gd name="connsiteX7" fmla="*/ 158996 w 407906"/>
                  <a:gd name="connsiteY7" fmla="*/ 227398 h 552614"/>
                  <a:gd name="connsiteX8" fmla="*/ 198677 w 407906"/>
                  <a:gd name="connsiteY8" fmla="*/ 187713 h 552614"/>
                  <a:gd name="connsiteX9" fmla="*/ 198677 w 407906"/>
                  <a:gd name="connsiteY9" fmla="*/ 166353 h 552614"/>
                  <a:gd name="connsiteX10" fmla="*/ 230590 w 407906"/>
                  <a:gd name="connsiteY10" fmla="*/ 166353 h 552614"/>
                  <a:gd name="connsiteX11" fmla="*/ 279432 w 407906"/>
                  <a:gd name="connsiteY11" fmla="*/ 117511 h 552614"/>
                  <a:gd name="connsiteX12" fmla="*/ 301632 w 407906"/>
                  <a:gd name="connsiteY12" fmla="*/ 117511 h 552614"/>
                  <a:gd name="connsiteX13" fmla="*/ 326601 w 407906"/>
                  <a:gd name="connsiteY13" fmla="*/ 92543 h 552614"/>
                  <a:gd name="connsiteX14" fmla="*/ 366010 w 407906"/>
                  <a:gd name="connsiteY14" fmla="*/ 92543 h 552614"/>
                  <a:gd name="connsiteX15" fmla="*/ 407907 w 407906"/>
                  <a:gd name="connsiteY15" fmla="*/ 50641 h 552614"/>
                  <a:gd name="connsiteX16" fmla="*/ 407907 w 407906"/>
                  <a:gd name="connsiteY16" fmla="*/ 18728 h 552614"/>
                  <a:gd name="connsiteX17" fmla="*/ 389174 w 407906"/>
                  <a:gd name="connsiteY17" fmla="*/ 0 h 552614"/>
                  <a:gd name="connsiteX18" fmla="*/ 368226 w 407906"/>
                  <a:gd name="connsiteY18" fmla="*/ 0 h 552614"/>
                  <a:gd name="connsiteX19" fmla="*/ 298370 w 407906"/>
                  <a:gd name="connsiteY19" fmla="*/ 69856 h 552614"/>
                  <a:gd name="connsiteX20" fmla="*/ 255015 w 407906"/>
                  <a:gd name="connsiteY20" fmla="*/ 69856 h 552614"/>
                  <a:gd name="connsiteX21" fmla="*/ 237774 w 407906"/>
                  <a:gd name="connsiteY21" fmla="*/ 52614 h 552614"/>
                  <a:gd name="connsiteX22" fmla="*/ 219494 w 407906"/>
                  <a:gd name="connsiteY22" fmla="*/ 52614 h 552614"/>
                  <a:gd name="connsiteX23" fmla="*/ 219494 w 407906"/>
                  <a:gd name="connsiteY23" fmla="*/ 72006 h 552614"/>
                  <a:gd name="connsiteX24" fmla="*/ 183973 w 407906"/>
                  <a:gd name="connsiteY24" fmla="*/ 72006 h 552614"/>
                  <a:gd name="connsiteX25" fmla="*/ 137908 w 407906"/>
                  <a:gd name="connsiteY25" fmla="*/ 118067 h 552614"/>
                  <a:gd name="connsiteX26" fmla="*/ 137908 w 407906"/>
                  <a:gd name="connsiteY26" fmla="*/ 144152 h 552614"/>
                  <a:gd name="connsiteX27" fmla="*/ 111827 w 407906"/>
                  <a:gd name="connsiteY27" fmla="*/ 144152 h 552614"/>
                  <a:gd name="connsiteX28" fmla="*/ 111827 w 407906"/>
                  <a:gd name="connsiteY28" fmla="*/ 169681 h 552614"/>
                  <a:gd name="connsiteX29" fmla="*/ 89626 w 407906"/>
                  <a:gd name="connsiteY29" fmla="*/ 169681 h 552614"/>
                  <a:gd name="connsiteX30" fmla="*/ 89626 w 407906"/>
                  <a:gd name="connsiteY30" fmla="*/ 246270 h 552614"/>
                  <a:gd name="connsiteX31" fmla="*/ 44121 w 407906"/>
                  <a:gd name="connsiteY31" fmla="*/ 291776 h 552614"/>
                  <a:gd name="connsiteX32" fmla="*/ 84083 w 407906"/>
                  <a:gd name="connsiteY32" fmla="*/ 291776 h 552614"/>
                  <a:gd name="connsiteX33" fmla="*/ 26913 w 407906"/>
                  <a:gd name="connsiteY33" fmla="*/ 348941 h 552614"/>
                  <a:gd name="connsiteX34" fmla="*/ 26913 w 407906"/>
                  <a:gd name="connsiteY34" fmla="*/ 417203 h 552614"/>
                  <a:gd name="connsiteX35" fmla="*/ 0 w 407906"/>
                  <a:gd name="connsiteY35" fmla="*/ 444120 h 552614"/>
                  <a:gd name="connsiteX36" fmla="*/ 0 w 407906"/>
                  <a:gd name="connsiteY36" fmla="*/ 468261 h 552614"/>
                  <a:gd name="connsiteX37" fmla="*/ 26361 w 407906"/>
                  <a:gd name="connsiteY37" fmla="*/ 468261 h 552614"/>
                  <a:gd name="connsiteX38" fmla="*/ 63546 w 407906"/>
                  <a:gd name="connsiteY38" fmla="*/ 505442 h 552614"/>
                  <a:gd name="connsiteX39" fmla="*/ 63546 w 407906"/>
                  <a:gd name="connsiteY39" fmla="*/ 518206 h 552614"/>
                  <a:gd name="connsiteX40" fmla="*/ 97675 w 407906"/>
                  <a:gd name="connsiteY40" fmla="*/ 552335 h 552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07906" h="552614">
                    <a:moveTo>
                      <a:pt x="140684" y="552615"/>
                    </a:moveTo>
                    <a:lnTo>
                      <a:pt x="152341" y="540959"/>
                    </a:lnTo>
                    <a:lnTo>
                      <a:pt x="100731" y="489349"/>
                    </a:lnTo>
                    <a:lnTo>
                      <a:pt x="100731" y="379463"/>
                    </a:lnTo>
                    <a:lnTo>
                      <a:pt x="134028" y="346165"/>
                    </a:lnTo>
                    <a:lnTo>
                      <a:pt x="134028" y="293996"/>
                    </a:lnTo>
                    <a:lnTo>
                      <a:pt x="158996" y="269023"/>
                    </a:lnTo>
                    <a:lnTo>
                      <a:pt x="158996" y="227398"/>
                    </a:lnTo>
                    <a:lnTo>
                      <a:pt x="198677" y="187713"/>
                    </a:lnTo>
                    <a:lnTo>
                      <a:pt x="198677" y="166353"/>
                    </a:lnTo>
                    <a:lnTo>
                      <a:pt x="230590" y="166353"/>
                    </a:lnTo>
                    <a:lnTo>
                      <a:pt x="279432" y="117511"/>
                    </a:lnTo>
                    <a:lnTo>
                      <a:pt x="301632" y="117511"/>
                    </a:lnTo>
                    <a:lnTo>
                      <a:pt x="326601" y="92543"/>
                    </a:lnTo>
                    <a:lnTo>
                      <a:pt x="366010" y="92543"/>
                    </a:lnTo>
                    <a:lnTo>
                      <a:pt x="407907" y="50641"/>
                    </a:lnTo>
                    <a:lnTo>
                      <a:pt x="407907" y="18728"/>
                    </a:lnTo>
                    <a:lnTo>
                      <a:pt x="389174" y="0"/>
                    </a:lnTo>
                    <a:lnTo>
                      <a:pt x="368226" y="0"/>
                    </a:lnTo>
                    <a:lnTo>
                      <a:pt x="298370" y="69856"/>
                    </a:lnTo>
                    <a:lnTo>
                      <a:pt x="255015" y="69856"/>
                    </a:lnTo>
                    <a:lnTo>
                      <a:pt x="237774" y="52614"/>
                    </a:lnTo>
                    <a:lnTo>
                      <a:pt x="219494" y="52614"/>
                    </a:lnTo>
                    <a:lnTo>
                      <a:pt x="219494" y="72006"/>
                    </a:lnTo>
                    <a:lnTo>
                      <a:pt x="183973" y="72006"/>
                    </a:lnTo>
                    <a:lnTo>
                      <a:pt x="137908" y="118067"/>
                    </a:lnTo>
                    <a:lnTo>
                      <a:pt x="137908" y="144152"/>
                    </a:lnTo>
                    <a:lnTo>
                      <a:pt x="111827" y="144152"/>
                    </a:lnTo>
                    <a:lnTo>
                      <a:pt x="111827" y="169681"/>
                    </a:lnTo>
                    <a:lnTo>
                      <a:pt x="89626" y="169681"/>
                    </a:lnTo>
                    <a:lnTo>
                      <a:pt x="89626" y="246270"/>
                    </a:lnTo>
                    <a:lnTo>
                      <a:pt x="44121" y="291776"/>
                    </a:lnTo>
                    <a:lnTo>
                      <a:pt x="84083" y="291776"/>
                    </a:lnTo>
                    <a:lnTo>
                      <a:pt x="26913" y="348941"/>
                    </a:lnTo>
                    <a:lnTo>
                      <a:pt x="26913" y="417203"/>
                    </a:lnTo>
                    <a:lnTo>
                      <a:pt x="0" y="444120"/>
                    </a:lnTo>
                    <a:lnTo>
                      <a:pt x="0" y="468261"/>
                    </a:lnTo>
                    <a:lnTo>
                      <a:pt x="26361" y="468261"/>
                    </a:lnTo>
                    <a:lnTo>
                      <a:pt x="63546" y="505442"/>
                    </a:lnTo>
                    <a:lnTo>
                      <a:pt x="63546" y="518206"/>
                    </a:lnTo>
                    <a:lnTo>
                      <a:pt x="97675" y="552335"/>
                    </a:lnTo>
                    <a:close/>
                  </a:path>
                </a:pathLst>
              </a:custGeom>
              <a:grpFill/>
              <a:ln w="203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95" name="Freeform: Shape 694">
              <a:extLst>
                <a:ext uri="{FF2B5EF4-FFF2-40B4-BE49-F238E27FC236}">
                  <a16:creationId xmlns:a16="http://schemas.microsoft.com/office/drawing/2014/main" id="{BC10DF81-72AE-CF3D-5D19-6BAE1E9907D8}"/>
                </a:ext>
              </a:extLst>
            </p:cNvPr>
            <p:cNvSpPr/>
            <p:nvPr/>
          </p:nvSpPr>
          <p:spPr>
            <a:xfrm>
              <a:off x="6405918" y="3258182"/>
              <a:ext cx="74420" cy="62738"/>
            </a:xfrm>
            <a:custGeom>
              <a:avLst/>
              <a:gdLst>
                <a:gd name="connsiteX0" fmla="*/ 59699 w 74420"/>
                <a:gd name="connsiteY0" fmla="*/ 0 h 62738"/>
                <a:gd name="connsiteX1" fmla="*/ 20644 w 74420"/>
                <a:gd name="connsiteY1" fmla="*/ 0 h 62738"/>
                <a:gd name="connsiteX2" fmla="*/ 83 w 74420"/>
                <a:gd name="connsiteY2" fmla="*/ 20561 h 62738"/>
                <a:gd name="connsiteX3" fmla="*/ 0 w 74420"/>
                <a:gd name="connsiteY3" fmla="*/ 38174 h 62738"/>
                <a:gd name="connsiteX4" fmla="*/ 24557 w 74420"/>
                <a:gd name="connsiteY4" fmla="*/ 62738 h 62738"/>
                <a:gd name="connsiteX5" fmla="*/ 43660 w 74420"/>
                <a:gd name="connsiteY5" fmla="*/ 43643 h 62738"/>
                <a:gd name="connsiteX6" fmla="*/ 74420 w 74420"/>
                <a:gd name="connsiteY6" fmla="*/ 43643 h 62738"/>
                <a:gd name="connsiteX7" fmla="*/ 74420 w 74420"/>
                <a:gd name="connsiteY7" fmla="*/ 15421 h 62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420" h="62738">
                  <a:moveTo>
                    <a:pt x="59699" y="0"/>
                  </a:moveTo>
                  <a:lnTo>
                    <a:pt x="20644" y="0"/>
                  </a:lnTo>
                  <a:lnTo>
                    <a:pt x="83" y="20561"/>
                  </a:lnTo>
                  <a:lnTo>
                    <a:pt x="0" y="38174"/>
                  </a:lnTo>
                  <a:lnTo>
                    <a:pt x="24557" y="62738"/>
                  </a:lnTo>
                  <a:lnTo>
                    <a:pt x="43660" y="43643"/>
                  </a:lnTo>
                  <a:lnTo>
                    <a:pt x="74420" y="43643"/>
                  </a:lnTo>
                  <a:lnTo>
                    <a:pt x="74420" y="15421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6" name="Freeform: Shape 695">
              <a:extLst>
                <a:ext uri="{FF2B5EF4-FFF2-40B4-BE49-F238E27FC236}">
                  <a16:creationId xmlns:a16="http://schemas.microsoft.com/office/drawing/2014/main" id="{A56BE6CE-5620-EDE9-664B-DF5195D7F301}"/>
                </a:ext>
              </a:extLst>
            </p:cNvPr>
            <p:cNvSpPr/>
            <p:nvPr/>
          </p:nvSpPr>
          <p:spPr>
            <a:xfrm>
              <a:off x="6371601" y="3242440"/>
              <a:ext cx="58874" cy="123631"/>
            </a:xfrm>
            <a:custGeom>
              <a:avLst/>
              <a:gdLst>
                <a:gd name="connsiteX0" fmla="*/ 34401 w 58874"/>
                <a:gd name="connsiteY0" fmla="*/ 36304 h 123631"/>
                <a:gd name="connsiteX1" fmla="*/ 34401 w 58874"/>
                <a:gd name="connsiteY1" fmla="*/ 18000 h 123631"/>
                <a:gd name="connsiteX2" fmla="*/ 16401 w 58874"/>
                <a:gd name="connsiteY2" fmla="*/ 0 h 123631"/>
                <a:gd name="connsiteX3" fmla="*/ 14754 w 58874"/>
                <a:gd name="connsiteY3" fmla="*/ 1648 h 123631"/>
                <a:gd name="connsiteX4" fmla="*/ 0 w 58874"/>
                <a:gd name="connsiteY4" fmla="*/ 16401 h 123631"/>
                <a:gd name="connsiteX5" fmla="*/ 0 w 58874"/>
                <a:gd name="connsiteY5" fmla="*/ 45818 h 123631"/>
                <a:gd name="connsiteX6" fmla="*/ 593 w 58874"/>
                <a:gd name="connsiteY6" fmla="*/ 46411 h 123631"/>
                <a:gd name="connsiteX7" fmla="*/ 593 w 58874"/>
                <a:gd name="connsiteY7" fmla="*/ 51823 h 123631"/>
                <a:gd name="connsiteX8" fmla="*/ 593 w 58874"/>
                <a:gd name="connsiteY8" fmla="*/ 101884 h 123631"/>
                <a:gd name="connsiteX9" fmla="*/ 8748 w 58874"/>
                <a:gd name="connsiteY9" fmla="*/ 110031 h 123631"/>
                <a:gd name="connsiteX10" fmla="*/ 22332 w 58874"/>
                <a:gd name="connsiteY10" fmla="*/ 123631 h 123631"/>
                <a:gd name="connsiteX11" fmla="*/ 58875 w 58874"/>
                <a:gd name="connsiteY11" fmla="*/ 87089 h 123631"/>
                <a:gd name="connsiteX12" fmla="*/ 58875 w 58874"/>
                <a:gd name="connsiteY12" fmla="*/ 78481 h 123631"/>
                <a:gd name="connsiteX13" fmla="*/ 34318 w 58874"/>
                <a:gd name="connsiteY13" fmla="*/ 53916 h 123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8874" h="123631">
                  <a:moveTo>
                    <a:pt x="34401" y="36304"/>
                  </a:moveTo>
                  <a:lnTo>
                    <a:pt x="34401" y="18000"/>
                  </a:lnTo>
                  <a:lnTo>
                    <a:pt x="16401" y="0"/>
                  </a:lnTo>
                  <a:lnTo>
                    <a:pt x="14754" y="1648"/>
                  </a:lnTo>
                  <a:lnTo>
                    <a:pt x="0" y="16401"/>
                  </a:lnTo>
                  <a:lnTo>
                    <a:pt x="0" y="45818"/>
                  </a:lnTo>
                  <a:lnTo>
                    <a:pt x="593" y="46411"/>
                  </a:lnTo>
                  <a:lnTo>
                    <a:pt x="593" y="51823"/>
                  </a:lnTo>
                  <a:lnTo>
                    <a:pt x="593" y="101884"/>
                  </a:lnTo>
                  <a:lnTo>
                    <a:pt x="8748" y="110031"/>
                  </a:lnTo>
                  <a:lnTo>
                    <a:pt x="22332" y="123631"/>
                  </a:lnTo>
                  <a:lnTo>
                    <a:pt x="58875" y="87089"/>
                  </a:lnTo>
                  <a:lnTo>
                    <a:pt x="58875" y="78481"/>
                  </a:lnTo>
                  <a:lnTo>
                    <a:pt x="34318" y="53916"/>
                  </a:lnTo>
                  <a:close/>
                </a:path>
              </a:pathLst>
            </a:custGeom>
            <a:solidFill>
              <a:schemeClr val="accent1"/>
            </a:solidFill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7" name="Freeform: Shape 696">
              <a:extLst>
                <a:ext uri="{FF2B5EF4-FFF2-40B4-BE49-F238E27FC236}">
                  <a16:creationId xmlns:a16="http://schemas.microsoft.com/office/drawing/2014/main" id="{6A809D62-6FCC-F7E2-B75D-5A4E8EAB3B8C}"/>
                </a:ext>
              </a:extLst>
            </p:cNvPr>
            <p:cNvSpPr/>
            <p:nvPr/>
          </p:nvSpPr>
          <p:spPr>
            <a:xfrm>
              <a:off x="8031798" y="2743374"/>
              <a:ext cx="1877639" cy="1318488"/>
            </a:xfrm>
            <a:custGeom>
              <a:avLst/>
              <a:gdLst>
                <a:gd name="connsiteX0" fmla="*/ 1821360 w 1877639"/>
                <a:gd name="connsiteY0" fmla="*/ 277924 h 1318488"/>
                <a:gd name="connsiteX1" fmla="*/ 1795839 w 1877639"/>
                <a:gd name="connsiteY1" fmla="*/ 252420 h 1318488"/>
                <a:gd name="connsiteX2" fmla="*/ 1737615 w 1877639"/>
                <a:gd name="connsiteY2" fmla="*/ 194179 h 1318488"/>
                <a:gd name="connsiteX3" fmla="*/ 1661647 w 1877639"/>
                <a:gd name="connsiteY3" fmla="*/ 194179 h 1318488"/>
                <a:gd name="connsiteX4" fmla="*/ 1661647 w 1877639"/>
                <a:gd name="connsiteY4" fmla="*/ 57532 h 1318488"/>
                <a:gd name="connsiteX5" fmla="*/ 1604131 w 1877639"/>
                <a:gd name="connsiteY5" fmla="*/ 0 h 1318488"/>
                <a:gd name="connsiteX6" fmla="*/ 1459081 w 1877639"/>
                <a:gd name="connsiteY6" fmla="*/ 0 h 1318488"/>
                <a:gd name="connsiteX7" fmla="*/ 1421946 w 1877639"/>
                <a:gd name="connsiteY7" fmla="*/ 37144 h 1318488"/>
                <a:gd name="connsiteX8" fmla="*/ 1421946 w 1877639"/>
                <a:gd name="connsiteY8" fmla="*/ 59394 h 1318488"/>
                <a:gd name="connsiteX9" fmla="*/ 1486744 w 1877639"/>
                <a:gd name="connsiteY9" fmla="*/ 59394 h 1318488"/>
                <a:gd name="connsiteX10" fmla="*/ 1486744 w 1877639"/>
                <a:gd name="connsiteY10" fmla="*/ 89272 h 1318488"/>
                <a:gd name="connsiteX11" fmla="*/ 1431468 w 1877639"/>
                <a:gd name="connsiteY11" fmla="*/ 144547 h 1318488"/>
                <a:gd name="connsiteX12" fmla="*/ 1389522 w 1877639"/>
                <a:gd name="connsiteY12" fmla="*/ 186510 h 1318488"/>
                <a:gd name="connsiteX13" fmla="*/ 1328991 w 1877639"/>
                <a:gd name="connsiteY13" fmla="*/ 186510 h 1318488"/>
                <a:gd name="connsiteX14" fmla="*/ 1315564 w 1877639"/>
                <a:gd name="connsiteY14" fmla="*/ 204329 h 1318488"/>
                <a:gd name="connsiteX15" fmla="*/ 1315564 w 1877639"/>
                <a:gd name="connsiteY15" fmla="*/ 235409 h 1318488"/>
                <a:gd name="connsiteX16" fmla="*/ 1301823 w 1877639"/>
                <a:gd name="connsiteY16" fmla="*/ 249142 h 1318488"/>
                <a:gd name="connsiteX17" fmla="*/ 1301823 w 1877639"/>
                <a:gd name="connsiteY17" fmla="*/ 297587 h 1318488"/>
                <a:gd name="connsiteX18" fmla="*/ 1317360 w 1877639"/>
                <a:gd name="connsiteY18" fmla="*/ 313132 h 1318488"/>
                <a:gd name="connsiteX19" fmla="*/ 1343704 w 1877639"/>
                <a:gd name="connsiteY19" fmla="*/ 286771 h 1318488"/>
                <a:gd name="connsiteX20" fmla="*/ 1370196 w 1877639"/>
                <a:gd name="connsiteY20" fmla="*/ 286771 h 1318488"/>
                <a:gd name="connsiteX21" fmla="*/ 1383805 w 1877639"/>
                <a:gd name="connsiteY21" fmla="*/ 273187 h 1318488"/>
                <a:gd name="connsiteX22" fmla="*/ 1426658 w 1877639"/>
                <a:gd name="connsiteY22" fmla="*/ 316040 h 1318488"/>
                <a:gd name="connsiteX23" fmla="*/ 1411121 w 1877639"/>
                <a:gd name="connsiteY23" fmla="*/ 331593 h 1318488"/>
                <a:gd name="connsiteX24" fmla="*/ 1384266 w 1877639"/>
                <a:gd name="connsiteY24" fmla="*/ 331593 h 1318488"/>
                <a:gd name="connsiteX25" fmla="*/ 1338481 w 1877639"/>
                <a:gd name="connsiteY25" fmla="*/ 331593 h 1318488"/>
                <a:gd name="connsiteX26" fmla="*/ 1283190 w 1877639"/>
                <a:gd name="connsiteY26" fmla="*/ 386892 h 1318488"/>
                <a:gd name="connsiteX27" fmla="*/ 1248179 w 1877639"/>
                <a:gd name="connsiteY27" fmla="*/ 421903 h 1318488"/>
                <a:gd name="connsiteX28" fmla="*/ 1225295 w 1877639"/>
                <a:gd name="connsiteY28" fmla="*/ 421903 h 1318488"/>
                <a:gd name="connsiteX29" fmla="*/ 1225295 w 1877639"/>
                <a:gd name="connsiteY29" fmla="*/ 402610 h 1318488"/>
                <a:gd name="connsiteX30" fmla="*/ 1207963 w 1877639"/>
                <a:gd name="connsiteY30" fmla="*/ 402610 h 1318488"/>
                <a:gd name="connsiteX31" fmla="*/ 1183398 w 1877639"/>
                <a:gd name="connsiteY31" fmla="*/ 427142 h 1318488"/>
                <a:gd name="connsiteX32" fmla="*/ 1183398 w 1877639"/>
                <a:gd name="connsiteY32" fmla="*/ 464467 h 1318488"/>
                <a:gd name="connsiteX33" fmla="*/ 1154648 w 1877639"/>
                <a:gd name="connsiteY33" fmla="*/ 493266 h 1318488"/>
                <a:gd name="connsiteX34" fmla="*/ 1127151 w 1877639"/>
                <a:gd name="connsiteY34" fmla="*/ 520780 h 1318488"/>
                <a:gd name="connsiteX35" fmla="*/ 1097693 w 1877639"/>
                <a:gd name="connsiteY35" fmla="*/ 520780 h 1318488"/>
                <a:gd name="connsiteX36" fmla="*/ 1000899 w 1877639"/>
                <a:gd name="connsiteY36" fmla="*/ 520780 h 1318488"/>
                <a:gd name="connsiteX37" fmla="*/ 981870 w 1877639"/>
                <a:gd name="connsiteY37" fmla="*/ 539818 h 1318488"/>
                <a:gd name="connsiteX38" fmla="*/ 902540 w 1877639"/>
                <a:gd name="connsiteY38" fmla="*/ 539818 h 1318488"/>
                <a:gd name="connsiteX39" fmla="*/ 889591 w 1877639"/>
                <a:gd name="connsiteY39" fmla="*/ 526860 h 1318488"/>
                <a:gd name="connsiteX40" fmla="*/ 856640 w 1877639"/>
                <a:gd name="connsiteY40" fmla="*/ 526860 h 1318488"/>
                <a:gd name="connsiteX41" fmla="*/ 833327 w 1877639"/>
                <a:gd name="connsiteY41" fmla="*/ 503539 h 1318488"/>
                <a:gd name="connsiteX42" fmla="*/ 789470 w 1877639"/>
                <a:gd name="connsiteY42" fmla="*/ 503539 h 1318488"/>
                <a:gd name="connsiteX43" fmla="*/ 747507 w 1877639"/>
                <a:gd name="connsiteY43" fmla="*/ 503539 h 1318488"/>
                <a:gd name="connsiteX44" fmla="*/ 734541 w 1877639"/>
                <a:gd name="connsiteY44" fmla="*/ 490565 h 1318488"/>
                <a:gd name="connsiteX45" fmla="*/ 677602 w 1877639"/>
                <a:gd name="connsiteY45" fmla="*/ 433593 h 1318488"/>
                <a:gd name="connsiteX46" fmla="*/ 641026 w 1877639"/>
                <a:gd name="connsiteY46" fmla="*/ 433593 h 1318488"/>
                <a:gd name="connsiteX47" fmla="*/ 627862 w 1877639"/>
                <a:gd name="connsiteY47" fmla="*/ 420454 h 1318488"/>
                <a:gd name="connsiteX48" fmla="*/ 560923 w 1877639"/>
                <a:gd name="connsiteY48" fmla="*/ 420454 h 1318488"/>
                <a:gd name="connsiteX49" fmla="*/ 543376 w 1877639"/>
                <a:gd name="connsiteY49" fmla="*/ 402916 h 1318488"/>
                <a:gd name="connsiteX50" fmla="*/ 543376 w 1877639"/>
                <a:gd name="connsiteY50" fmla="*/ 359090 h 1318488"/>
                <a:gd name="connsiteX51" fmla="*/ 543376 w 1877639"/>
                <a:gd name="connsiteY51" fmla="*/ 305307 h 1318488"/>
                <a:gd name="connsiteX52" fmla="*/ 518597 w 1877639"/>
                <a:gd name="connsiteY52" fmla="*/ 280528 h 1318488"/>
                <a:gd name="connsiteX53" fmla="*/ 489831 w 1877639"/>
                <a:gd name="connsiteY53" fmla="*/ 280528 h 1318488"/>
                <a:gd name="connsiteX54" fmla="*/ 466963 w 1877639"/>
                <a:gd name="connsiteY54" fmla="*/ 257659 h 1318488"/>
                <a:gd name="connsiteX55" fmla="*/ 466963 w 1877639"/>
                <a:gd name="connsiteY55" fmla="*/ 232131 h 1318488"/>
                <a:gd name="connsiteX56" fmla="*/ 449878 w 1877639"/>
                <a:gd name="connsiteY56" fmla="*/ 232131 h 1318488"/>
                <a:gd name="connsiteX57" fmla="*/ 417175 w 1877639"/>
                <a:gd name="connsiteY57" fmla="*/ 258961 h 1318488"/>
                <a:gd name="connsiteX58" fmla="*/ 400797 w 1877639"/>
                <a:gd name="connsiteY58" fmla="*/ 258961 h 1318488"/>
                <a:gd name="connsiteX59" fmla="*/ 379199 w 1877639"/>
                <a:gd name="connsiteY59" fmla="*/ 280561 h 1318488"/>
                <a:gd name="connsiteX60" fmla="*/ 379199 w 1877639"/>
                <a:gd name="connsiteY60" fmla="*/ 304639 h 1318488"/>
                <a:gd name="connsiteX61" fmla="*/ 379199 w 1877639"/>
                <a:gd name="connsiteY61" fmla="*/ 332862 h 1318488"/>
                <a:gd name="connsiteX62" fmla="*/ 337384 w 1877639"/>
                <a:gd name="connsiteY62" fmla="*/ 332862 h 1318488"/>
                <a:gd name="connsiteX63" fmla="*/ 319013 w 1877639"/>
                <a:gd name="connsiteY63" fmla="*/ 314491 h 1318488"/>
                <a:gd name="connsiteX64" fmla="*/ 292933 w 1877639"/>
                <a:gd name="connsiteY64" fmla="*/ 314491 h 1318488"/>
                <a:gd name="connsiteX65" fmla="*/ 292933 w 1877639"/>
                <a:gd name="connsiteY65" fmla="*/ 345523 h 1318488"/>
                <a:gd name="connsiteX66" fmla="*/ 292933 w 1877639"/>
                <a:gd name="connsiteY66" fmla="*/ 390072 h 1318488"/>
                <a:gd name="connsiteX67" fmla="*/ 269291 w 1877639"/>
                <a:gd name="connsiteY67" fmla="*/ 413706 h 1318488"/>
                <a:gd name="connsiteX68" fmla="*/ 233655 w 1877639"/>
                <a:gd name="connsiteY68" fmla="*/ 413706 h 1318488"/>
                <a:gd name="connsiteX69" fmla="*/ 233655 w 1877639"/>
                <a:gd name="connsiteY69" fmla="*/ 490902 h 1318488"/>
                <a:gd name="connsiteX70" fmla="*/ 207146 w 1877639"/>
                <a:gd name="connsiteY70" fmla="*/ 517427 h 1318488"/>
                <a:gd name="connsiteX71" fmla="*/ 207146 w 1877639"/>
                <a:gd name="connsiteY71" fmla="*/ 554794 h 1318488"/>
                <a:gd name="connsiteX72" fmla="*/ 174722 w 1877639"/>
                <a:gd name="connsiteY72" fmla="*/ 554794 h 1318488"/>
                <a:gd name="connsiteX73" fmla="*/ 159367 w 1877639"/>
                <a:gd name="connsiteY73" fmla="*/ 570116 h 1318488"/>
                <a:gd name="connsiteX74" fmla="*/ 128278 w 1877639"/>
                <a:gd name="connsiteY74" fmla="*/ 570116 h 1318488"/>
                <a:gd name="connsiteX75" fmla="*/ 95871 w 1877639"/>
                <a:gd name="connsiteY75" fmla="*/ 602507 h 1318488"/>
                <a:gd name="connsiteX76" fmla="*/ 89055 w 1877639"/>
                <a:gd name="connsiteY76" fmla="*/ 602507 h 1318488"/>
                <a:gd name="connsiteX77" fmla="*/ 89055 w 1877639"/>
                <a:gd name="connsiteY77" fmla="*/ 616736 h 1318488"/>
                <a:gd name="connsiteX78" fmla="*/ 61991 w 1877639"/>
                <a:gd name="connsiteY78" fmla="*/ 616736 h 1318488"/>
                <a:gd name="connsiteX79" fmla="*/ 61991 w 1877639"/>
                <a:gd name="connsiteY79" fmla="*/ 608284 h 1318488"/>
                <a:gd name="connsiteX80" fmla="*/ 45807 w 1877639"/>
                <a:gd name="connsiteY80" fmla="*/ 608284 h 1318488"/>
                <a:gd name="connsiteX81" fmla="*/ 5052 w 1877639"/>
                <a:gd name="connsiteY81" fmla="*/ 649039 h 1318488"/>
                <a:gd name="connsiteX82" fmla="*/ 0 w 1877639"/>
                <a:gd name="connsiteY82" fmla="*/ 648671 h 1318488"/>
                <a:gd name="connsiteX83" fmla="*/ 17958 w 1877639"/>
                <a:gd name="connsiteY83" fmla="*/ 666637 h 1318488"/>
                <a:gd name="connsiteX84" fmla="*/ 17958 w 1877639"/>
                <a:gd name="connsiteY84" fmla="*/ 690889 h 1318488"/>
                <a:gd name="connsiteX85" fmla="*/ 39623 w 1877639"/>
                <a:gd name="connsiteY85" fmla="*/ 712538 h 1318488"/>
                <a:gd name="connsiteX86" fmla="*/ 39623 w 1877639"/>
                <a:gd name="connsiteY86" fmla="*/ 760136 h 1318488"/>
                <a:gd name="connsiteX87" fmla="*/ 77451 w 1877639"/>
                <a:gd name="connsiteY87" fmla="*/ 760136 h 1318488"/>
                <a:gd name="connsiteX88" fmla="*/ 123170 w 1877639"/>
                <a:gd name="connsiteY88" fmla="*/ 805830 h 1318488"/>
                <a:gd name="connsiteX89" fmla="*/ 154095 w 1877639"/>
                <a:gd name="connsiteY89" fmla="*/ 805830 h 1318488"/>
                <a:gd name="connsiteX90" fmla="*/ 176534 w 1877639"/>
                <a:gd name="connsiteY90" fmla="*/ 783399 h 1318488"/>
                <a:gd name="connsiteX91" fmla="*/ 203043 w 1877639"/>
                <a:gd name="connsiteY91" fmla="*/ 809899 h 1318488"/>
                <a:gd name="connsiteX92" fmla="*/ 203043 w 1877639"/>
                <a:gd name="connsiteY92" fmla="*/ 838081 h 1318488"/>
                <a:gd name="connsiteX93" fmla="*/ 178693 w 1877639"/>
                <a:gd name="connsiteY93" fmla="*/ 838081 h 1318488"/>
                <a:gd name="connsiteX94" fmla="*/ 178693 w 1877639"/>
                <a:gd name="connsiteY94" fmla="*/ 875999 h 1318488"/>
                <a:gd name="connsiteX95" fmla="*/ 201676 w 1877639"/>
                <a:gd name="connsiteY95" fmla="*/ 898999 h 1318488"/>
                <a:gd name="connsiteX96" fmla="*/ 182812 w 1877639"/>
                <a:gd name="connsiteY96" fmla="*/ 917896 h 1318488"/>
                <a:gd name="connsiteX97" fmla="*/ 163881 w 1877639"/>
                <a:gd name="connsiteY97" fmla="*/ 898983 h 1318488"/>
                <a:gd name="connsiteX98" fmla="*/ 163881 w 1877639"/>
                <a:gd name="connsiteY98" fmla="*/ 918291 h 1318488"/>
                <a:gd name="connsiteX99" fmla="*/ 163881 w 1877639"/>
                <a:gd name="connsiteY99" fmla="*/ 945419 h 1318488"/>
                <a:gd name="connsiteX100" fmla="*/ 192779 w 1877639"/>
                <a:gd name="connsiteY100" fmla="*/ 974283 h 1318488"/>
                <a:gd name="connsiteX101" fmla="*/ 217327 w 1877639"/>
                <a:gd name="connsiteY101" fmla="*/ 998832 h 1318488"/>
                <a:gd name="connsiteX102" fmla="*/ 275348 w 1877639"/>
                <a:gd name="connsiteY102" fmla="*/ 998832 h 1318488"/>
                <a:gd name="connsiteX103" fmla="*/ 311706 w 1877639"/>
                <a:gd name="connsiteY103" fmla="*/ 1034944 h 1318488"/>
                <a:gd name="connsiteX104" fmla="*/ 352525 w 1877639"/>
                <a:gd name="connsiteY104" fmla="*/ 1034938 h 1318488"/>
                <a:gd name="connsiteX105" fmla="*/ 383268 w 1877639"/>
                <a:gd name="connsiteY105" fmla="*/ 1065697 h 1318488"/>
                <a:gd name="connsiteX106" fmla="*/ 470983 w 1877639"/>
                <a:gd name="connsiteY106" fmla="*/ 1065694 h 1318488"/>
                <a:gd name="connsiteX107" fmla="*/ 493776 w 1877639"/>
                <a:gd name="connsiteY107" fmla="*/ 1088370 h 1318488"/>
                <a:gd name="connsiteX108" fmla="*/ 493785 w 1877639"/>
                <a:gd name="connsiteY108" fmla="*/ 1109580 h 1318488"/>
                <a:gd name="connsiteX109" fmla="*/ 493768 w 1877639"/>
                <a:gd name="connsiteY109" fmla="*/ 1109563 h 1318488"/>
                <a:gd name="connsiteX110" fmla="*/ 529768 w 1877639"/>
                <a:gd name="connsiteY110" fmla="*/ 1073565 h 1318488"/>
                <a:gd name="connsiteX111" fmla="*/ 545024 w 1877639"/>
                <a:gd name="connsiteY111" fmla="*/ 1088821 h 1318488"/>
                <a:gd name="connsiteX112" fmla="*/ 578387 w 1877639"/>
                <a:gd name="connsiteY112" fmla="*/ 1088821 h 1318488"/>
                <a:gd name="connsiteX113" fmla="*/ 609394 w 1877639"/>
                <a:gd name="connsiteY113" fmla="*/ 1057806 h 1318488"/>
                <a:gd name="connsiteX114" fmla="*/ 662395 w 1877639"/>
                <a:gd name="connsiteY114" fmla="*/ 1004804 h 1318488"/>
                <a:gd name="connsiteX115" fmla="*/ 688871 w 1877639"/>
                <a:gd name="connsiteY115" fmla="*/ 1031305 h 1318488"/>
                <a:gd name="connsiteX116" fmla="*/ 727209 w 1877639"/>
                <a:gd name="connsiteY116" fmla="*/ 1031305 h 1318488"/>
                <a:gd name="connsiteX117" fmla="*/ 727209 w 1877639"/>
                <a:gd name="connsiteY117" fmla="*/ 1075031 h 1318488"/>
                <a:gd name="connsiteX118" fmla="*/ 765515 w 1877639"/>
                <a:gd name="connsiteY118" fmla="*/ 1075031 h 1318488"/>
                <a:gd name="connsiteX119" fmla="*/ 765515 w 1877639"/>
                <a:gd name="connsiteY119" fmla="*/ 1114233 h 1318488"/>
                <a:gd name="connsiteX120" fmla="*/ 765515 w 1877639"/>
                <a:gd name="connsiteY120" fmla="*/ 1148272 h 1318488"/>
                <a:gd name="connsiteX121" fmla="*/ 746485 w 1877639"/>
                <a:gd name="connsiteY121" fmla="*/ 1167293 h 1318488"/>
                <a:gd name="connsiteX122" fmla="*/ 746485 w 1877639"/>
                <a:gd name="connsiteY122" fmla="*/ 1200615 h 1318488"/>
                <a:gd name="connsiteX123" fmla="*/ 769963 w 1877639"/>
                <a:gd name="connsiteY123" fmla="*/ 1200615 h 1318488"/>
                <a:gd name="connsiteX124" fmla="*/ 797065 w 1877639"/>
                <a:gd name="connsiteY124" fmla="*/ 1227709 h 1318488"/>
                <a:gd name="connsiteX125" fmla="*/ 797065 w 1877639"/>
                <a:gd name="connsiteY125" fmla="*/ 1267736 h 1318488"/>
                <a:gd name="connsiteX126" fmla="*/ 831878 w 1877639"/>
                <a:gd name="connsiteY126" fmla="*/ 1267736 h 1318488"/>
                <a:gd name="connsiteX127" fmla="*/ 831878 w 1877639"/>
                <a:gd name="connsiteY127" fmla="*/ 1302523 h 1318488"/>
                <a:gd name="connsiteX128" fmla="*/ 858700 w 1877639"/>
                <a:gd name="connsiteY128" fmla="*/ 1275718 h 1318488"/>
                <a:gd name="connsiteX129" fmla="*/ 879969 w 1877639"/>
                <a:gd name="connsiteY129" fmla="*/ 1254456 h 1318488"/>
                <a:gd name="connsiteX130" fmla="*/ 890959 w 1877639"/>
                <a:gd name="connsiteY130" fmla="*/ 1265429 h 1318488"/>
                <a:gd name="connsiteX131" fmla="*/ 920302 w 1877639"/>
                <a:gd name="connsiteY131" fmla="*/ 1265404 h 1318488"/>
                <a:gd name="connsiteX132" fmla="*/ 937551 w 1877639"/>
                <a:gd name="connsiteY132" fmla="*/ 1248163 h 1318488"/>
                <a:gd name="connsiteX133" fmla="*/ 996220 w 1877639"/>
                <a:gd name="connsiteY133" fmla="*/ 1248163 h 1318488"/>
                <a:gd name="connsiteX134" fmla="*/ 1021444 w 1877639"/>
                <a:gd name="connsiteY134" fmla="*/ 1273386 h 1318488"/>
                <a:gd name="connsiteX135" fmla="*/ 1035498 w 1877639"/>
                <a:gd name="connsiteY135" fmla="*/ 1287441 h 1318488"/>
                <a:gd name="connsiteX136" fmla="*/ 1035391 w 1877639"/>
                <a:gd name="connsiteY136" fmla="*/ 1318488 h 1318488"/>
                <a:gd name="connsiteX137" fmla="*/ 1075500 w 1877639"/>
                <a:gd name="connsiteY137" fmla="*/ 1278395 h 1318488"/>
                <a:gd name="connsiteX138" fmla="*/ 1121220 w 1877639"/>
                <a:gd name="connsiteY138" fmla="*/ 1278395 h 1318488"/>
                <a:gd name="connsiteX139" fmla="*/ 1121220 w 1877639"/>
                <a:gd name="connsiteY139" fmla="*/ 1310070 h 1318488"/>
                <a:gd name="connsiteX140" fmla="*/ 1144763 w 1877639"/>
                <a:gd name="connsiteY140" fmla="*/ 1310070 h 1318488"/>
                <a:gd name="connsiteX141" fmla="*/ 1144763 w 1877639"/>
                <a:gd name="connsiteY141" fmla="*/ 1281913 h 1318488"/>
                <a:gd name="connsiteX142" fmla="*/ 1219891 w 1877639"/>
                <a:gd name="connsiteY142" fmla="*/ 1281913 h 1318488"/>
                <a:gd name="connsiteX143" fmla="*/ 1219891 w 1877639"/>
                <a:gd name="connsiteY143" fmla="*/ 1244340 h 1318488"/>
                <a:gd name="connsiteX144" fmla="*/ 1285628 w 1877639"/>
                <a:gd name="connsiteY144" fmla="*/ 1244340 h 1318488"/>
                <a:gd name="connsiteX145" fmla="*/ 1374859 w 1877639"/>
                <a:gd name="connsiteY145" fmla="*/ 1155126 h 1318488"/>
                <a:gd name="connsiteX146" fmla="*/ 1417151 w 1877639"/>
                <a:gd name="connsiteY146" fmla="*/ 1155126 h 1318488"/>
                <a:gd name="connsiteX147" fmla="*/ 1417151 w 1877639"/>
                <a:gd name="connsiteY147" fmla="*/ 1112826 h 1318488"/>
                <a:gd name="connsiteX148" fmla="*/ 1487567 w 1877639"/>
                <a:gd name="connsiteY148" fmla="*/ 1042426 h 1318488"/>
                <a:gd name="connsiteX149" fmla="*/ 1487567 w 1877639"/>
                <a:gd name="connsiteY149" fmla="*/ 908538 h 1318488"/>
                <a:gd name="connsiteX150" fmla="*/ 1406541 w 1877639"/>
                <a:gd name="connsiteY150" fmla="*/ 827569 h 1318488"/>
                <a:gd name="connsiteX151" fmla="*/ 1518096 w 1877639"/>
                <a:gd name="connsiteY151" fmla="*/ 716014 h 1318488"/>
                <a:gd name="connsiteX152" fmla="*/ 1502791 w 1877639"/>
                <a:gd name="connsiteY152" fmla="*/ 700758 h 1318488"/>
                <a:gd name="connsiteX153" fmla="*/ 1475804 w 1877639"/>
                <a:gd name="connsiteY153" fmla="*/ 700758 h 1318488"/>
                <a:gd name="connsiteX154" fmla="*/ 1440019 w 1877639"/>
                <a:gd name="connsiteY154" fmla="*/ 736559 h 1318488"/>
                <a:gd name="connsiteX155" fmla="*/ 1367807 w 1877639"/>
                <a:gd name="connsiteY155" fmla="*/ 664347 h 1318488"/>
                <a:gd name="connsiteX156" fmla="*/ 1478160 w 1877639"/>
                <a:gd name="connsiteY156" fmla="*/ 554003 h 1318488"/>
                <a:gd name="connsiteX157" fmla="*/ 1511045 w 1877639"/>
                <a:gd name="connsiteY157" fmla="*/ 586855 h 1318488"/>
                <a:gd name="connsiteX158" fmla="*/ 1472278 w 1877639"/>
                <a:gd name="connsiteY158" fmla="*/ 625606 h 1318488"/>
                <a:gd name="connsiteX159" fmla="*/ 1498112 w 1877639"/>
                <a:gd name="connsiteY159" fmla="*/ 651439 h 1318488"/>
                <a:gd name="connsiteX160" fmla="*/ 1553288 w 1877639"/>
                <a:gd name="connsiteY160" fmla="*/ 596229 h 1318488"/>
                <a:gd name="connsiteX161" fmla="*/ 1573981 w 1877639"/>
                <a:gd name="connsiteY161" fmla="*/ 616948 h 1318488"/>
                <a:gd name="connsiteX162" fmla="*/ 1601709 w 1877639"/>
                <a:gd name="connsiteY162" fmla="*/ 589211 h 1318488"/>
                <a:gd name="connsiteX163" fmla="*/ 1634396 w 1877639"/>
                <a:gd name="connsiteY163" fmla="*/ 556541 h 1318488"/>
                <a:gd name="connsiteX164" fmla="*/ 1657001 w 1877639"/>
                <a:gd name="connsiteY164" fmla="*/ 579137 h 1318488"/>
                <a:gd name="connsiteX165" fmla="*/ 1700183 w 1877639"/>
                <a:gd name="connsiteY165" fmla="*/ 535946 h 1318488"/>
                <a:gd name="connsiteX166" fmla="*/ 1724188 w 1877639"/>
                <a:gd name="connsiteY166" fmla="*/ 535946 h 1318488"/>
                <a:gd name="connsiteX167" fmla="*/ 1724188 w 1877639"/>
                <a:gd name="connsiteY167" fmla="*/ 504001 h 1318488"/>
                <a:gd name="connsiteX168" fmla="*/ 1769380 w 1877639"/>
                <a:gd name="connsiteY168" fmla="*/ 504001 h 1318488"/>
                <a:gd name="connsiteX169" fmla="*/ 1769380 w 1877639"/>
                <a:gd name="connsiteY169" fmla="*/ 419654 h 1318488"/>
                <a:gd name="connsiteX170" fmla="*/ 1799645 w 1877639"/>
                <a:gd name="connsiteY170" fmla="*/ 389364 h 1318488"/>
                <a:gd name="connsiteX171" fmla="*/ 1877640 w 1877639"/>
                <a:gd name="connsiteY171" fmla="*/ 311386 h 1318488"/>
                <a:gd name="connsiteX172" fmla="*/ 1877640 w 1877639"/>
                <a:gd name="connsiteY172" fmla="*/ 277924 h 1318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1877639" h="1318488">
                  <a:moveTo>
                    <a:pt x="1821360" y="277924"/>
                  </a:moveTo>
                  <a:lnTo>
                    <a:pt x="1795839" y="252420"/>
                  </a:lnTo>
                  <a:lnTo>
                    <a:pt x="1737615" y="194179"/>
                  </a:lnTo>
                  <a:lnTo>
                    <a:pt x="1661647" y="194179"/>
                  </a:lnTo>
                  <a:lnTo>
                    <a:pt x="1661647" y="57532"/>
                  </a:lnTo>
                  <a:lnTo>
                    <a:pt x="1604131" y="0"/>
                  </a:lnTo>
                  <a:lnTo>
                    <a:pt x="1459081" y="0"/>
                  </a:lnTo>
                  <a:lnTo>
                    <a:pt x="1421946" y="37144"/>
                  </a:lnTo>
                  <a:lnTo>
                    <a:pt x="1421946" y="59394"/>
                  </a:lnTo>
                  <a:lnTo>
                    <a:pt x="1486744" y="59394"/>
                  </a:lnTo>
                  <a:lnTo>
                    <a:pt x="1486744" y="89272"/>
                  </a:lnTo>
                  <a:lnTo>
                    <a:pt x="1431468" y="144547"/>
                  </a:lnTo>
                  <a:lnTo>
                    <a:pt x="1389522" y="186510"/>
                  </a:lnTo>
                  <a:lnTo>
                    <a:pt x="1328991" y="186510"/>
                  </a:lnTo>
                  <a:lnTo>
                    <a:pt x="1315564" y="204329"/>
                  </a:lnTo>
                  <a:lnTo>
                    <a:pt x="1315564" y="235409"/>
                  </a:lnTo>
                  <a:lnTo>
                    <a:pt x="1301823" y="249142"/>
                  </a:lnTo>
                  <a:lnTo>
                    <a:pt x="1301823" y="297587"/>
                  </a:lnTo>
                  <a:lnTo>
                    <a:pt x="1317360" y="313132"/>
                  </a:lnTo>
                  <a:lnTo>
                    <a:pt x="1343704" y="286771"/>
                  </a:lnTo>
                  <a:lnTo>
                    <a:pt x="1370196" y="286771"/>
                  </a:lnTo>
                  <a:lnTo>
                    <a:pt x="1383805" y="273187"/>
                  </a:lnTo>
                  <a:lnTo>
                    <a:pt x="1426658" y="316040"/>
                  </a:lnTo>
                  <a:lnTo>
                    <a:pt x="1411121" y="331593"/>
                  </a:lnTo>
                  <a:lnTo>
                    <a:pt x="1384266" y="331593"/>
                  </a:lnTo>
                  <a:lnTo>
                    <a:pt x="1338481" y="331593"/>
                  </a:lnTo>
                  <a:lnTo>
                    <a:pt x="1283190" y="386892"/>
                  </a:lnTo>
                  <a:lnTo>
                    <a:pt x="1248179" y="421903"/>
                  </a:lnTo>
                  <a:lnTo>
                    <a:pt x="1225295" y="421903"/>
                  </a:lnTo>
                  <a:lnTo>
                    <a:pt x="1225295" y="402610"/>
                  </a:lnTo>
                  <a:lnTo>
                    <a:pt x="1207963" y="402610"/>
                  </a:lnTo>
                  <a:lnTo>
                    <a:pt x="1183398" y="427142"/>
                  </a:lnTo>
                  <a:lnTo>
                    <a:pt x="1183398" y="464467"/>
                  </a:lnTo>
                  <a:lnTo>
                    <a:pt x="1154648" y="493266"/>
                  </a:lnTo>
                  <a:lnTo>
                    <a:pt x="1127151" y="520780"/>
                  </a:lnTo>
                  <a:lnTo>
                    <a:pt x="1097693" y="520780"/>
                  </a:lnTo>
                  <a:lnTo>
                    <a:pt x="1000899" y="520780"/>
                  </a:lnTo>
                  <a:lnTo>
                    <a:pt x="981870" y="539818"/>
                  </a:lnTo>
                  <a:lnTo>
                    <a:pt x="902540" y="539818"/>
                  </a:lnTo>
                  <a:lnTo>
                    <a:pt x="889591" y="526860"/>
                  </a:lnTo>
                  <a:lnTo>
                    <a:pt x="856640" y="526860"/>
                  </a:lnTo>
                  <a:lnTo>
                    <a:pt x="833327" y="503539"/>
                  </a:lnTo>
                  <a:lnTo>
                    <a:pt x="789470" y="503539"/>
                  </a:lnTo>
                  <a:lnTo>
                    <a:pt x="747507" y="503539"/>
                  </a:lnTo>
                  <a:lnTo>
                    <a:pt x="734541" y="490565"/>
                  </a:lnTo>
                  <a:lnTo>
                    <a:pt x="677602" y="433593"/>
                  </a:lnTo>
                  <a:lnTo>
                    <a:pt x="641026" y="433593"/>
                  </a:lnTo>
                  <a:lnTo>
                    <a:pt x="627862" y="420454"/>
                  </a:lnTo>
                  <a:lnTo>
                    <a:pt x="560923" y="420454"/>
                  </a:lnTo>
                  <a:lnTo>
                    <a:pt x="543376" y="402916"/>
                  </a:lnTo>
                  <a:lnTo>
                    <a:pt x="543376" y="359090"/>
                  </a:lnTo>
                  <a:lnTo>
                    <a:pt x="543376" y="305307"/>
                  </a:lnTo>
                  <a:lnTo>
                    <a:pt x="518597" y="280528"/>
                  </a:lnTo>
                  <a:lnTo>
                    <a:pt x="489831" y="280528"/>
                  </a:lnTo>
                  <a:lnTo>
                    <a:pt x="466963" y="257659"/>
                  </a:lnTo>
                  <a:lnTo>
                    <a:pt x="466963" y="232131"/>
                  </a:lnTo>
                  <a:lnTo>
                    <a:pt x="449878" y="232131"/>
                  </a:lnTo>
                  <a:lnTo>
                    <a:pt x="417175" y="258961"/>
                  </a:lnTo>
                  <a:lnTo>
                    <a:pt x="400797" y="258961"/>
                  </a:lnTo>
                  <a:lnTo>
                    <a:pt x="379199" y="280561"/>
                  </a:lnTo>
                  <a:lnTo>
                    <a:pt x="379199" y="304639"/>
                  </a:lnTo>
                  <a:lnTo>
                    <a:pt x="379199" y="332862"/>
                  </a:lnTo>
                  <a:lnTo>
                    <a:pt x="337384" y="332862"/>
                  </a:lnTo>
                  <a:lnTo>
                    <a:pt x="319013" y="314491"/>
                  </a:lnTo>
                  <a:lnTo>
                    <a:pt x="292933" y="314491"/>
                  </a:lnTo>
                  <a:lnTo>
                    <a:pt x="292933" y="345523"/>
                  </a:lnTo>
                  <a:lnTo>
                    <a:pt x="292933" y="390072"/>
                  </a:lnTo>
                  <a:lnTo>
                    <a:pt x="269291" y="413706"/>
                  </a:lnTo>
                  <a:lnTo>
                    <a:pt x="233655" y="413706"/>
                  </a:lnTo>
                  <a:lnTo>
                    <a:pt x="233655" y="490902"/>
                  </a:lnTo>
                  <a:lnTo>
                    <a:pt x="207146" y="517427"/>
                  </a:lnTo>
                  <a:lnTo>
                    <a:pt x="207146" y="554794"/>
                  </a:lnTo>
                  <a:lnTo>
                    <a:pt x="174722" y="554794"/>
                  </a:lnTo>
                  <a:lnTo>
                    <a:pt x="159367" y="570116"/>
                  </a:lnTo>
                  <a:lnTo>
                    <a:pt x="128278" y="570116"/>
                  </a:lnTo>
                  <a:lnTo>
                    <a:pt x="95871" y="602507"/>
                  </a:lnTo>
                  <a:lnTo>
                    <a:pt x="89055" y="602507"/>
                  </a:lnTo>
                  <a:lnTo>
                    <a:pt x="89055" y="616736"/>
                  </a:lnTo>
                  <a:lnTo>
                    <a:pt x="61991" y="616736"/>
                  </a:lnTo>
                  <a:lnTo>
                    <a:pt x="61991" y="608284"/>
                  </a:lnTo>
                  <a:lnTo>
                    <a:pt x="45807" y="608284"/>
                  </a:lnTo>
                  <a:lnTo>
                    <a:pt x="5052" y="649039"/>
                  </a:lnTo>
                  <a:lnTo>
                    <a:pt x="0" y="648671"/>
                  </a:lnTo>
                  <a:lnTo>
                    <a:pt x="17958" y="666637"/>
                  </a:lnTo>
                  <a:lnTo>
                    <a:pt x="17958" y="690889"/>
                  </a:lnTo>
                  <a:lnTo>
                    <a:pt x="39623" y="712538"/>
                  </a:lnTo>
                  <a:lnTo>
                    <a:pt x="39623" y="760136"/>
                  </a:lnTo>
                  <a:lnTo>
                    <a:pt x="77451" y="760136"/>
                  </a:lnTo>
                  <a:lnTo>
                    <a:pt x="123170" y="805830"/>
                  </a:lnTo>
                  <a:lnTo>
                    <a:pt x="154095" y="805830"/>
                  </a:lnTo>
                  <a:lnTo>
                    <a:pt x="176534" y="783399"/>
                  </a:lnTo>
                  <a:lnTo>
                    <a:pt x="203043" y="809899"/>
                  </a:lnTo>
                  <a:lnTo>
                    <a:pt x="203043" y="838081"/>
                  </a:lnTo>
                  <a:lnTo>
                    <a:pt x="178693" y="838081"/>
                  </a:lnTo>
                  <a:lnTo>
                    <a:pt x="178693" y="875999"/>
                  </a:lnTo>
                  <a:lnTo>
                    <a:pt x="201676" y="898999"/>
                  </a:lnTo>
                  <a:lnTo>
                    <a:pt x="182812" y="917896"/>
                  </a:lnTo>
                  <a:lnTo>
                    <a:pt x="163881" y="898983"/>
                  </a:lnTo>
                  <a:lnTo>
                    <a:pt x="163881" y="918291"/>
                  </a:lnTo>
                  <a:lnTo>
                    <a:pt x="163881" y="945419"/>
                  </a:lnTo>
                  <a:lnTo>
                    <a:pt x="192779" y="974283"/>
                  </a:lnTo>
                  <a:lnTo>
                    <a:pt x="217327" y="998832"/>
                  </a:lnTo>
                  <a:lnTo>
                    <a:pt x="275348" y="998832"/>
                  </a:lnTo>
                  <a:lnTo>
                    <a:pt x="311706" y="1034944"/>
                  </a:lnTo>
                  <a:lnTo>
                    <a:pt x="352525" y="1034938"/>
                  </a:lnTo>
                  <a:lnTo>
                    <a:pt x="383268" y="1065697"/>
                  </a:lnTo>
                  <a:lnTo>
                    <a:pt x="470983" y="1065694"/>
                  </a:lnTo>
                  <a:lnTo>
                    <a:pt x="493776" y="1088370"/>
                  </a:lnTo>
                  <a:lnTo>
                    <a:pt x="493785" y="1109580"/>
                  </a:lnTo>
                  <a:lnTo>
                    <a:pt x="493768" y="1109563"/>
                  </a:lnTo>
                  <a:lnTo>
                    <a:pt x="529768" y="1073565"/>
                  </a:lnTo>
                  <a:lnTo>
                    <a:pt x="545024" y="1088821"/>
                  </a:lnTo>
                  <a:lnTo>
                    <a:pt x="578387" y="1088821"/>
                  </a:lnTo>
                  <a:lnTo>
                    <a:pt x="609394" y="1057806"/>
                  </a:lnTo>
                  <a:lnTo>
                    <a:pt x="662395" y="1004804"/>
                  </a:lnTo>
                  <a:lnTo>
                    <a:pt x="688871" y="1031305"/>
                  </a:lnTo>
                  <a:lnTo>
                    <a:pt x="727209" y="1031305"/>
                  </a:lnTo>
                  <a:lnTo>
                    <a:pt x="727209" y="1075031"/>
                  </a:lnTo>
                  <a:lnTo>
                    <a:pt x="765515" y="1075031"/>
                  </a:lnTo>
                  <a:lnTo>
                    <a:pt x="765515" y="1114233"/>
                  </a:lnTo>
                  <a:lnTo>
                    <a:pt x="765515" y="1148272"/>
                  </a:lnTo>
                  <a:lnTo>
                    <a:pt x="746485" y="1167293"/>
                  </a:lnTo>
                  <a:lnTo>
                    <a:pt x="746485" y="1200615"/>
                  </a:lnTo>
                  <a:lnTo>
                    <a:pt x="769963" y="1200615"/>
                  </a:lnTo>
                  <a:lnTo>
                    <a:pt x="797065" y="1227709"/>
                  </a:lnTo>
                  <a:lnTo>
                    <a:pt x="797065" y="1267736"/>
                  </a:lnTo>
                  <a:lnTo>
                    <a:pt x="831878" y="1267736"/>
                  </a:lnTo>
                  <a:lnTo>
                    <a:pt x="831878" y="1302523"/>
                  </a:lnTo>
                  <a:lnTo>
                    <a:pt x="858700" y="1275718"/>
                  </a:lnTo>
                  <a:lnTo>
                    <a:pt x="879969" y="1254456"/>
                  </a:lnTo>
                  <a:lnTo>
                    <a:pt x="890959" y="1265429"/>
                  </a:lnTo>
                  <a:lnTo>
                    <a:pt x="920302" y="1265404"/>
                  </a:lnTo>
                  <a:lnTo>
                    <a:pt x="937551" y="1248163"/>
                  </a:lnTo>
                  <a:lnTo>
                    <a:pt x="996220" y="1248163"/>
                  </a:lnTo>
                  <a:lnTo>
                    <a:pt x="1021444" y="1273386"/>
                  </a:lnTo>
                  <a:lnTo>
                    <a:pt x="1035498" y="1287441"/>
                  </a:lnTo>
                  <a:lnTo>
                    <a:pt x="1035391" y="1318488"/>
                  </a:lnTo>
                  <a:lnTo>
                    <a:pt x="1075500" y="1278395"/>
                  </a:lnTo>
                  <a:lnTo>
                    <a:pt x="1121220" y="1278395"/>
                  </a:lnTo>
                  <a:lnTo>
                    <a:pt x="1121220" y="1310070"/>
                  </a:lnTo>
                  <a:lnTo>
                    <a:pt x="1144763" y="1310070"/>
                  </a:lnTo>
                  <a:lnTo>
                    <a:pt x="1144763" y="1281913"/>
                  </a:lnTo>
                  <a:lnTo>
                    <a:pt x="1219891" y="1281913"/>
                  </a:lnTo>
                  <a:lnTo>
                    <a:pt x="1219891" y="1244340"/>
                  </a:lnTo>
                  <a:lnTo>
                    <a:pt x="1285628" y="1244340"/>
                  </a:lnTo>
                  <a:lnTo>
                    <a:pt x="1374859" y="1155126"/>
                  </a:lnTo>
                  <a:lnTo>
                    <a:pt x="1417151" y="1155126"/>
                  </a:lnTo>
                  <a:lnTo>
                    <a:pt x="1417151" y="1112826"/>
                  </a:lnTo>
                  <a:lnTo>
                    <a:pt x="1487567" y="1042426"/>
                  </a:lnTo>
                  <a:lnTo>
                    <a:pt x="1487567" y="908538"/>
                  </a:lnTo>
                  <a:lnTo>
                    <a:pt x="1406541" y="827569"/>
                  </a:lnTo>
                  <a:lnTo>
                    <a:pt x="1518096" y="716014"/>
                  </a:lnTo>
                  <a:lnTo>
                    <a:pt x="1502791" y="700758"/>
                  </a:lnTo>
                  <a:lnTo>
                    <a:pt x="1475804" y="700758"/>
                  </a:lnTo>
                  <a:lnTo>
                    <a:pt x="1440019" y="736559"/>
                  </a:lnTo>
                  <a:lnTo>
                    <a:pt x="1367807" y="664347"/>
                  </a:lnTo>
                  <a:lnTo>
                    <a:pt x="1478160" y="554003"/>
                  </a:lnTo>
                  <a:lnTo>
                    <a:pt x="1511045" y="586855"/>
                  </a:lnTo>
                  <a:lnTo>
                    <a:pt x="1472278" y="625606"/>
                  </a:lnTo>
                  <a:lnTo>
                    <a:pt x="1498112" y="651439"/>
                  </a:lnTo>
                  <a:lnTo>
                    <a:pt x="1553288" y="596229"/>
                  </a:lnTo>
                  <a:lnTo>
                    <a:pt x="1573981" y="616948"/>
                  </a:lnTo>
                  <a:lnTo>
                    <a:pt x="1601709" y="589211"/>
                  </a:lnTo>
                  <a:lnTo>
                    <a:pt x="1634396" y="556541"/>
                  </a:lnTo>
                  <a:lnTo>
                    <a:pt x="1657001" y="579137"/>
                  </a:lnTo>
                  <a:lnTo>
                    <a:pt x="1700183" y="535946"/>
                  </a:lnTo>
                  <a:lnTo>
                    <a:pt x="1724188" y="535946"/>
                  </a:lnTo>
                  <a:lnTo>
                    <a:pt x="1724188" y="504001"/>
                  </a:lnTo>
                  <a:lnTo>
                    <a:pt x="1769380" y="504001"/>
                  </a:lnTo>
                  <a:lnTo>
                    <a:pt x="1769380" y="419654"/>
                  </a:lnTo>
                  <a:lnTo>
                    <a:pt x="1799645" y="389364"/>
                  </a:lnTo>
                  <a:lnTo>
                    <a:pt x="1877640" y="311386"/>
                  </a:lnTo>
                  <a:lnTo>
                    <a:pt x="1877640" y="277924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8" name="Freeform: Shape 697">
              <a:extLst>
                <a:ext uri="{FF2B5EF4-FFF2-40B4-BE49-F238E27FC236}">
                  <a16:creationId xmlns:a16="http://schemas.microsoft.com/office/drawing/2014/main" id="{0AEE904E-4A12-479C-9AD5-E800CEF7C436}"/>
                </a:ext>
              </a:extLst>
            </p:cNvPr>
            <p:cNvSpPr/>
            <p:nvPr/>
          </p:nvSpPr>
          <p:spPr>
            <a:xfrm>
              <a:off x="9127249" y="4065478"/>
              <a:ext cx="71305" cy="62524"/>
            </a:xfrm>
            <a:custGeom>
              <a:avLst/>
              <a:gdLst>
                <a:gd name="connsiteX0" fmla="*/ 0 w 71305"/>
                <a:gd name="connsiteY0" fmla="*/ 30826 h 62524"/>
                <a:gd name="connsiteX1" fmla="*/ 0 w 71305"/>
                <a:gd name="connsiteY1" fmla="*/ 62524 h 62524"/>
                <a:gd name="connsiteX2" fmla="*/ 31649 w 71305"/>
                <a:gd name="connsiteY2" fmla="*/ 62524 h 62524"/>
                <a:gd name="connsiteX3" fmla="*/ 71306 w 71305"/>
                <a:gd name="connsiteY3" fmla="*/ 22909 h 62524"/>
                <a:gd name="connsiteX4" fmla="*/ 48421 w 71305"/>
                <a:gd name="connsiteY4" fmla="*/ 0 h 62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305" h="62524">
                  <a:moveTo>
                    <a:pt x="0" y="30826"/>
                  </a:moveTo>
                  <a:lnTo>
                    <a:pt x="0" y="62524"/>
                  </a:lnTo>
                  <a:lnTo>
                    <a:pt x="31649" y="62524"/>
                  </a:lnTo>
                  <a:lnTo>
                    <a:pt x="71306" y="22909"/>
                  </a:lnTo>
                  <a:lnTo>
                    <a:pt x="48421" y="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2" name="Freeform: Shape 701">
              <a:extLst>
                <a:ext uri="{FF2B5EF4-FFF2-40B4-BE49-F238E27FC236}">
                  <a16:creationId xmlns:a16="http://schemas.microsoft.com/office/drawing/2014/main" id="{33F8BF69-52C5-01A1-3243-39BCF31E1E59}"/>
                </a:ext>
              </a:extLst>
            </p:cNvPr>
            <p:cNvSpPr/>
            <p:nvPr/>
          </p:nvSpPr>
          <p:spPr>
            <a:xfrm>
              <a:off x="8525566" y="3816939"/>
              <a:ext cx="84618" cy="55604"/>
            </a:xfrm>
            <a:custGeom>
              <a:avLst/>
              <a:gdLst>
                <a:gd name="connsiteX0" fmla="*/ 35999 w 84618"/>
                <a:gd name="connsiteY0" fmla="*/ 0 h 55604"/>
                <a:gd name="connsiteX1" fmla="*/ 0 w 84618"/>
                <a:gd name="connsiteY1" fmla="*/ 35998 h 55604"/>
                <a:gd name="connsiteX2" fmla="*/ 17 w 84618"/>
                <a:gd name="connsiteY2" fmla="*/ 36015 h 55604"/>
                <a:gd name="connsiteX3" fmla="*/ 26790 w 84618"/>
                <a:gd name="connsiteY3" fmla="*/ 36015 h 55604"/>
                <a:gd name="connsiteX4" fmla="*/ 46362 w 84618"/>
                <a:gd name="connsiteY4" fmla="*/ 55605 h 55604"/>
                <a:gd name="connsiteX5" fmla="*/ 84618 w 84618"/>
                <a:gd name="connsiteY5" fmla="*/ 55605 h 55604"/>
                <a:gd name="connsiteX6" fmla="*/ 84618 w 84618"/>
                <a:gd name="connsiteY6" fmla="*/ 31509 h 55604"/>
                <a:gd name="connsiteX7" fmla="*/ 84618 w 84618"/>
                <a:gd name="connsiteY7" fmla="*/ 15257 h 55604"/>
                <a:gd name="connsiteX8" fmla="*/ 51256 w 84618"/>
                <a:gd name="connsiteY8" fmla="*/ 15257 h 55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4618" h="55604">
                  <a:moveTo>
                    <a:pt x="35999" y="0"/>
                  </a:moveTo>
                  <a:lnTo>
                    <a:pt x="0" y="35998"/>
                  </a:lnTo>
                  <a:lnTo>
                    <a:pt x="17" y="36015"/>
                  </a:lnTo>
                  <a:lnTo>
                    <a:pt x="26790" y="36015"/>
                  </a:lnTo>
                  <a:lnTo>
                    <a:pt x="46362" y="55605"/>
                  </a:lnTo>
                  <a:lnTo>
                    <a:pt x="84618" y="55605"/>
                  </a:lnTo>
                  <a:lnTo>
                    <a:pt x="84618" y="31509"/>
                  </a:lnTo>
                  <a:lnTo>
                    <a:pt x="84618" y="15257"/>
                  </a:lnTo>
                  <a:lnTo>
                    <a:pt x="51256" y="15257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3" name="Freeform: Shape 702">
              <a:extLst>
                <a:ext uri="{FF2B5EF4-FFF2-40B4-BE49-F238E27FC236}">
                  <a16:creationId xmlns:a16="http://schemas.microsoft.com/office/drawing/2014/main" id="{690BC787-9A10-0368-30E1-51E25220D141}"/>
                </a:ext>
              </a:extLst>
            </p:cNvPr>
            <p:cNvSpPr/>
            <p:nvPr/>
          </p:nvSpPr>
          <p:spPr>
            <a:xfrm>
              <a:off x="8512517" y="3887139"/>
              <a:ext cx="128377" cy="166873"/>
            </a:xfrm>
            <a:custGeom>
              <a:avLst/>
              <a:gdLst>
                <a:gd name="connsiteX0" fmla="*/ 109925 w 128377"/>
                <a:gd name="connsiteY0" fmla="*/ 101976 h 166873"/>
                <a:gd name="connsiteX1" fmla="*/ 109925 w 128377"/>
                <a:gd name="connsiteY1" fmla="*/ 67987 h 166873"/>
                <a:gd name="connsiteX2" fmla="*/ 83028 w 128377"/>
                <a:gd name="connsiteY2" fmla="*/ 94884 h 166873"/>
                <a:gd name="connsiteX3" fmla="*/ 83028 w 128377"/>
                <a:gd name="connsiteY3" fmla="*/ 66579 h 166873"/>
                <a:gd name="connsiteX4" fmla="*/ 110641 w 128377"/>
                <a:gd name="connsiteY4" fmla="*/ 38966 h 166873"/>
                <a:gd name="connsiteX5" fmla="*/ 110641 w 128377"/>
                <a:gd name="connsiteY5" fmla="*/ 18764 h 166873"/>
                <a:gd name="connsiteX6" fmla="*/ 46890 w 128377"/>
                <a:gd name="connsiteY6" fmla="*/ 18764 h 166873"/>
                <a:gd name="connsiteX7" fmla="*/ 46880 w 128377"/>
                <a:gd name="connsiteY7" fmla="*/ 10 h 166873"/>
                <a:gd name="connsiteX8" fmla="*/ 4 w 128377"/>
                <a:gd name="connsiteY8" fmla="*/ 0 h 166873"/>
                <a:gd name="connsiteX9" fmla="*/ 0 w 128377"/>
                <a:gd name="connsiteY9" fmla="*/ 31893 h 166873"/>
                <a:gd name="connsiteX10" fmla="*/ 12250 w 128377"/>
                <a:gd name="connsiteY10" fmla="*/ 44484 h 166873"/>
                <a:gd name="connsiteX11" fmla="*/ 12250 w 128377"/>
                <a:gd name="connsiteY11" fmla="*/ 99135 h 166873"/>
                <a:gd name="connsiteX12" fmla="*/ 31024 w 128377"/>
                <a:gd name="connsiteY12" fmla="*/ 117908 h 166873"/>
                <a:gd name="connsiteX13" fmla="*/ 79396 w 128377"/>
                <a:gd name="connsiteY13" fmla="*/ 117908 h 166873"/>
                <a:gd name="connsiteX14" fmla="*/ 128377 w 128377"/>
                <a:gd name="connsiteY14" fmla="*/ 166874 h 166873"/>
                <a:gd name="connsiteX15" fmla="*/ 128377 w 128377"/>
                <a:gd name="connsiteY15" fmla="*/ 118056 h 166873"/>
                <a:gd name="connsiteX16" fmla="*/ 125502 w 128377"/>
                <a:gd name="connsiteY16" fmla="*/ 117546 h 16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8377" h="166873">
                  <a:moveTo>
                    <a:pt x="109925" y="101976"/>
                  </a:moveTo>
                  <a:lnTo>
                    <a:pt x="109925" y="67987"/>
                  </a:lnTo>
                  <a:lnTo>
                    <a:pt x="83028" y="94884"/>
                  </a:lnTo>
                  <a:lnTo>
                    <a:pt x="83028" y="66579"/>
                  </a:lnTo>
                  <a:lnTo>
                    <a:pt x="110641" y="38966"/>
                  </a:lnTo>
                  <a:lnTo>
                    <a:pt x="110641" y="18764"/>
                  </a:lnTo>
                  <a:lnTo>
                    <a:pt x="46890" y="18764"/>
                  </a:lnTo>
                  <a:lnTo>
                    <a:pt x="46880" y="10"/>
                  </a:lnTo>
                  <a:lnTo>
                    <a:pt x="4" y="0"/>
                  </a:lnTo>
                  <a:lnTo>
                    <a:pt x="0" y="31893"/>
                  </a:lnTo>
                  <a:lnTo>
                    <a:pt x="12250" y="44484"/>
                  </a:lnTo>
                  <a:lnTo>
                    <a:pt x="12250" y="99135"/>
                  </a:lnTo>
                  <a:lnTo>
                    <a:pt x="31024" y="117908"/>
                  </a:lnTo>
                  <a:lnTo>
                    <a:pt x="79396" y="117908"/>
                  </a:lnTo>
                  <a:lnTo>
                    <a:pt x="128377" y="166874"/>
                  </a:lnTo>
                  <a:lnTo>
                    <a:pt x="128377" y="118056"/>
                  </a:lnTo>
                  <a:lnTo>
                    <a:pt x="125502" y="117546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4" name="Freeform: Shape 703">
              <a:extLst>
                <a:ext uri="{FF2B5EF4-FFF2-40B4-BE49-F238E27FC236}">
                  <a16:creationId xmlns:a16="http://schemas.microsoft.com/office/drawing/2014/main" id="{9EB0789D-11F5-5F87-E103-902CB21270E7}"/>
                </a:ext>
              </a:extLst>
            </p:cNvPr>
            <p:cNvSpPr/>
            <p:nvPr/>
          </p:nvSpPr>
          <p:spPr>
            <a:xfrm>
              <a:off x="7633833" y="3420474"/>
              <a:ext cx="437587" cy="331156"/>
            </a:xfrm>
            <a:custGeom>
              <a:avLst/>
              <a:gdLst>
                <a:gd name="connsiteX0" fmla="*/ 426977 w 437587"/>
                <a:gd name="connsiteY0" fmla="*/ 47573 h 331156"/>
                <a:gd name="connsiteX1" fmla="*/ 400354 w 437587"/>
                <a:gd name="connsiteY1" fmla="*/ 47573 h 331156"/>
                <a:gd name="connsiteX2" fmla="*/ 381378 w 437587"/>
                <a:gd name="connsiteY2" fmla="*/ 66540 h 331156"/>
                <a:gd name="connsiteX3" fmla="*/ 356161 w 437587"/>
                <a:gd name="connsiteY3" fmla="*/ 66540 h 331156"/>
                <a:gd name="connsiteX4" fmla="*/ 356084 w 437587"/>
                <a:gd name="connsiteY4" fmla="*/ 66618 h 331156"/>
                <a:gd name="connsiteX5" fmla="*/ 331651 w 437587"/>
                <a:gd name="connsiteY5" fmla="*/ 42218 h 331156"/>
                <a:gd name="connsiteX6" fmla="*/ 331651 w 437587"/>
                <a:gd name="connsiteY6" fmla="*/ 19556 h 331156"/>
                <a:gd name="connsiteX7" fmla="*/ 312111 w 437587"/>
                <a:gd name="connsiteY7" fmla="*/ 0 h 331156"/>
                <a:gd name="connsiteX8" fmla="*/ 312111 w 437587"/>
                <a:gd name="connsiteY8" fmla="*/ 21137 h 331156"/>
                <a:gd name="connsiteX9" fmla="*/ 291962 w 437587"/>
                <a:gd name="connsiteY9" fmla="*/ 41287 h 331156"/>
                <a:gd name="connsiteX10" fmla="*/ 265848 w 437587"/>
                <a:gd name="connsiteY10" fmla="*/ 67425 h 331156"/>
                <a:gd name="connsiteX11" fmla="*/ 216537 w 437587"/>
                <a:gd name="connsiteY11" fmla="*/ 67425 h 331156"/>
                <a:gd name="connsiteX12" fmla="*/ 216537 w 437587"/>
                <a:gd name="connsiteY12" fmla="*/ 48297 h 331156"/>
                <a:gd name="connsiteX13" fmla="*/ 152052 w 437587"/>
                <a:gd name="connsiteY13" fmla="*/ 45035 h 331156"/>
                <a:gd name="connsiteX14" fmla="*/ 130436 w 437587"/>
                <a:gd name="connsiteY14" fmla="*/ 66659 h 331156"/>
                <a:gd name="connsiteX15" fmla="*/ 130436 w 437587"/>
                <a:gd name="connsiteY15" fmla="*/ 85631 h 331156"/>
                <a:gd name="connsiteX16" fmla="*/ 106613 w 437587"/>
                <a:gd name="connsiteY16" fmla="*/ 109454 h 331156"/>
                <a:gd name="connsiteX17" fmla="*/ 80104 w 437587"/>
                <a:gd name="connsiteY17" fmla="*/ 135955 h 331156"/>
                <a:gd name="connsiteX18" fmla="*/ 53134 w 437587"/>
                <a:gd name="connsiteY18" fmla="*/ 135955 h 331156"/>
                <a:gd name="connsiteX19" fmla="*/ 38306 w 437587"/>
                <a:gd name="connsiteY19" fmla="*/ 121135 h 331156"/>
                <a:gd name="connsiteX20" fmla="*/ 22407 w 437587"/>
                <a:gd name="connsiteY20" fmla="*/ 120756 h 331156"/>
                <a:gd name="connsiteX21" fmla="*/ 22407 w 437587"/>
                <a:gd name="connsiteY21" fmla="*/ 162299 h 331156"/>
                <a:gd name="connsiteX22" fmla="*/ 0 w 437587"/>
                <a:gd name="connsiteY22" fmla="*/ 184714 h 331156"/>
                <a:gd name="connsiteX23" fmla="*/ 0 w 437587"/>
                <a:gd name="connsiteY23" fmla="*/ 217517 h 331156"/>
                <a:gd name="connsiteX24" fmla="*/ 0 w 437587"/>
                <a:gd name="connsiteY24" fmla="*/ 249998 h 331156"/>
                <a:gd name="connsiteX25" fmla="*/ 17843 w 437587"/>
                <a:gd name="connsiteY25" fmla="*/ 267784 h 331156"/>
                <a:gd name="connsiteX26" fmla="*/ 17843 w 437587"/>
                <a:gd name="connsiteY26" fmla="*/ 299729 h 331156"/>
                <a:gd name="connsiteX27" fmla="*/ 32540 w 437587"/>
                <a:gd name="connsiteY27" fmla="*/ 315817 h 331156"/>
                <a:gd name="connsiteX28" fmla="*/ 44649 w 437587"/>
                <a:gd name="connsiteY28" fmla="*/ 315817 h 331156"/>
                <a:gd name="connsiteX29" fmla="*/ 60004 w 437587"/>
                <a:gd name="connsiteY29" fmla="*/ 331156 h 331156"/>
                <a:gd name="connsiteX30" fmla="*/ 105624 w 437587"/>
                <a:gd name="connsiteY30" fmla="*/ 331156 h 331156"/>
                <a:gd name="connsiteX31" fmla="*/ 166221 w 437587"/>
                <a:gd name="connsiteY31" fmla="*/ 331156 h 331156"/>
                <a:gd name="connsiteX32" fmla="*/ 182103 w 437587"/>
                <a:gd name="connsiteY32" fmla="*/ 315266 h 331156"/>
                <a:gd name="connsiteX33" fmla="*/ 182103 w 437587"/>
                <a:gd name="connsiteY33" fmla="*/ 300924 h 331156"/>
                <a:gd name="connsiteX34" fmla="*/ 196421 w 437587"/>
                <a:gd name="connsiteY34" fmla="*/ 286574 h 331156"/>
                <a:gd name="connsiteX35" fmla="*/ 222715 w 437587"/>
                <a:gd name="connsiteY35" fmla="*/ 286574 h 331156"/>
                <a:gd name="connsiteX36" fmla="*/ 237692 w 437587"/>
                <a:gd name="connsiteY36" fmla="*/ 271589 h 331156"/>
                <a:gd name="connsiteX37" fmla="*/ 237692 w 437587"/>
                <a:gd name="connsiteY37" fmla="*/ 256827 h 331156"/>
                <a:gd name="connsiteX38" fmla="*/ 249932 w 437587"/>
                <a:gd name="connsiteY38" fmla="*/ 244586 h 331156"/>
                <a:gd name="connsiteX39" fmla="*/ 276920 w 437587"/>
                <a:gd name="connsiteY39" fmla="*/ 244586 h 331156"/>
                <a:gd name="connsiteX40" fmla="*/ 276920 w 437587"/>
                <a:gd name="connsiteY40" fmla="*/ 212212 h 331156"/>
                <a:gd name="connsiteX41" fmla="*/ 294598 w 437587"/>
                <a:gd name="connsiteY41" fmla="*/ 212212 h 331156"/>
                <a:gd name="connsiteX42" fmla="*/ 311320 w 437587"/>
                <a:gd name="connsiteY42" fmla="*/ 195514 h 331156"/>
                <a:gd name="connsiteX43" fmla="*/ 311320 w 437587"/>
                <a:gd name="connsiteY43" fmla="*/ 177877 h 331156"/>
                <a:gd name="connsiteX44" fmla="*/ 331437 w 437587"/>
                <a:gd name="connsiteY44" fmla="*/ 157736 h 331156"/>
                <a:gd name="connsiteX45" fmla="*/ 345672 w 437587"/>
                <a:gd name="connsiteY45" fmla="*/ 143484 h 331156"/>
                <a:gd name="connsiteX46" fmla="*/ 345672 w 437587"/>
                <a:gd name="connsiteY46" fmla="*/ 124003 h 331156"/>
                <a:gd name="connsiteX47" fmla="*/ 332083 w 437587"/>
                <a:gd name="connsiteY47" fmla="*/ 110390 h 331156"/>
                <a:gd name="connsiteX48" fmla="*/ 359428 w 437587"/>
                <a:gd name="connsiteY48" fmla="*/ 83045 h 331156"/>
                <a:gd name="connsiteX49" fmla="*/ 395715 w 437587"/>
                <a:gd name="connsiteY49" fmla="*/ 83045 h 331156"/>
                <a:gd name="connsiteX50" fmla="*/ 395715 w 437587"/>
                <a:gd name="connsiteY50" fmla="*/ 76516 h 331156"/>
                <a:gd name="connsiteX51" fmla="*/ 405083 w 437587"/>
                <a:gd name="connsiteY51" fmla="*/ 67148 h 331156"/>
                <a:gd name="connsiteX52" fmla="*/ 437588 w 437587"/>
                <a:gd name="connsiteY52" fmla="*/ 67148 h 331156"/>
                <a:gd name="connsiteX53" fmla="*/ 437588 w 437587"/>
                <a:gd name="connsiteY53" fmla="*/ 58174 h 331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37587" h="331156">
                  <a:moveTo>
                    <a:pt x="426977" y="47573"/>
                  </a:moveTo>
                  <a:lnTo>
                    <a:pt x="400354" y="47573"/>
                  </a:lnTo>
                  <a:lnTo>
                    <a:pt x="381378" y="66540"/>
                  </a:lnTo>
                  <a:lnTo>
                    <a:pt x="356161" y="66540"/>
                  </a:lnTo>
                  <a:lnTo>
                    <a:pt x="356084" y="66618"/>
                  </a:lnTo>
                  <a:lnTo>
                    <a:pt x="331651" y="42218"/>
                  </a:lnTo>
                  <a:lnTo>
                    <a:pt x="331651" y="19556"/>
                  </a:lnTo>
                  <a:lnTo>
                    <a:pt x="312111" y="0"/>
                  </a:lnTo>
                  <a:lnTo>
                    <a:pt x="312111" y="21137"/>
                  </a:lnTo>
                  <a:lnTo>
                    <a:pt x="291962" y="41287"/>
                  </a:lnTo>
                  <a:lnTo>
                    <a:pt x="265848" y="67425"/>
                  </a:lnTo>
                  <a:lnTo>
                    <a:pt x="216537" y="67425"/>
                  </a:lnTo>
                  <a:lnTo>
                    <a:pt x="216537" y="48297"/>
                  </a:lnTo>
                  <a:lnTo>
                    <a:pt x="152052" y="45035"/>
                  </a:lnTo>
                  <a:lnTo>
                    <a:pt x="130436" y="66659"/>
                  </a:lnTo>
                  <a:lnTo>
                    <a:pt x="130436" y="85631"/>
                  </a:lnTo>
                  <a:lnTo>
                    <a:pt x="106613" y="109454"/>
                  </a:lnTo>
                  <a:lnTo>
                    <a:pt x="80104" y="135955"/>
                  </a:lnTo>
                  <a:lnTo>
                    <a:pt x="53134" y="135955"/>
                  </a:lnTo>
                  <a:lnTo>
                    <a:pt x="38306" y="121135"/>
                  </a:lnTo>
                  <a:lnTo>
                    <a:pt x="22407" y="120756"/>
                  </a:lnTo>
                  <a:lnTo>
                    <a:pt x="22407" y="162299"/>
                  </a:lnTo>
                  <a:lnTo>
                    <a:pt x="0" y="184714"/>
                  </a:lnTo>
                  <a:lnTo>
                    <a:pt x="0" y="217517"/>
                  </a:lnTo>
                  <a:lnTo>
                    <a:pt x="0" y="249998"/>
                  </a:lnTo>
                  <a:lnTo>
                    <a:pt x="17843" y="267784"/>
                  </a:lnTo>
                  <a:lnTo>
                    <a:pt x="17843" y="299729"/>
                  </a:lnTo>
                  <a:lnTo>
                    <a:pt x="32540" y="315817"/>
                  </a:lnTo>
                  <a:lnTo>
                    <a:pt x="44649" y="315817"/>
                  </a:lnTo>
                  <a:lnTo>
                    <a:pt x="60004" y="331156"/>
                  </a:lnTo>
                  <a:lnTo>
                    <a:pt x="105624" y="331156"/>
                  </a:lnTo>
                  <a:lnTo>
                    <a:pt x="166221" y="331156"/>
                  </a:lnTo>
                  <a:lnTo>
                    <a:pt x="182103" y="315266"/>
                  </a:lnTo>
                  <a:lnTo>
                    <a:pt x="182103" y="300924"/>
                  </a:lnTo>
                  <a:lnTo>
                    <a:pt x="196421" y="286574"/>
                  </a:lnTo>
                  <a:lnTo>
                    <a:pt x="222715" y="286574"/>
                  </a:lnTo>
                  <a:lnTo>
                    <a:pt x="237692" y="271589"/>
                  </a:lnTo>
                  <a:lnTo>
                    <a:pt x="237692" y="256827"/>
                  </a:lnTo>
                  <a:lnTo>
                    <a:pt x="249932" y="244586"/>
                  </a:lnTo>
                  <a:lnTo>
                    <a:pt x="276920" y="244586"/>
                  </a:lnTo>
                  <a:lnTo>
                    <a:pt x="276920" y="212212"/>
                  </a:lnTo>
                  <a:lnTo>
                    <a:pt x="294598" y="212212"/>
                  </a:lnTo>
                  <a:lnTo>
                    <a:pt x="311320" y="195514"/>
                  </a:lnTo>
                  <a:lnTo>
                    <a:pt x="311320" y="177877"/>
                  </a:lnTo>
                  <a:lnTo>
                    <a:pt x="331437" y="157736"/>
                  </a:lnTo>
                  <a:lnTo>
                    <a:pt x="345672" y="143484"/>
                  </a:lnTo>
                  <a:lnTo>
                    <a:pt x="345672" y="124003"/>
                  </a:lnTo>
                  <a:lnTo>
                    <a:pt x="332083" y="110390"/>
                  </a:lnTo>
                  <a:lnTo>
                    <a:pt x="359428" y="83045"/>
                  </a:lnTo>
                  <a:lnTo>
                    <a:pt x="395715" y="83045"/>
                  </a:lnTo>
                  <a:lnTo>
                    <a:pt x="395715" y="76516"/>
                  </a:lnTo>
                  <a:lnTo>
                    <a:pt x="405083" y="67148"/>
                  </a:lnTo>
                  <a:lnTo>
                    <a:pt x="437588" y="67148"/>
                  </a:lnTo>
                  <a:lnTo>
                    <a:pt x="437588" y="58174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6" name="Freeform: Shape 715">
              <a:extLst>
                <a:ext uri="{FF2B5EF4-FFF2-40B4-BE49-F238E27FC236}">
                  <a16:creationId xmlns:a16="http://schemas.microsoft.com/office/drawing/2014/main" id="{72C43516-3508-CBB2-2B06-44E7528F92D1}"/>
                </a:ext>
              </a:extLst>
            </p:cNvPr>
            <p:cNvSpPr/>
            <p:nvPr/>
          </p:nvSpPr>
          <p:spPr>
            <a:xfrm>
              <a:off x="7651676" y="3503519"/>
              <a:ext cx="417915" cy="455133"/>
            </a:xfrm>
            <a:custGeom>
              <a:avLst/>
              <a:gdLst>
                <a:gd name="connsiteX0" fmla="*/ 301286 w 417915"/>
                <a:gd name="connsiteY0" fmla="*/ 432553 h 455133"/>
                <a:gd name="connsiteX1" fmla="*/ 301286 w 417915"/>
                <a:gd name="connsiteY1" fmla="*/ 378959 h 455133"/>
                <a:gd name="connsiteX2" fmla="*/ 278385 w 417915"/>
                <a:gd name="connsiteY2" fmla="*/ 356050 h 455133"/>
                <a:gd name="connsiteX3" fmla="*/ 278385 w 417915"/>
                <a:gd name="connsiteY3" fmla="*/ 312497 h 455133"/>
                <a:gd name="connsiteX4" fmla="*/ 312424 w 417915"/>
                <a:gd name="connsiteY4" fmla="*/ 312497 h 455133"/>
                <a:gd name="connsiteX5" fmla="*/ 348884 w 417915"/>
                <a:gd name="connsiteY5" fmla="*/ 276045 h 455133"/>
                <a:gd name="connsiteX6" fmla="*/ 392049 w 417915"/>
                <a:gd name="connsiteY6" fmla="*/ 232855 h 455133"/>
                <a:gd name="connsiteX7" fmla="*/ 417915 w 417915"/>
                <a:gd name="connsiteY7" fmla="*/ 207021 h 455133"/>
                <a:gd name="connsiteX8" fmla="*/ 417915 w 417915"/>
                <a:gd name="connsiteY8" fmla="*/ 158904 h 455133"/>
                <a:gd name="connsiteX9" fmla="*/ 387205 w 417915"/>
                <a:gd name="connsiteY9" fmla="*/ 128195 h 455133"/>
                <a:gd name="connsiteX10" fmla="*/ 387205 w 417915"/>
                <a:gd name="connsiteY10" fmla="*/ 63860 h 455133"/>
                <a:gd name="connsiteX11" fmla="*/ 348708 w 417915"/>
                <a:gd name="connsiteY11" fmla="*/ 25363 h 455133"/>
                <a:gd name="connsiteX12" fmla="*/ 348976 w 417915"/>
                <a:gd name="connsiteY12" fmla="*/ 25095 h 455133"/>
                <a:gd name="connsiteX13" fmla="*/ 348976 w 417915"/>
                <a:gd name="connsiteY13" fmla="*/ 18098 h 455133"/>
                <a:gd name="connsiteX14" fmla="*/ 367073 w 417915"/>
                <a:gd name="connsiteY14" fmla="*/ 0 h 455133"/>
                <a:gd name="connsiteX15" fmla="*/ 341584 w 417915"/>
                <a:gd name="connsiteY15" fmla="*/ 0 h 455133"/>
                <a:gd name="connsiteX16" fmla="*/ 314239 w 417915"/>
                <a:gd name="connsiteY16" fmla="*/ 27345 h 455133"/>
                <a:gd name="connsiteX17" fmla="*/ 327829 w 417915"/>
                <a:gd name="connsiteY17" fmla="*/ 40957 h 455133"/>
                <a:gd name="connsiteX18" fmla="*/ 327829 w 417915"/>
                <a:gd name="connsiteY18" fmla="*/ 60439 h 455133"/>
                <a:gd name="connsiteX19" fmla="*/ 313594 w 417915"/>
                <a:gd name="connsiteY19" fmla="*/ 74691 h 455133"/>
                <a:gd name="connsiteX20" fmla="*/ 293477 w 417915"/>
                <a:gd name="connsiteY20" fmla="*/ 94832 h 455133"/>
                <a:gd name="connsiteX21" fmla="*/ 293477 w 417915"/>
                <a:gd name="connsiteY21" fmla="*/ 112469 h 455133"/>
                <a:gd name="connsiteX22" fmla="*/ 276754 w 417915"/>
                <a:gd name="connsiteY22" fmla="*/ 129167 h 455133"/>
                <a:gd name="connsiteX23" fmla="*/ 259076 w 417915"/>
                <a:gd name="connsiteY23" fmla="*/ 129167 h 455133"/>
                <a:gd name="connsiteX24" fmla="*/ 259076 w 417915"/>
                <a:gd name="connsiteY24" fmla="*/ 161541 h 455133"/>
                <a:gd name="connsiteX25" fmla="*/ 232089 w 417915"/>
                <a:gd name="connsiteY25" fmla="*/ 161541 h 455133"/>
                <a:gd name="connsiteX26" fmla="*/ 219848 w 417915"/>
                <a:gd name="connsiteY26" fmla="*/ 173781 h 455133"/>
                <a:gd name="connsiteX27" fmla="*/ 219848 w 417915"/>
                <a:gd name="connsiteY27" fmla="*/ 188543 h 455133"/>
                <a:gd name="connsiteX28" fmla="*/ 204872 w 417915"/>
                <a:gd name="connsiteY28" fmla="*/ 203528 h 455133"/>
                <a:gd name="connsiteX29" fmla="*/ 178577 w 417915"/>
                <a:gd name="connsiteY29" fmla="*/ 203528 h 455133"/>
                <a:gd name="connsiteX30" fmla="*/ 164260 w 417915"/>
                <a:gd name="connsiteY30" fmla="*/ 217878 h 455133"/>
                <a:gd name="connsiteX31" fmla="*/ 164260 w 417915"/>
                <a:gd name="connsiteY31" fmla="*/ 232221 h 455133"/>
                <a:gd name="connsiteX32" fmla="*/ 148377 w 417915"/>
                <a:gd name="connsiteY32" fmla="*/ 248111 h 455133"/>
                <a:gd name="connsiteX33" fmla="*/ 87781 w 417915"/>
                <a:gd name="connsiteY33" fmla="*/ 248111 h 455133"/>
                <a:gd name="connsiteX34" fmla="*/ 42160 w 417915"/>
                <a:gd name="connsiteY34" fmla="*/ 248111 h 455133"/>
                <a:gd name="connsiteX35" fmla="*/ 26806 w 417915"/>
                <a:gd name="connsiteY35" fmla="*/ 232772 h 455133"/>
                <a:gd name="connsiteX36" fmla="*/ 14696 w 417915"/>
                <a:gd name="connsiteY36" fmla="*/ 232772 h 455133"/>
                <a:gd name="connsiteX37" fmla="*/ 0 w 417915"/>
                <a:gd name="connsiteY37" fmla="*/ 216684 h 455133"/>
                <a:gd name="connsiteX38" fmla="*/ 0 w 417915"/>
                <a:gd name="connsiteY38" fmla="*/ 261307 h 455133"/>
                <a:gd name="connsiteX39" fmla="*/ 37366 w 417915"/>
                <a:gd name="connsiteY39" fmla="*/ 298691 h 455133"/>
                <a:gd name="connsiteX40" fmla="*/ 37366 w 417915"/>
                <a:gd name="connsiteY40" fmla="*/ 342317 h 455133"/>
                <a:gd name="connsiteX41" fmla="*/ 13609 w 417915"/>
                <a:gd name="connsiteY41" fmla="*/ 366075 h 455133"/>
                <a:gd name="connsiteX42" fmla="*/ 13609 w 417915"/>
                <a:gd name="connsiteY42" fmla="*/ 380293 h 455133"/>
                <a:gd name="connsiteX43" fmla="*/ 170159 w 417915"/>
                <a:gd name="connsiteY43" fmla="*/ 380293 h 455133"/>
                <a:gd name="connsiteX44" fmla="*/ 206800 w 417915"/>
                <a:gd name="connsiteY44" fmla="*/ 416984 h 455133"/>
                <a:gd name="connsiteX45" fmla="*/ 206800 w 417915"/>
                <a:gd name="connsiteY45" fmla="*/ 439588 h 455133"/>
                <a:gd name="connsiteX46" fmla="*/ 222336 w 417915"/>
                <a:gd name="connsiteY46" fmla="*/ 455133 h 455133"/>
                <a:gd name="connsiteX47" fmla="*/ 222336 w 417915"/>
                <a:gd name="connsiteY47" fmla="*/ 432553 h 455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417915" h="455133">
                  <a:moveTo>
                    <a:pt x="301286" y="432553"/>
                  </a:moveTo>
                  <a:lnTo>
                    <a:pt x="301286" y="378959"/>
                  </a:lnTo>
                  <a:lnTo>
                    <a:pt x="278385" y="356050"/>
                  </a:lnTo>
                  <a:lnTo>
                    <a:pt x="278385" y="312497"/>
                  </a:lnTo>
                  <a:lnTo>
                    <a:pt x="312424" y="312497"/>
                  </a:lnTo>
                  <a:lnTo>
                    <a:pt x="348884" y="276045"/>
                  </a:lnTo>
                  <a:lnTo>
                    <a:pt x="392049" y="232855"/>
                  </a:lnTo>
                  <a:lnTo>
                    <a:pt x="417915" y="207021"/>
                  </a:lnTo>
                  <a:lnTo>
                    <a:pt x="417915" y="158904"/>
                  </a:lnTo>
                  <a:lnTo>
                    <a:pt x="387205" y="128195"/>
                  </a:lnTo>
                  <a:lnTo>
                    <a:pt x="387205" y="63860"/>
                  </a:lnTo>
                  <a:lnTo>
                    <a:pt x="348708" y="25363"/>
                  </a:lnTo>
                  <a:lnTo>
                    <a:pt x="348976" y="25095"/>
                  </a:lnTo>
                  <a:lnTo>
                    <a:pt x="348976" y="18098"/>
                  </a:lnTo>
                  <a:lnTo>
                    <a:pt x="367073" y="0"/>
                  </a:lnTo>
                  <a:lnTo>
                    <a:pt x="341584" y="0"/>
                  </a:lnTo>
                  <a:lnTo>
                    <a:pt x="314239" y="27345"/>
                  </a:lnTo>
                  <a:lnTo>
                    <a:pt x="327829" y="40957"/>
                  </a:lnTo>
                  <a:lnTo>
                    <a:pt x="327829" y="60439"/>
                  </a:lnTo>
                  <a:lnTo>
                    <a:pt x="313594" y="74691"/>
                  </a:lnTo>
                  <a:lnTo>
                    <a:pt x="293477" y="94832"/>
                  </a:lnTo>
                  <a:lnTo>
                    <a:pt x="293477" y="112469"/>
                  </a:lnTo>
                  <a:lnTo>
                    <a:pt x="276754" y="129167"/>
                  </a:lnTo>
                  <a:lnTo>
                    <a:pt x="259076" y="129167"/>
                  </a:lnTo>
                  <a:lnTo>
                    <a:pt x="259076" y="161541"/>
                  </a:lnTo>
                  <a:lnTo>
                    <a:pt x="232089" y="161541"/>
                  </a:lnTo>
                  <a:lnTo>
                    <a:pt x="219848" y="173781"/>
                  </a:lnTo>
                  <a:lnTo>
                    <a:pt x="219848" y="188543"/>
                  </a:lnTo>
                  <a:lnTo>
                    <a:pt x="204872" y="203528"/>
                  </a:lnTo>
                  <a:lnTo>
                    <a:pt x="178577" y="203528"/>
                  </a:lnTo>
                  <a:lnTo>
                    <a:pt x="164260" y="217878"/>
                  </a:lnTo>
                  <a:lnTo>
                    <a:pt x="164260" y="232221"/>
                  </a:lnTo>
                  <a:lnTo>
                    <a:pt x="148377" y="248111"/>
                  </a:lnTo>
                  <a:lnTo>
                    <a:pt x="87781" y="248111"/>
                  </a:lnTo>
                  <a:lnTo>
                    <a:pt x="42160" y="248111"/>
                  </a:lnTo>
                  <a:lnTo>
                    <a:pt x="26806" y="232772"/>
                  </a:lnTo>
                  <a:lnTo>
                    <a:pt x="14696" y="232772"/>
                  </a:lnTo>
                  <a:lnTo>
                    <a:pt x="0" y="216684"/>
                  </a:lnTo>
                  <a:lnTo>
                    <a:pt x="0" y="261307"/>
                  </a:lnTo>
                  <a:lnTo>
                    <a:pt x="37366" y="298691"/>
                  </a:lnTo>
                  <a:lnTo>
                    <a:pt x="37366" y="342317"/>
                  </a:lnTo>
                  <a:lnTo>
                    <a:pt x="13609" y="366075"/>
                  </a:lnTo>
                  <a:lnTo>
                    <a:pt x="13609" y="380293"/>
                  </a:lnTo>
                  <a:lnTo>
                    <a:pt x="170159" y="380293"/>
                  </a:lnTo>
                  <a:lnTo>
                    <a:pt x="206800" y="416984"/>
                  </a:lnTo>
                  <a:lnTo>
                    <a:pt x="206800" y="439588"/>
                  </a:lnTo>
                  <a:lnTo>
                    <a:pt x="222336" y="455133"/>
                  </a:lnTo>
                  <a:lnTo>
                    <a:pt x="222336" y="432553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7" name="Freeform: Shape 716">
              <a:extLst>
                <a:ext uri="{FF2B5EF4-FFF2-40B4-BE49-F238E27FC236}">
                  <a16:creationId xmlns:a16="http://schemas.microsoft.com/office/drawing/2014/main" id="{E59B0585-96DC-A344-185A-CCB0F06CB8D1}"/>
                </a:ext>
              </a:extLst>
            </p:cNvPr>
            <p:cNvSpPr/>
            <p:nvPr/>
          </p:nvSpPr>
          <p:spPr>
            <a:xfrm>
              <a:off x="7850370" y="3335007"/>
              <a:ext cx="221050" cy="152892"/>
            </a:xfrm>
            <a:custGeom>
              <a:avLst/>
              <a:gdLst>
                <a:gd name="connsiteX0" fmla="*/ 199386 w 221050"/>
                <a:gd name="connsiteY0" fmla="*/ 99256 h 152892"/>
                <a:gd name="connsiteX1" fmla="*/ 199386 w 221050"/>
                <a:gd name="connsiteY1" fmla="*/ 75004 h 152892"/>
                <a:gd name="connsiteX2" fmla="*/ 181796 w 221050"/>
                <a:gd name="connsiteY2" fmla="*/ 57407 h 152892"/>
                <a:gd name="connsiteX3" fmla="*/ 151168 w 221050"/>
                <a:gd name="connsiteY3" fmla="*/ 57407 h 152892"/>
                <a:gd name="connsiteX4" fmla="*/ 137177 w 221050"/>
                <a:gd name="connsiteY4" fmla="*/ 71398 h 152892"/>
                <a:gd name="connsiteX5" fmla="*/ 117339 w 221050"/>
                <a:gd name="connsiteY5" fmla="*/ 51559 h 152892"/>
                <a:gd name="connsiteX6" fmla="*/ 102398 w 221050"/>
                <a:gd name="connsiteY6" fmla="*/ 66499 h 152892"/>
                <a:gd name="connsiteX7" fmla="*/ 96151 w 221050"/>
                <a:gd name="connsiteY7" fmla="*/ 60251 h 152892"/>
                <a:gd name="connsiteX8" fmla="*/ 57532 w 221050"/>
                <a:gd name="connsiteY8" fmla="*/ 60251 h 152892"/>
                <a:gd name="connsiteX9" fmla="*/ 57532 w 221050"/>
                <a:gd name="connsiteY9" fmla="*/ 47993 h 152892"/>
                <a:gd name="connsiteX10" fmla="*/ 68208 w 221050"/>
                <a:gd name="connsiteY10" fmla="*/ 37318 h 152892"/>
                <a:gd name="connsiteX11" fmla="*/ 95888 w 221050"/>
                <a:gd name="connsiteY11" fmla="*/ 37318 h 152892"/>
                <a:gd name="connsiteX12" fmla="*/ 102800 w 221050"/>
                <a:gd name="connsiteY12" fmla="*/ 30404 h 152892"/>
                <a:gd name="connsiteX13" fmla="*/ 100896 w 221050"/>
                <a:gd name="connsiteY13" fmla="*/ 30404 h 152892"/>
                <a:gd name="connsiteX14" fmla="*/ 88635 w 221050"/>
                <a:gd name="connsiteY14" fmla="*/ 18143 h 152892"/>
                <a:gd name="connsiteX15" fmla="*/ 98358 w 221050"/>
                <a:gd name="connsiteY15" fmla="*/ 8419 h 152892"/>
                <a:gd name="connsiteX16" fmla="*/ 89939 w 221050"/>
                <a:gd name="connsiteY16" fmla="*/ 0 h 152892"/>
                <a:gd name="connsiteX17" fmla="*/ 80334 w 221050"/>
                <a:gd name="connsiteY17" fmla="*/ 0 h 152892"/>
                <a:gd name="connsiteX18" fmla="*/ 26352 w 221050"/>
                <a:gd name="connsiteY18" fmla="*/ 53982 h 152892"/>
                <a:gd name="connsiteX19" fmla="*/ 4547 w 221050"/>
                <a:gd name="connsiteY19" fmla="*/ 53982 h 152892"/>
                <a:gd name="connsiteX20" fmla="*/ 4547 w 221050"/>
                <a:gd name="connsiteY20" fmla="*/ 67154 h 152892"/>
                <a:gd name="connsiteX21" fmla="*/ 4547 w 221050"/>
                <a:gd name="connsiteY21" fmla="*/ 98573 h 152892"/>
                <a:gd name="connsiteX22" fmla="*/ 19869 w 221050"/>
                <a:gd name="connsiteY22" fmla="*/ 113895 h 152892"/>
                <a:gd name="connsiteX23" fmla="*/ 0 w 221050"/>
                <a:gd name="connsiteY23" fmla="*/ 133764 h 152892"/>
                <a:gd name="connsiteX24" fmla="*/ 0 w 221050"/>
                <a:gd name="connsiteY24" fmla="*/ 152892 h 152892"/>
                <a:gd name="connsiteX25" fmla="*/ 49311 w 221050"/>
                <a:gd name="connsiteY25" fmla="*/ 152892 h 152892"/>
                <a:gd name="connsiteX26" fmla="*/ 75425 w 221050"/>
                <a:gd name="connsiteY26" fmla="*/ 126754 h 152892"/>
                <a:gd name="connsiteX27" fmla="*/ 95574 w 221050"/>
                <a:gd name="connsiteY27" fmla="*/ 106604 h 152892"/>
                <a:gd name="connsiteX28" fmla="*/ 95574 w 221050"/>
                <a:gd name="connsiteY28" fmla="*/ 85467 h 152892"/>
                <a:gd name="connsiteX29" fmla="*/ 115113 w 221050"/>
                <a:gd name="connsiteY29" fmla="*/ 105023 h 152892"/>
                <a:gd name="connsiteX30" fmla="*/ 115113 w 221050"/>
                <a:gd name="connsiteY30" fmla="*/ 127685 h 152892"/>
                <a:gd name="connsiteX31" fmla="*/ 139546 w 221050"/>
                <a:gd name="connsiteY31" fmla="*/ 152085 h 152892"/>
                <a:gd name="connsiteX32" fmla="*/ 139624 w 221050"/>
                <a:gd name="connsiteY32" fmla="*/ 152007 h 152892"/>
                <a:gd name="connsiteX33" fmla="*/ 164841 w 221050"/>
                <a:gd name="connsiteY33" fmla="*/ 152007 h 152892"/>
                <a:gd name="connsiteX34" fmla="*/ 183816 w 221050"/>
                <a:gd name="connsiteY34" fmla="*/ 133039 h 152892"/>
                <a:gd name="connsiteX35" fmla="*/ 210440 w 221050"/>
                <a:gd name="connsiteY35" fmla="*/ 133039 h 152892"/>
                <a:gd name="connsiteX36" fmla="*/ 221050 w 221050"/>
                <a:gd name="connsiteY36" fmla="*/ 143641 h 152892"/>
                <a:gd name="connsiteX37" fmla="*/ 221050 w 221050"/>
                <a:gd name="connsiteY37" fmla="*/ 120905 h 152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1050" h="152892">
                  <a:moveTo>
                    <a:pt x="199386" y="99256"/>
                  </a:moveTo>
                  <a:lnTo>
                    <a:pt x="199386" y="75004"/>
                  </a:lnTo>
                  <a:lnTo>
                    <a:pt x="181796" y="57407"/>
                  </a:lnTo>
                  <a:lnTo>
                    <a:pt x="151168" y="57407"/>
                  </a:lnTo>
                  <a:lnTo>
                    <a:pt x="137177" y="71398"/>
                  </a:lnTo>
                  <a:lnTo>
                    <a:pt x="117339" y="51559"/>
                  </a:lnTo>
                  <a:lnTo>
                    <a:pt x="102398" y="66499"/>
                  </a:lnTo>
                  <a:lnTo>
                    <a:pt x="96151" y="60251"/>
                  </a:lnTo>
                  <a:lnTo>
                    <a:pt x="57532" y="60251"/>
                  </a:lnTo>
                  <a:lnTo>
                    <a:pt x="57532" y="47993"/>
                  </a:lnTo>
                  <a:lnTo>
                    <a:pt x="68208" y="37318"/>
                  </a:lnTo>
                  <a:lnTo>
                    <a:pt x="95888" y="37318"/>
                  </a:lnTo>
                  <a:lnTo>
                    <a:pt x="102800" y="30404"/>
                  </a:lnTo>
                  <a:lnTo>
                    <a:pt x="100896" y="30404"/>
                  </a:lnTo>
                  <a:lnTo>
                    <a:pt x="88635" y="18143"/>
                  </a:lnTo>
                  <a:lnTo>
                    <a:pt x="98358" y="8419"/>
                  </a:lnTo>
                  <a:lnTo>
                    <a:pt x="89939" y="0"/>
                  </a:lnTo>
                  <a:lnTo>
                    <a:pt x="80334" y="0"/>
                  </a:lnTo>
                  <a:lnTo>
                    <a:pt x="26352" y="53982"/>
                  </a:lnTo>
                  <a:lnTo>
                    <a:pt x="4547" y="53982"/>
                  </a:lnTo>
                  <a:lnTo>
                    <a:pt x="4547" y="67154"/>
                  </a:lnTo>
                  <a:lnTo>
                    <a:pt x="4547" y="98573"/>
                  </a:lnTo>
                  <a:lnTo>
                    <a:pt x="19869" y="113895"/>
                  </a:lnTo>
                  <a:lnTo>
                    <a:pt x="0" y="133764"/>
                  </a:lnTo>
                  <a:lnTo>
                    <a:pt x="0" y="152892"/>
                  </a:lnTo>
                  <a:lnTo>
                    <a:pt x="49311" y="152892"/>
                  </a:lnTo>
                  <a:lnTo>
                    <a:pt x="75425" y="126754"/>
                  </a:lnTo>
                  <a:lnTo>
                    <a:pt x="95574" y="106604"/>
                  </a:lnTo>
                  <a:lnTo>
                    <a:pt x="95574" y="85467"/>
                  </a:lnTo>
                  <a:lnTo>
                    <a:pt x="115113" y="105023"/>
                  </a:lnTo>
                  <a:lnTo>
                    <a:pt x="115113" y="127685"/>
                  </a:lnTo>
                  <a:lnTo>
                    <a:pt x="139546" y="152085"/>
                  </a:lnTo>
                  <a:lnTo>
                    <a:pt x="139624" y="152007"/>
                  </a:lnTo>
                  <a:lnTo>
                    <a:pt x="164841" y="152007"/>
                  </a:lnTo>
                  <a:lnTo>
                    <a:pt x="183816" y="133039"/>
                  </a:lnTo>
                  <a:lnTo>
                    <a:pt x="210440" y="133039"/>
                  </a:lnTo>
                  <a:lnTo>
                    <a:pt x="221050" y="143641"/>
                  </a:lnTo>
                  <a:lnTo>
                    <a:pt x="221050" y="120905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8" name="Freeform: Shape 717">
              <a:extLst>
                <a:ext uri="{FF2B5EF4-FFF2-40B4-BE49-F238E27FC236}">
                  <a16:creationId xmlns:a16="http://schemas.microsoft.com/office/drawing/2014/main" id="{551A689D-E686-908B-388C-708C720B5020}"/>
                </a:ext>
              </a:extLst>
            </p:cNvPr>
            <p:cNvSpPr/>
            <p:nvPr/>
          </p:nvSpPr>
          <p:spPr>
            <a:xfrm>
              <a:off x="7907902" y="3222349"/>
              <a:ext cx="331040" cy="184055"/>
            </a:xfrm>
            <a:custGeom>
              <a:avLst/>
              <a:gdLst>
                <a:gd name="connsiteX0" fmla="*/ 314005 w 331040"/>
                <a:gd name="connsiteY0" fmla="*/ 21459 h 184055"/>
                <a:gd name="connsiteX1" fmla="*/ 259702 w 331040"/>
                <a:gd name="connsiteY1" fmla="*/ 21459 h 184055"/>
                <a:gd name="connsiteX2" fmla="*/ 249537 w 331040"/>
                <a:gd name="connsiteY2" fmla="*/ 11269 h 184055"/>
                <a:gd name="connsiteX3" fmla="*/ 190983 w 331040"/>
                <a:gd name="connsiteY3" fmla="*/ 11269 h 184055"/>
                <a:gd name="connsiteX4" fmla="*/ 179698 w 331040"/>
                <a:gd name="connsiteY4" fmla="*/ 0 h 184055"/>
                <a:gd name="connsiteX5" fmla="*/ 155495 w 331040"/>
                <a:gd name="connsiteY5" fmla="*/ 0 h 184055"/>
                <a:gd name="connsiteX6" fmla="*/ 129150 w 331040"/>
                <a:gd name="connsiteY6" fmla="*/ 26335 h 184055"/>
                <a:gd name="connsiteX7" fmla="*/ 102015 w 331040"/>
                <a:gd name="connsiteY7" fmla="*/ 26335 h 184055"/>
                <a:gd name="connsiteX8" fmla="*/ 79955 w 331040"/>
                <a:gd name="connsiteY8" fmla="*/ 26335 h 184055"/>
                <a:gd name="connsiteX9" fmla="*/ 62689 w 331040"/>
                <a:gd name="connsiteY9" fmla="*/ 43643 h 184055"/>
                <a:gd name="connsiteX10" fmla="*/ 42440 w 331040"/>
                <a:gd name="connsiteY10" fmla="*/ 43643 h 184055"/>
                <a:gd name="connsiteX11" fmla="*/ 36408 w 331040"/>
                <a:gd name="connsiteY11" fmla="*/ 49673 h 184055"/>
                <a:gd name="connsiteX12" fmla="*/ 49427 w 331040"/>
                <a:gd name="connsiteY12" fmla="*/ 49673 h 184055"/>
                <a:gd name="connsiteX13" fmla="*/ 20463 w 331040"/>
                <a:gd name="connsiteY13" fmla="*/ 78636 h 184055"/>
                <a:gd name="connsiteX14" fmla="*/ 20463 w 331040"/>
                <a:gd name="connsiteY14" fmla="*/ 88555 h 184055"/>
                <a:gd name="connsiteX15" fmla="*/ 32572 w 331040"/>
                <a:gd name="connsiteY15" fmla="*/ 100664 h 184055"/>
                <a:gd name="connsiteX16" fmla="*/ 61020 w 331040"/>
                <a:gd name="connsiteY16" fmla="*/ 100664 h 184055"/>
                <a:gd name="connsiteX17" fmla="*/ 69305 w 331040"/>
                <a:gd name="connsiteY17" fmla="*/ 92379 h 184055"/>
                <a:gd name="connsiteX18" fmla="*/ 89350 w 331040"/>
                <a:gd name="connsiteY18" fmla="*/ 112424 h 184055"/>
                <a:gd name="connsiteX19" fmla="*/ 113220 w 331040"/>
                <a:gd name="connsiteY19" fmla="*/ 112424 h 184055"/>
                <a:gd name="connsiteX20" fmla="*/ 84977 w 331040"/>
                <a:gd name="connsiteY20" fmla="*/ 140667 h 184055"/>
                <a:gd name="connsiteX21" fmla="*/ 82581 w 331040"/>
                <a:gd name="connsiteY21" fmla="*/ 143062 h 184055"/>
                <a:gd name="connsiteX22" fmla="*/ 45268 w 331040"/>
                <a:gd name="connsiteY22" fmla="*/ 143062 h 184055"/>
                <a:gd name="connsiteX23" fmla="*/ 38355 w 331040"/>
                <a:gd name="connsiteY23" fmla="*/ 149976 h 184055"/>
                <a:gd name="connsiteX24" fmla="*/ 10676 w 331040"/>
                <a:gd name="connsiteY24" fmla="*/ 149976 h 184055"/>
                <a:gd name="connsiteX25" fmla="*/ 0 w 331040"/>
                <a:gd name="connsiteY25" fmla="*/ 160652 h 184055"/>
                <a:gd name="connsiteX26" fmla="*/ 0 w 331040"/>
                <a:gd name="connsiteY26" fmla="*/ 172909 h 184055"/>
                <a:gd name="connsiteX27" fmla="*/ 38618 w 331040"/>
                <a:gd name="connsiteY27" fmla="*/ 172909 h 184055"/>
                <a:gd name="connsiteX28" fmla="*/ 44866 w 331040"/>
                <a:gd name="connsiteY28" fmla="*/ 179157 h 184055"/>
                <a:gd name="connsiteX29" fmla="*/ 59806 w 331040"/>
                <a:gd name="connsiteY29" fmla="*/ 164217 h 184055"/>
                <a:gd name="connsiteX30" fmla="*/ 79645 w 331040"/>
                <a:gd name="connsiteY30" fmla="*/ 184056 h 184055"/>
                <a:gd name="connsiteX31" fmla="*/ 93636 w 331040"/>
                <a:gd name="connsiteY31" fmla="*/ 170065 h 184055"/>
                <a:gd name="connsiteX32" fmla="*/ 124264 w 331040"/>
                <a:gd name="connsiteY32" fmla="*/ 170065 h 184055"/>
                <a:gd name="connsiteX33" fmla="*/ 128948 w 331040"/>
                <a:gd name="connsiteY33" fmla="*/ 170065 h 184055"/>
                <a:gd name="connsiteX34" fmla="*/ 169702 w 331040"/>
                <a:gd name="connsiteY34" fmla="*/ 129310 h 184055"/>
                <a:gd name="connsiteX35" fmla="*/ 185887 w 331040"/>
                <a:gd name="connsiteY35" fmla="*/ 129310 h 184055"/>
                <a:gd name="connsiteX36" fmla="*/ 185887 w 331040"/>
                <a:gd name="connsiteY36" fmla="*/ 137761 h 184055"/>
                <a:gd name="connsiteX37" fmla="*/ 212951 w 331040"/>
                <a:gd name="connsiteY37" fmla="*/ 137761 h 184055"/>
                <a:gd name="connsiteX38" fmla="*/ 212951 w 331040"/>
                <a:gd name="connsiteY38" fmla="*/ 123533 h 184055"/>
                <a:gd name="connsiteX39" fmla="*/ 219766 w 331040"/>
                <a:gd name="connsiteY39" fmla="*/ 123533 h 184055"/>
                <a:gd name="connsiteX40" fmla="*/ 252173 w 331040"/>
                <a:gd name="connsiteY40" fmla="*/ 91141 h 184055"/>
                <a:gd name="connsiteX41" fmla="*/ 283263 w 331040"/>
                <a:gd name="connsiteY41" fmla="*/ 91141 h 184055"/>
                <a:gd name="connsiteX42" fmla="*/ 298617 w 331040"/>
                <a:gd name="connsiteY42" fmla="*/ 75819 h 184055"/>
                <a:gd name="connsiteX43" fmla="*/ 331041 w 331040"/>
                <a:gd name="connsiteY43" fmla="*/ 75819 h 184055"/>
                <a:gd name="connsiteX44" fmla="*/ 331041 w 331040"/>
                <a:gd name="connsiteY44" fmla="*/ 38453 h 184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331040" h="184055">
                  <a:moveTo>
                    <a:pt x="314005" y="21459"/>
                  </a:moveTo>
                  <a:lnTo>
                    <a:pt x="259702" y="21459"/>
                  </a:lnTo>
                  <a:lnTo>
                    <a:pt x="249537" y="11269"/>
                  </a:lnTo>
                  <a:lnTo>
                    <a:pt x="190983" y="11269"/>
                  </a:lnTo>
                  <a:lnTo>
                    <a:pt x="179698" y="0"/>
                  </a:lnTo>
                  <a:lnTo>
                    <a:pt x="155495" y="0"/>
                  </a:lnTo>
                  <a:lnTo>
                    <a:pt x="129150" y="26335"/>
                  </a:lnTo>
                  <a:lnTo>
                    <a:pt x="102015" y="26335"/>
                  </a:lnTo>
                  <a:lnTo>
                    <a:pt x="79955" y="26335"/>
                  </a:lnTo>
                  <a:lnTo>
                    <a:pt x="62689" y="43643"/>
                  </a:lnTo>
                  <a:lnTo>
                    <a:pt x="42440" y="43643"/>
                  </a:lnTo>
                  <a:lnTo>
                    <a:pt x="36408" y="49673"/>
                  </a:lnTo>
                  <a:lnTo>
                    <a:pt x="49427" y="49673"/>
                  </a:lnTo>
                  <a:lnTo>
                    <a:pt x="20463" y="78636"/>
                  </a:lnTo>
                  <a:lnTo>
                    <a:pt x="20463" y="88555"/>
                  </a:lnTo>
                  <a:lnTo>
                    <a:pt x="32572" y="100664"/>
                  </a:lnTo>
                  <a:lnTo>
                    <a:pt x="61020" y="100664"/>
                  </a:lnTo>
                  <a:lnTo>
                    <a:pt x="69305" y="92379"/>
                  </a:lnTo>
                  <a:lnTo>
                    <a:pt x="89350" y="112424"/>
                  </a:lnTo>
                  <a:lnTo>
                    <a:pt x="113220" y="112424"/>
                  </a:lnTo>
                  <a:lnTo>
                    <a:pt x="84977" y="140667"/>
                  </a:lnTo>
                  <a:lnTo>
                    <a:pt x="82581" y="143062"/>
                  </a:lnTo>
                  <a:lnTo>
                    <a:pt x="45268" y="143062"/>
                  </a:lnTo>
                  <a:lnTo>
                    <a:pt x="38355" y="149976"/>
                  </a:lnTo>
                  <a:lnTo>
                    <a:pt x="10676" y="149976"/>
                  </a:lnTo>
                  <a:lnTo>
                    <a:pt x="0" y="160652"/>
                  </a:lnTo>
                  <a:lnTo>
                    <a:pt x="0" y="172909"/>
                  </a:lnTo>
                  <a:lnTo>
                    <a:pt x="38618" y="172909"/>
                  </a:lnTo>
                  <a:lnTo>
                    <a:pt x="44866" y="179157"/>
                  </a:lnTo>
                  <a:lnTo>
                    <a:pt x="59806" y="164217"/>
                  </a:lnTo>
                  <a:lnTo>
                    <a:pt x="79645" y="184056"/>
                  </a:lnTo>
                  <a:lnTo>
                    <a:pt x="93636" y="170065"/>
                  </a:lnTo>
                  <a:lnTo>
                    <a:pt x="124264" y="170065"/>
                  </a:lnTo>
                  <a:lnTo>
                    <a:pt x="128948" y="170065"/>
                  </a:lnTo>
                  <a:lnTo>
                    <a:pt x="169702" y="129310"/>
                  </a:lnTo>
                  <a:lnTo>
                    <a:pt x="185887" y="129310"/>
                  </a:lnTo>
                  <a:lnTo>
                    <a:pt x="185887" y="137761"/>
                  </a:lnTo>
                  <a:lnTo>
                    <a:pt x="212951" y="137761"/>
                  </a:lnTo>
                  <a:lnTo>
                    <a:pt x="212951" y="123533"/>
                  </a:lnTo>
                  <a:lnTo>
                    <a:pt x="219766" y="123533"/>
                  </a:lnTo>
                  <a:lnTo>
                    <a:pt x="252173" y="91141"/>
                  </a:lnTo>
                  <a:lnTo>
                    <a:pt x="283263" y="91141"/>
                  </a:lnTo>
                  <a:lnTo>
                    <a:pt x="298617" y="75819"/>
                  </a:lnTo>
                  <a:lnTo>
                    <a:pt x="331041" y="75819"/>
                  </a:lnTo>
                  <a:lnTo>
                    <a:pt x="331041" y="38453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9" name="Freeform: Shape 718">
              <a:extLst>
                <a:ext uri="{FF2B5EF4-FFF2-40B4-BE49-F238E27FC236}">
                  <a16:creationId xmlns:a16="http://schemas.microsoft.com/office/drawing/2014/main" id="{C40553E8-0505-383C-2B2F-43AC88F8CDE7}"/>
                </a:ext>
              </a:extLst>
            </p:cNvPr>
            <p:cNvSpPr/>
            <p:nvPr/>
          </p:nvSpPr>
          <p:spPr>
            <a:xfrm>
              <a:off x="7511206" y="3138439"/>
              <a:ext cx="509915" cy="330332"/>
            </a:xfrm>
            <a:custGeom>
              <a:avLst/>
              <a:gdLst>
                <a:gd name="connsiteX0" fmla="*/ 486047 w 509915"/>
                <a:gd name="connsiteY0" fmla="*/ 196334 h 330332"/>
                <a:gd name="connsiteX1" fmla="*/ 466002 w 509915"/>
                <a:gd name="connsiteY1" fmla="*/ 176289 h 330332"/>
                <a:gd name="connsiteX2" fmla="*/ 457717 w 509915"/>
                <a:gd name="connsiteY2" fmla="*/ 184574 h 330332"/>
                <a:gd name="connsiteX3" fmla="*/ 429268 w 509915"/>
                <a:gd name="connsiteY3" fmla="*/ 184574 h 330332"/>
                <a:gd name="connsiteX4" fmla="*/ 417159 w 509915"/>
                <a:gd name="connsiteY4" fmla="*/ 172465 h 330332"/>
                <a:gd name="connsiteX5" fmla="*/ 417159 w 509915"/>
                <a:gd name="connsiteY5" fmla="*/ 162546 h 330332"/>
                <a:gd name="connsiteX6" fmla="*/ 446123 w 509915"/>
                <a:gd name="connsiteY6" fmla="*/ 133583 h 330332"/>
                <a:gd name="connsiteX7" fmla="*/ 433104 w 509915"/>
                <a:gd name="connsiteY7" fmla="*/ 133583 h 330332"/>
                <a:gd name="connsiteX8" fmla="*/ 429646 w 509915"/>
                <a:gd name="connsiteY8" fmla="*/ 133583 h 330332"/>
                <a:gd name="connsiteX9" fmla="*/ 366019 w 509915"/>
                <a:gd name="connsiteY9" fmla="*/ 197211 h 330332"/>
                <a:gd name="connsiteX10" fmla="*/ 343711 w 509915"/>
                <a:gd name="connsiteY10" fmla="*/ 197211 h 330332"/>
                <a:gd name="connsiteX11" fmla="*/ 314550 w 509915"/>
                <a:gd name="connsiteY11" fmla="*/ 168099 h 330332"/>
                <a:gd name="connsiteX12" fmla="*/ 314550 w 509915"/>
                <a:gd name="connsiteY12" fmla="*/ 143320 h 330332"/>
                <a:gd name="connsiteX13" fmla="*/ 298816 w 509915"/>
                <a:gd name="connsiteY13" fmla="*/ 127553 h 330332"/>
                <a:gd name="connsiteX14" fmla="*/ 298816 w 509915"/>
                <a:gd name="connsiteY14" fmla="*/ 90862 h 330332"/>
                <a:gd name="connsiteX15" fmla="*/ 275453 w 509915"/>
                <a:gd name="connsiteY15" fmla="*/ 67459 h 330332"/>
                <a:gd name="connsiteX16" fmla="*/ 211430 w 509915"/>
                <a:gd name="connsiteY16" fmla="*/ 67459 h 330332"/>
                <a:gd name="connsiteX17" fmla="*/ 191099 w 509915"/>
                <a:gd name="connsiteY17" fmla="*/ 87765 h 330332"/>
                <a:gd name="connsiteX18" fmla="*/ 133534 w 509915"/>
                <a:gd name="connsiteY18" fmla="*/ 30167 h 330332"/>
                <a:gd name="connsiteX19" fmla="*/ 103351 w 509915"/>
                <a:gd name="connsiteY19" fmla="*/ 0 h 330332"/>
                <a:gd name="connsiteX20" fmla="*/ 54369 w 509915"/>
                <a:gd name="connsiteY20" fmla="*/ 0 h 330332"/>
                <a:gd name="connsiteX21" fmla="*/ 19607 w 509915"/>
                <a:gd name="connsiteY21" fmla="*/ 34763 h 330332"/>
                <a:gd name="connsiteX22" fmla="*/ 0 w 509915"/>
                <a:gd name="connsiteY22" fmla="*/ 54386 h 330332"/>
                <a:gd name="connsiteX23" fmla="*/ 0 w 509915"/>
                <a:gd name="connsiteY23" fmla="*/ 140692 h 330332"/>
                <a:gd name="connsiteX24" fmla="*/ 0 w 509915"/>
                <a:gd name="connsiteY24" fmla="*/ 172078 h 330332"/>
                <a:gd name="connsiteX25" fmla="*/ 19689 w 509915"/>
                <a:gd name="connsiteY25" fmla="*/ 172078 h 330332"/>
                <a:gd name="connsiteX26" fmla="*/ 19689 w 509915"/>
                <a:gd name="connsiteY26" fmla="*/ 147570 h 330332"/>
                <a:gd name="connsiteX27" fmla="*/ 39213 w 509915"/>
                <a:gd name="connsiteY27" fmla="*/ 128039 h 330332"/>
                <a:gd name="connsiteX28" fmla="*/ 53084 w 509915"/>
                <a:gd name="connsiteY28" fmla="*/ 128039 h 330332"/>
                <a:gd name="connsiteX29" fmla="*/ 53084 w 509915"/>
                <a:gd name="connsiteY29" fmla="*/ 109042 h 330332"/>
                <a:gd name="connsiteX30" fmla="*/ 82707 w 509915"/>
                <a:gd name="connsiteY30" fmla="*/ 109042 h 330332"/>
                <a:gd name="connsiteX31" fmla="*/ 102016 w 509915"/>
                <a:gd name="connsiteY31" fmla="*/ 128376 h 330332"/>
                <a:gd name="connsiteX32" fmla="*/ 126993 w 509915"/>
                <a:gd name="connsiteY32" fmla="*/ 128376 h 330332"/>
                <a:gd name="connsiteX33" fmla="*/ 153683 w 509915"/>
                <a:gd name="connsiteY33" fmla="*/ 155058 h 330332"/>
                <a:gd name="connsiteX34" fmla="*/ 153683 w 509915"/>
                <a:gd name="connsiteY34" fmla="*/ 178651 h 330332"/>
                <a:gd name="connsiteX35" fmla="*/ 172499 w 509915"/>
                <a:gd name="connsiteY35" fmla="*/ 178651 h 330332"/>
                <a:gd name="connsiteX36" fmla="*/ 172499 w 509915"/>
                <a:gd name="connsiteY36" fmla="*/ 231019 h 330332"/>
                <a:gd name="connsiteX37" fmla="*/ 195234 w 509915"/>
                <a:gd name="connsiteY37" fmla="*/ 253754 h 330332"/>
                <a:gd name="connsiteX38" fmla="*/ 221891 w 509915"/>
                <a:gd name="connsiteY38" fmla="*/ 253754 h 330332"/>
                <a:gd name="connsiteX39" fmla="*/ 241119 w 509915"/>
                <a:gd name="connsiteY39" fmla="*/ 272957 h 330332"/>
                <a:gd name="connsiteX40" fmla="*/ 241119 w 509915"/>
                <a:gd name="connsiteY40" fmla="*/ 293494 h 330332"/>
                <a:gd name="connsiteX41" fmla="*/ 274679 w 509915"/>
                <a:gd name="connsiteY41" fmla="*/ 327070 h 330332"/>
                <a:gd name="connsiteX42" fmla="*/ 339164 w 509915"/>
                <a:gd name="connsiteY42" fmla="*/ 330332 h 330332"/>
                <a:gd name="connsiteX43" fmla="*/ 359033 w 509915"/>
                <a:gd name="connsiteY43" fmla="*/ 310463 h 330332"/>
                <a:gd name="connsiteX44" fmla="*/ 343711 w 509915"/>
                <a:gd name="connsiteY44" fmla="*/ 295141 h 330332"/>
                <a:gd name="connsiteX45" fmla="*/ 343711 w 509915"/>
                <a:gd name="connsiteY45" fmla="*/ 263723 h 330332"/>
                <a:gd name="connsiteX46" fmla="*/ 343711 w 509915"/>
                <a:gd name="connsiteY46" fmla="*/ 250550 h 330332"/>
                <a:gd name="connsiteX47" fmla="*/ 365516 w 509915"/>
                <a:gd name="connsiteY47" fmla="*/ 250550 h 330332"/>
                <a:gd name="connsiteX48" fmla="*/ 419498 w 509915"/>
                <a:gd name="connsiteY48" fmla="*/ 196568 h 330332"/>
                <a:gd name="connsiteX49" fmla="*/ 429103 w 509915"/>
                <a:gd name="connsiteY49" fmla="*/ 196568 h 330332"/>
                <a:gd name="connsiteX50" fmla="*/ 437522 w 509915"/>
                <a:gd name="connsiteY50" fmla="*/ 204988 h 330332"/>
                <a:gd name="connsiteX51" fmla="*/ 427799 w 509915"/>
                <a:gd name="connsiteY51" fmla="*/ 214711 h 330332"/>
                <a:gd name="connsiteX52" fmla="*/ 440059 w 509915"/>
                <a:gd name="connsiteY52" fmla="*/ 226972 h 330332"/>
                <a:gd name="connsiteX53" fmla="*/ 441964 w 509915"/>
                <a:gd name="connsiteY53" fmla="*/ 226972 h 330332"/>
                <a:gd name="connsiteX54" fmla="*/ 479277 w 509915"/>
                <a:gd name="connsiteY54" fmla="*/ 226972 h 330332"/>
                <a:gd name="connsiteX55" fmla="*/ 481673 w 509915"/>
                <a:gd name="connsiteY55" fmla="*/ 224576 h 330332"/>
                <a:gd name="connsiteX56" fmla="*/ 509916 w 509915"/>
                <a:gd name="connsiteY56" fmla="*/ 196334 h 33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509915" h="330332">
                  <a:moveTo>
                    <a:pt x="486047" y="196334"/>
                  </a:moveTo>
                  <a:lnTo>
                    <a:pt x="466002" y="176289"/>
                  </a:lnTo>
                  <a:lnTo>
                    <a:pt x="457717" y="184574"/>
                  </a:lnTo>
                  <a:lnTo>
                    <a:pt x="429268" y="184574"/>
                  </a:lnTo>
                  <a:lnTo>
                    <a:pt x="417159" y="172465"/>
                  </a:lnTo>
                  <a:lnTo>
                    <a:pt x="417159" y="162546"/>
                  </a:lnTo>
                  <a:lnTo>
                    <a:pt x="446123" y="133583"/>
                  </a:lnTo>
                  <a:lnTo>
                    <a:pt x="433104" y="133583"/>
                  </a:lnTo>
                  <a:lnTo>
                    <a:pt x="429646" y="133583"/>
                  </a:lnTo>
                  <a:lnTo>
                    <a:pt x="366019" y="197211"/>
                  </a:lnTo>
                  <a:lnTo>
                    <a:pt x="343711" y="197211"/>
                  </a:lnTo>
                  <a:lnTo>
                    <a:pt x="314550" y="168099"/>
                  </a:lnTo>
                  <a:lnTo>
                    <a:pt x="314550" y="143320"/>
                  </a:lnTo>
                  <a:lnTo>
                    <a:pt x="298816" y="127553"/>
                  </a:lnTo>
                  <a:lnTo>
                    <a:pt x="298816" y="90862"/>
                  </a:lnTo>
                  <a:lnTo>
                    <a:pt x="275453" y="67459"/>
                  </a:lnTo>
                  <a:lnTo>
                    <a:pt x="211430" y="67459"/>
                  </a:lnTo>
                  <a:lnTo>
                    <a:pt x="191099" y="87765"/>
                  </a:lnTo>
                  <a:lnTo>
                    <a:pt x="133534" y="30167"/>
                  </a:lnTo>
                  <a:lnTo>
                    <a:pt x="103351" y="0"/>
                  </a:lnTo>
                  <a:lnTo>
                    <a:pt x="54369" y="0"/>
                  </a:lnTo>
                  <a:lnTo>
                    <a:pt x="19607" y="34763"/>
                  </a:lnTo>
                  <a:lnTo>
                    <a:pt x="0" y="54386"/>
                  </a:lnTo>
                  <a:lnTo>
                    <a:pt x="0" y="140692"/>
                  </a:lnTo>
                  <a:lnTo>
                    <a:pt x="0" y="172078"/>
                  </a:lnTo>
                  <a:lnTo>
                    <a:pt x="19689" y="172078"/>
                  </a:lnTo>
                  <a:lnTo>
                    <a:pt x="19689" y="147570"/>
                  </a:lnTo>
                  <a:lnTo>
                    <a:pt x="39213" y="128039"/>
                  </a:lnTo>
                  <a:lnTo>
                    <a:pt x="53084" y="128039"/>
                  </a:lnTo>
                  <a:lnTo>
                    <a:pt x="53084" y="109042"/>
                  </a:lnTo>
                  <a:lnTo>
                    <a:pt x="82707" y="109042"/>
                  </a:lnTo>
                  <a:lnTo>
                    <a:pt x="102016" y="128376"/>
                  </a:lnTo>
                  <a:lnTo>
                    <a:pt x="126993" y="128376"/>
                  </a:lnTo>
                  <a:lnTo>
                    <a:pt x="153683" y="155058"/>
                  </a:lnTo>
                  <a:lnTo>
                    <a:pt x="153683" y="178651"/>
                  </a:lnTo>
                  <a:lnTo>
                    <a:pt x="172499" y="178651"/>
                  </a:lnTo>
                  <a:lnTo>
                    <a:pt x="172499" y="231019"/>
                  </a:lnTo>
                  <a:lnTo>
                    <a:pt x="195234" y="253754"/>
                  </a:lnTo>
                  <a:lnTo>
                    <a:pt x="221891" y="253754"/>
                  </a:lnTo>
                  <a:lnTo>
                    <a:pt x="241119" y="272957"/>
                  </a:lnTo>
                  <a:lnTo>
                    <a:pt x="241119" y="293494"/>
                  </a:lnTo>
                  <a:lnTo>
                    <a:pt x="274679" y="327070"/>
                  </a:lnTo>
                  <a:lnTo>
                    <a:pt x="339164" y="330332"/>
                  </a:lnTo>
                  <a:lnTo>
                    <a:pt x="359033" y="310463"/>
                  </a:lnTo>
                  <a:lnTo>
                    <a:pt x="343711" y="295141"/>
                  </a:lnTo>
                  <a:lnTo>
                    <a:pt x="343711" y="263723"/>
                  </a:lnTo>
                  <a:lnTo>
                    <a:pt x="343711" y="250550"/>
                  </a:lnTo>
                  <a:lnTo>
                    <a:pt x="365516" y="250550"/>
                  </a:lnTo>
                  <a:lnTo>
                    <a:pt x="419498" y="196568"/>
                  </a:lnTo>
                  <a:lnTo>
                    <a:pt x="429103" y="196568"/>
                  </a:lnTo>
                  <a:lnTo>
                    <a:pt x="437522" y="204988"/>
                  </a:lnTo>
                  <a:lnTo>
                    <a:pt x="427799" y="214711"/>
                  </a:lnTo>
                  <a:lnTo>
                    <a:pt x="440059" y="226972"/>
                  </a:lnTo>
                  <a:lnTo>
                    <a:pt x="441964" y="226972"/>
                  </a:lnTo>
                  <a:lnTo>
                    <a:pt x="479277" y="226972"/>
                  </a:lnTo>
                  <a:lnTo>
                    <a:pt x="481673" y="224576"/>
                  </a:lnTo>
                  <a:lnTo>
                    <a:pt x="509916" y="196334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0" name="Freeform: Shape 719">
              <a:extLst>
                <a:ext uri="{FF2B5EF4-FFF2-40B4-BE49-F238E27FC236}">
                  <a16:creationId xmlns:a16="http://schemas.microsoft.com/office/drawing/2014/main" id="{D7FD9EB9-FBA7-1E83-E95E-994071E82A9F}"/>
                </a:ext>
              </a:extLst>
            </p:cNvPr>
            <p:cNvSpPr/>
            <p:nvPr/>
          </p:nvSpPr>
          <p:spPr>
            <a:xfrm>
              <a:off x="9661400" y="3419951"/>
              <a:ext cx="99808" cy="145102"/>
            </a:xfrm>
            <a:custGeom>
              <a:avLst/>
              <a:gdLst>
                <a:gd name="connsiteX0" fmla="*/ 22884 w 99808"/>
                <a:gd name="connsiteY0" fmla="*/ 52947 h 145102"/>
                <a:gd name="connsiteX1" fmla="*/ 0 w 99808"/>
                <a:gd name="connsiteY1" fmla="*/ 75807 h 145102"/>
                <a:gd name="connsiteX2" fmla="*/ 0 w 99808"/>
                <a:gd name="connsiteY2" fmla="*/ 145103 h 145102"/>
                <a:gd name="connsiteX3" fmla="*/ 99808 w 99808"/>
                <a:gd name="connsiteY3" fmla="*/ 145103 h 145102"/>
                <a:gd name="connsiteX4" fmla="*/ 99808 w 99808"/>
                <a:gd name="connsiteY4" fmla="*/ 32378 h 145102"/>
                <a:gd name="connsiteX5" fmla="*/ 67430 w 99808"/>
                <a:gd name="connsiteY5" fmla="*/ 0 h 145102"/>
                <a:gd name="connsiteX6" fmla="*/ 67421 w 99808"/>
                <a:gd name="connsiteY6" fmla="*/ 14675 h 145102"/>
                <a:gd name="connsiteX7" fmla="*/ 33231 w 99808"/>
                <a:gd name="connsiteY7" fmla="*/ 14675 h 145102"/>
                <a:gd name="connsiteX8" fmla="*/ 11422 w 99808"/>
                <a:gd name="connsiteY8" fmla="*/ 41485 h 145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808" h="145102">
                  <a:moveTo>
                    <a:pt x="22884" y="52947"/>
                  </a:moveTo>
                  <a:lnTo>
                    <a:pt x="0" y="75807"/>
                  </a:lnTo>
                  <a:lnTo>
                    <a:pt x="0" y="145103"/>
                  </a:lnTo>
                  <a:lnTo>
                    <a:pt x="99808" y="145103"/>
                  </a:lnTo>
                  <a:lnTo>
                    <a:pt x="99808" y="32378"/>
                  </a:lnTo>
                  <a:lnTo>
                    <a:pt x="67430" y="0"/>
                  </a:lnTo>
                  <a:lnTo>
                    <a:pt x="67421" y="14675"/>
                  </a:lnTo>
                  <a:lnTo>
                    <a:pt x="33231" y="14675"/>
                  </a:lnTo>
                  <a:lnTo>
                    <a:pt x="11422" y="41485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1" name="Freeform: Shape 720">
              <a:extLst>
                <a:ext uri="{FF2B5EF4-FFF2-40B4-BE49-F238E27FC236}">
                  <a16:creationId xmlns:a16="http://schemas.microsoft.com/office/drawing/2014/main" id="{7920E5EC-E133-0DC6-01A7-2954906EB213}"/>
                </a:ext>
              </a:extLst>
            </p:cNvPr>
            <p:cNvSpPr/>
            <p:nvPr/>
          </p:nvSpPr>
          <p:spPr>
            <a:xfrm>
              <a:off x="9605778" y="3247375"/>
              <a:ext cx="195398" cy="214060"/>
            </a:xfrm>
            <a:custGeom>
              <a:avLst/>
              <a:gdLst>
                <a:gd name="connsiteX0" fmla="*/ 150207 w 195398"/>
                <a:gd name="connsiteY0" fmla="*/ 31946 h 214060"/>
                <a:gd name="connsiteX1" fmla="*/ 126202 w 195398"/>
                <a:gd name="connsiteY1" fmla="*/ 31946 h 214060"/>
                <a:gd name="connsiteX2" fmla="*/ 83020 w 195398"/>
                <a:gd name="connsiteY2" fmla="*/ 75136 h 214060"/>
                <a:gd name="connsiteX3" fmla="*/ 60415 w 195398"/>
                <a:gd name="connsiteY3" fmla="*/ 52540 h 214060"/>
                <a:gd name="connsiteX4" fmla="*/ 27728 w 195398"/>
                <a:gd name="connsiteY4" fmla="*/ 85210 h 214060"/>
                <a:gd name="connsiteX5" fmla="*/ 0 w 195398"/>
                <a:gd name="connsiteY5" fmla="*/ 112947 h 214060"/>
                <a:gd name="connsiteX6" fmla="*/ 16887 w 195398"/>
                <a:gd name="connsiteY6" fmla="*/ 129826 h 214060"/>
                <a:gd name="connsiteX7" fmla="*/ 16887 w 195398"/>
                <a:gd name="connsiteY7" fmla="*/ 188520 h 214060"/>
                <a:gd name="connsiteX8" fmla="*/ 34467 w 195398"/>
                <a:gd name="connsiteY8" fmla="*/ 206148 h 214060"/>
                <a:gd name="connsiteX9" fmla="*/ 59130 w 195398"/>
                <a:gd name="connsiteY9" fmla="*/ 206148 h 214060"/>
                <a:gd name="connsiteX10" fmla="*/ 67043 w 195398"/>
                <a:gd name="connsiteY10" fmla="*/ 214061 h 214060"/>
                <a:gd name="connsiteX11" fmla="*/ 88852 w 195398"/>
                <a:gd name="connsiteY11" fmla="*/ 187251 h 214060"/>
                <a:gd name="connsiteX12" fmla="*/ 123042 w 195398"/>
                <a:gd name="connsiteY12" fmla="*/ 187251 h 214060"/>
                <a:gd name="connsiteX13" fmla="*/ 123052 w 195398"/>
                <a:gd name="connsiteY13" fmla="*/ 172576 h 214060"/>
                <a:gd name="connsiteX14" fmla="*/ 99067 w 195398"/>
                <a:gd name="connsiteY14" fmla="*/ 148592 h 214060"/>
                <a:gd name="connsiteX15" fmla="*/ 99067 w 195398"/>
                <a:gd name="connsiteY15" fmla="*/ 115731 h 214060"/>
                <a:gd name="connsiteX16" fmla="*/ 151871 w 195398"/>
                <a:gd name="connsiteY16" fmla="*/ 62919 h 214060"/>
                <a:gd name="connsiteX17" fmla="*/ 195399 w 195398"/>
                <a:gd name="connsiteY17" fmla="*/ 19391 h 214060"/>
                <a:gd name="connsiteX18" fmla="*/ 195399 w 195398"/>
                <a:gd name="connsiteY18" fmla="*/ 0 h 214060"/>
                <a:gd name="connsiteX19" fmla="*/ 150207 w 195398"/>
                <a:gd name="connsiteY19" fmla="*/ 0 h 214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5398" h="214060">
                  <a:moveTo>
                    <a:pt x="150207" y="31946"/>
                  </a:moveTo>
                  <a:lnTo>
                    <a:pt x="126202" y="31946"/>
                  </a:lnTo>
                  <a:lnTo>
                    <a:pt x="83020" y="75136"/>
                  </a:lnTo>
                  <a:lnTo>
                    <a:pt x="60415" y="52540"/>
                  </a:lnTo>
                  <a:lnTo>
                    <a:pt x="27728" y="85210"/>
                  </a:lnTo>
                  <a:lnTo>
                    <a:pt x="0" y="112947"/>
                  </a:lnTo>
                  <a:lnTo>
                    <a:pt x="16887" y="129826"/>
                  </a:lnTo>
                  <a:lnTo>
                    <a:pt x="16887" y="188520"/>
                  </a:lnTo>
                  <a:lnTo>
                    <a:pt x="34467" y="206148"/>
                  </a:lnTo>
                  <a:lnTo>
                    <a:pt x="59130" y="206148"/>
                  </a:lnTo>
                  <a:lnTo>
                    <a:pt x="67043" y="214061"/>
                  </a:lnTo>
                  <a:lnTo>
                    <a:pt x="88852" y="187251"/>
                  </a:lnTo>
                  <a:lnTo>
                    <a:pt x="123042" y="187251"/>
                  </a:lnTo>
                  <a:lnTo>
                    <a:pt x="123052" y="172576"/>
                  </a:lnTo>
                  <a:lnTo>
                    <a:pt x="99067" y="148592"/>
                  </a:lnTo>
                  <a:lnTo>
                    <a:pt x="99067" y="115731"/>
                  </a:lnTo>
                  <a:lnTo>
                    <a:pt x="151871" y="62919"/>
                  </a:lnTo>
                  <a:lnTo>
                    <a:pt x="195399" y="19391"/>
                  </a:lnTo>
                  <a:lnTo>
                    <a:pt x="195399" y="0"/>
                  </a:lnTo>
                  <a:lnTo>
                    <a:pt x="150207" y="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2" name="Freeform: Shape 721">
              <a:extLst>
                <a:ext uri="{FF2B5EF4-FFF2-40B4-BE49-F238E27FC236}">
                  <a16:creationId xmlns:a16="http://schemas.microsoft.com/office/drawing/2014/main" id="{9706906B-30F5-BA4D-AB64-D25D5C0B2F11}"/>
                </a:ext>
              </a:extLst>
            </p:cNvPr>
            <p:cNvSpPr/>
            <p:nvPr/>
          </p:nvSpPr>
          <p:spPr>
            <a:xfrm>
              <a:off x="8921414" y="4262648"/>
              <a:ext cx="159803" cy="106503"/>
            </a:xfrm>
            <a:custGeom>
              <a:avLst/>
              <a:gdLst>
                <a:gd name="connsiteX0" fmla="*/ 135667 w 159803"/>
                <a:gd name="connsiteY0" fmla="*/ 67163 h 106503"/>
                <a:gd name="connsiteX1" fmla="*/ 159804 w 159803"/>
                <a:gd name="connsiteY1" fmla="*/ 43001 h 106503"/>
                <a:gd name="connsiteX2" fmla="*/ 145256 w 159803"/>
                <a:gd name="connsiteY2" fmla="*/ 28454 h 106503"/>
                <a:gd name="connsiteX3" fmla="*/ 145256 w 159803"/>
                <a:gd name="connsiteY3" fmla="*/ 0 h 106503"/>
                <a:gd name="connsiteX4" fmla="*/ 120378 w 159803"/>
                <a:gd name="connsiteY4" fmla="*/ 0 h 106503"/>
                <a:gd name="connsiteX5" fmla="*/ 92485 w 159803"/>
                <a:gd name="connsiteY5" fmla="*/ 0 h 106503"/>
                <a:gd name="connsiteX6" fmla="*/ 36617 w 159803"/>
                <a:gd name="connsiteY6" fmla="*/ 0 h 106503"/>
                <a:gd name="connsiteX7" fmla="*/ 0 w 159803"/>
                <a:gd name="connsiteY7" fmla="*/ 36364 h 106503"/>
                <a:gd name="connsiteX8" fmla="*/ 82 w 159803"/>
                <a:gd name="connsiteY8" fmla="*/ 70642 h 106503"/>
                <a:gd name="connsiteX9" fmla="*/ 21657 w 159803"/>
                <a:gd name="connsiteY9" fmla="*/ 92354 h 106503"/>
                <a:gd name="connsiteX10" fmla="*/ 57919 w 159803"/>
                <a:gd name="connsiteY10" fmla="*/ 92354 h 106503"/>
                <a:gd name="connsiteX11" fmla="*/ 72046 w 159803"/>
                <a:gd name="connsiteY11" fmla="*/ 106504 h 106503"/>
                <a:gd name="connsiteX12" fmla="*/ 105472 w 159803"/>
                <a:gd name="connsiteY12" fmla="*/ 67163 h 106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9803" h="106503">
                  <a:moveTo>
                    <a:pt x="135667" y="67163"/>
                  </a:moveTo>
                  <a:lnTo>
                    <a:pt x="159804" y="43001"/>
                  </a:lnTo>
                  <a:lnTo>
                    <a:pt x="145256" y="28454"/>
                  </a:lnTo>
                  <a:lnTo>
                    <a:pt x="145256" y="0"/>
                  </a:lnTo>
                  <a:lnTo>
                    <a:pt x="120378" y="0"/>
                  </a:lnTo>
                  <a:lnTo>
                    <a:pt x="92485" y="0"/>
                  </a:lnTo>
                  <a:lnTo>
                    <a:pt x="36617" y="0"/>
                  </a:lnTo>
                  <a:lnTo>
                    <a:pt x="0" y="36364"/>
                  </a:lnTo>
                  <a:lnTo>
                    <a:pt x="82" y="70642"/>
                  </a:lnTo>
                  <a:lnTo>
                    <a:pt x="21657" y="92354"/>
                  </a:lnTo>
                  <a:lnTo>
                    <a:pt x="57919" y="92354"/>
                  </a:lnTo>
                  <a:lnTo>
                    <a:pt x="72046" y="106504"/>
                  </a:lnTo>
                  <a:lnTo>
                    <a:pt x="105472" y="67163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3" name="Freeform: Shape 722">
              <a:extLst>
                <a:ext uri="{FF2B5EF4-FFF2-40B4-BE49-F238E27FC236}">
                  <a16:creationId xmlns:a16="http://schemas.microsoft.com/office/drawing/2014/main" id="{7491D5A7-5048-C978-6C1D-C14C5C497CC8}"/>
                </a:ext>
              </a:extLst>
            </p:cNvPr>
            <p:cNvSpPr/>
            <p:nvPr/>
          </p:nvSpPr>
          <p:spPr>
            <a:xfrm>
              <a:off x="8922756" y="3991537"/>
              <a:ext cx="207755" cy="444675"/>
            </a:xfrm>
            <a:custGeom>
              <a:avLst/>
              <a:gdLst>
                <a:gd name="connsiteX0" fmla="*/ 172037 w 207755"/>
                <a:gd name="connsiteY0" fmla="*/ 185892 h 444675"/>
                <a:gd name="connsiteX1" fmla="*/ 148114 w 207755"/>
                <a:gd name="connsiteY1" fmla="*/ 185892 h 444675"/>
                <a:gd name="connsiteX2" fmla="*/ 118277 w 207755"/>
                <a:gd name="connsiteY2" fmla="*/ 156047 h 444675"/>
                <a:gd name="connsiteX3" fmla="*/ 88490 w 207755"/>
                <a:gd name="connsiteY3" fmla="*/ 126243 h 444675"/>
                <a:gd name="connsiteX4" fmla="*/ 144432 w 207755"/>
                <a:gd name="connsiteY4" fmla="*/ 70325 h 444675"/>
                <a:gd name="connsiteX5" fmla="*/ 144539 w 207755"/>
                <a:gd name="connsiteY5" fmla="*/ 39278 h 444675"/>
                <a:gd name="connsiteX6" fmla="*/ 130485 w 207755"/>
                <a:gd name="connsiteY6" fmla="*/ 25224 h 444675"/>
                <a:gd name="connsiteX7" fmla="*/ 105262 w 207755"/>
                <a:gd name="connsiteY7" fmla="*/ 0 h 444675"/>
                <a:gd name="connsiteX8" fmla="*/ 46593 w 207755"/>
                <a:gd name="connsiteY8" fmla="*/ 0 h 444675"/>
                <a:gd name="connsiteX9" fmla="*/ 29343 w 207755"/>
                <a:gd name="connsiteY9" fmla="*/ 17241 h 444675"/>
                <a:gd name="connsiteX10" fmla="*/ 0 w 207755"/>
                <a:gd name="connsiteY10" fmla="*/ 17267 h 444675"/>
                <a:gd name="connsiteX11" fmla="*/ 8501 w 207755"/>
                <a:gd name="connsiteY11" fmla="*/ 25759 h 444675"/>
                <a:gd name="connsiteX12" fmla="*/ 8501 w 207755"/>
                <a:gd name="connsiteY12" fmla="*/ 54360 h 444675"/>
                <a:gd name="connsiteX13" fmla="*/ 41832 w 207755"/>
                <a:gd name="connsiteY13" fmla="*/ 54360 h 444675"/>
                <a:gd name="connsiteX14" fmla="*/ 66923 w 207755"/>
                <a:gd name="connsiteY14" fmla="*/ 79478 h 444675"/>
                <a:gd name="connsiteX15" fmla="*/ 44154 w 207755"/>
                <a:gd name="connsiteY15" fmla="*/ 102247 h 444675"/>
                <a:gd name="connsiteX16" fmla="*/ 67385 w 207755"/>
                <a:gd name="connsiteY16" fmla="*/ 125485 h 444675"/>
                <a:gd name="connsiteX17" fmla="*/ 80845 w 207755"/>
                <a:gd name="connsiteY17" fmla="*/ 138937 h 444675"/>
                <a:gd name="connsiteX18" fmla="*/ 80845 w 207755"/>
                <a:gd name="connsiteY18" fmla="*/ 163156 h 444675"/>
                <a:gd name="connsiteX19" fmla="*/ 95986 w 207755"/>
                <a:gd name="connsiteY19" fmla="*/ 178314 h 444675"/>
                <a:gd name="connsiteX20" fmla="*/ 127421 w 207755"/>
                <a:gd name="connsiteY20" fmla="*/ 209749 h 444675"/>
                <a:gd name="connsiteX21" fmla="*/ 127421 w 207755"/>
                <a:gd name="connsiteY21" fmla="*/ 237419 h 444675"/>
                <a:gd name="connsiteX22" fmla="*/ 127421 w 207755"/>
                <a:gd name="connsiteY22" fmla="*/ 271111 h 444675"/>
                <a:gd name="connsiteX23" fmla="*/ 143913 w 207755"/>
                <a:gd name="connsiteY23" fmla="*/ 271111 h 444675"/>
                <a:gd name="connsiteX24" fmla="*/ 143913 w 207755"/>
                <a:gd name="connsiteY24" fmla="*/ 299565 h 444675"/>
                <a:gd name="connsiteX25" fmla="*/ 158461 w 207755"/>
                <a:gd name="connsiteY25" fmla="*/ 314112 h 444675"/>
                <a:gd name="connsiteX26" fmla="*/ 134324 w 207755"/>
                <a:gd name="connsiteY26" fmla="*/ 338274 h 444675"/>
                <a:gd name="connsiteX27" fmla="*/ 104129 w 207755"/>
                <a:gd name="connsiteY27" fmla="*/ 338274 h 444675"/>
                <a:gd name="connsiteX28" fmla="*/ 70703 w 207755"/>
                <a:gd name="connsiteY28" fmla="*/ 377615 h 444675"/>
                <a:gd name="connsiteX29" fmla="*/ 86562 w 207755"/>
                <a:gd name="connsiteY29" fmla="*/ 393499 h 444675"/>
                <a:gd name="connsiteX30" fmla="*/ 86573 w 207755"/>
                <a:gd name="connsiteY30" fmla="*/ 444676 h 444675"/>
                <a:gd name="connsiteX31" fmla="*/ 207755 w 207755"/>
                <a:gd name="connsiteY31" fmla="*/ 323479 h 444675"/>
                <a:gd name="connsiteX32" fmla="*/ 207755 w 207755"/>
                <a:gd name="connsiteY32" fmla="*/ 221587 h 44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7755" h="444675">
                  <a:moveTo>
                    <a:pt x="172037" y="185892"/>
                  </a:moveTo>
                  <a:lnTo>
                    <a:pt x="148114" y="185892"/>
                  </a:lnTo>
                  <a:lnTo>
                    <a:pt x="118277" y="156047"/>
                  </a:lnTo>
                  <a:lnTo>
                    <a:pt x="88490" y="126243"/>
                  </a:lnTo>
                  <a:lnTo>
                    <a:pt x="144432" y="70325"/>
                  </a:lnTo>
                  <a:lnTo>
                    <a:pt x="144539" y="39278"/>
                  </a:lnTo>
                  <a:lnTo>
                    <a:pt x="130485" y="25224"/>
                  </a:lnTo>
                  <a:lnTo>
                    <a:pt x="105262" y="0"/>
                  </a:lnTo>
                  <a:lnTo>
                    <a:pt x="46593" y="0"/>
                  </a:lnTo>
                  <a:lnTo>
                    <a:pt x="29343" y="17241"/>
                  </a:lnTo>
                  <a:lnTo>
                    <a:pt x="0" y="17267"/>
                  </a:lnTo>
                  <a:lnTo>
                    <a:pt x="8501" y="25759"/>
                  </a:lnTo>
                  <a:lnTo>
                    <a:pt x="8501" y="54360"/>
                  </a:lnTo>
                  <a:lnTo>
                    <a:pt x="41832" y="54360"/>
                  </a:lnTo>
                  <a:lnTo>
                    <a:pt x="66923" y="79478"/>
                  </a:lnTo>
                  <a:lnTo>
                    <a:pt x="44154" y="102247"/>
                  </a:lnTo>
                  <a:lnTo>
                    <a:pt x="67385" y="125485"/>
                  </a:lnTo>
                  <a:lnTo>
                    <a:pt x="80845" y="138937"/>
                  </a:lnTo>
                  <a:lnTo>
                    <a:pt x="80845" y="163156"/>
                  </a:lnTo>
                  <a:lnTo>
                    <a:pt x="95986" y="178314"/>
                  </a:lnTo>
                  <a:lnTo>
                    <a:pt x="127421" y="209749"/>
                  </a:lnTo>
                  <a:lnTo>
                    <a:pt x="127421" y="237419"/>
                  </a:lnTo>
                  <a:lnTo>
                    <a:pt x="127421" y="271111"/>
                  </a:lnTo>
                  <a:lnTo>
                    <a:pt x="143913" y="271111"/>
                  </a:lnTo>
                  <a:lnTo>
                    <a:pt x="143913" y="299565"/>
                  </a:lnTo>
                  <a:lnTo>
                    <a:pt x="158461" y="314112"/>
                  </a:lnTo>
                  <a:lnTo>
                    <a:pt x="134324" y="338274"/>
                  </a:lnTo>
                  <a:lnTo>
                    <a:pt x="104129" y="338274"/>
                  </a:lnTo>
                  <a:lnTo>
                    <a:pt x="70703" y="377615"/>
                  </a:lnTo>
                  <a:lnTo>
                    <a:pt x="86562" y="393499"/>
                  </a:lnTo>
                  <a:lnTo>
                    <a:pt x="86573" y="444676"/>
                  </a:lnTo>
                  <a:lnTo>
                    <a:pt x="207755" y="323479"/>
                  </a:lnTo>
                  <a:lnTo>
                    <a:pt x="207755" y="221587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4" name="Freeform: Shape 723">
              <a:extLst>
                <a:ext uri="{FF2B5EF4-FFF2-40B4-BE49-F238E27FC236}">
                  <a16:creationId xmlns:a16="http://schemas.microsoft.com/office/drawing/2014/main" id="{F83FB652-7991-FEC7-84D0-6079382CD912}"/>
                </a:ext>
              </a:extLst>
            </p:cNvPr>
            <p:cNvSpPr/>
            <p:nvPr/>
          </p:nvSpPr>
          <p:spPr>
            <a:xfrm>
              <a:off x="8640894" y="3818405"/>
              <a:ext cx="222780" cy="513395"/>
            </a:xfrm>
            <a:custGeom>
              <a:avLst/>
              <a:gdLst>
                <a:gd name="connsiteX0" fmla="*/ 167621 w 222780"/>
                <a:gd name="connsiteY0" fmla="*/ 367987 h 513395"/>
                <a:gd name="connsiteX1" fmla="*/ 128063 w 222780"/>
                <a:gd name="connsiteY1" fmla="*/ 328413 h 513395"/>
                <a:gd name="connsiteX2" fmla="*/ 128063 w 222780"/>
                <a:gd name="connsiteY2" fmla="*/ 299416 h 513395"/>
                <a:gd name="connsiteX3" fmla="*/ 170537 w 222780"/>
                <a:gd name="connsiteY3" fmla="*/ 256935 h 513395"/>
                <a:gd name="connsiteX4" fmla="*/ 193372 w 222780"/>
                <a:gd name="connsiteY4" fmla="*/ 256935 h 513395"/>
                <a:gd name="connsiteX5" fmla="*/ 222781 w 222780"/>
                <a:gd name="connsiteY5" fmla="*/ 227493 h 513395"/>
                <a:gd name="connsiteX6" fmla="*/ 222781 w 222780"/>
                <a:gd name="connsiteY6" fmla="*/ 192705 h 513395"/>
                <a:gd name="connsiteX7" fmla="*/ 187968 w 222780"/>
                <a:gd name="connsiteY7" fmla="*/ 192705 h 513395"/>
                <a:gd name="connsiteX8" fmla="*/ 187968 w 222780"/>
                <a:gd name="connsiteY8" fmla="*/ 152678 h 513395"/>
                <a:gd name="connsiteX9" fmla="*/ 160866 w 222780"/>
                <a:gd name="connsiteY9" fmla="*/ 125584 h 513395"/>
                <a:gd name="connsiteX10" fmla="*/ 137388 w 222780"/>
                <a:gd name="connsiteY10" fmla="*/ 125584 h 513395"/>
                <a:gd name="connsiteX11" fmla="*/ 137388 w 222780"/>
                <a:gd name="connsiteY11" fmla="*/ 92262 h 513395"/>
                <a:gd name="connsiteX12" fmla="*/ 156418 w 222780"/>
                <a:gd name="connsiteY12" fmla="*/ 73242 h 513395"/>
                <a:gd name="connsiteX13" fmla="*/ 156418 w 222780"/>
                <a:gd name="connsiteY13" fmla="*/ 39203 h 513395"/>
                <a:gd name="connsiteX14" fmla="*/ 156418 w 222780"/>
                <a:gd name="connsiteY14" fmla="*/ 0 h 513395"/>
                <a:gd name="connsiteX15" fmla="*/ 118112 w 222780"/>
                <a:gd name="connsiteY15" fmla="*/ 0 h 513395"/>
                <a:gd name="connsiteX16" fmla="*/ 97007 w 222780"/>
                <a:gd name="connsiteY16" fmla="*/ 21122 h 513395"/>
                <a:gd name="connsiteX17" fmla="*/ 71108 w 222780"/>
                <a:gd name="connsiteY17" fmla="*/ 21122 h 513395"/>
                <a:gd name="connsiteX18" fmla="*/ 34894 w 222780"/>
                <a:gd name="connsiteY18" fmla="*/ 57310 h 513395"/>
                <a:gd name="connsiteX19" fmla="*/ 34894 w 222780"/>
                <a:gd name="connsiteY19" fmla="*/ 103326 h 513395"/>
                <a:gd name="connsiteX20" fmla="*/ 34894 w 222780"/>
                <a:gd name="connsiteY20" fmla="*/ 124274 h 513395"/>
                <a:gd name="connsiteX21" fmla="*/ 0 w 222780"/>
                <a:gd name="connsiteY21" fmla="*/ 159169 h 513395"/>
                <a:gd name="connsiteX22" fmla="*/ 0 w 222780"/>
                <a:gd name="connsiteY22" fmla="*/ 235608 h 513395"/>
                <a:gd name="connsiteX23" fmla="*/ 36295 w 222780"/>
                <a:gd name="connsiteY23" fmla="*/ 271886 h 513395"/>
                <a:gd name="connsiteX24" fmla="*/ 36295 w 222780"/>
                <a:gd name="connsiteY24" fmla="*/ 380616 h 513395"/>
                <a:gd name="connsiteX25" fmla="*/ 89560 w 222780"/>
                <a:gd name="connsiteY25" fmla="*/ 380616 h 513395"/>
                <a:gd name="connsiteX26" fmla="*/ 120073 w 222780"/>
                <a:gd name="connsiteY26" fmla="*/ 350119 h 513395"/>
                <a:gd name="connsiteX27" fmla="*/ 145906 w 222780"/>
                <a:gd name="connsiteY27" fmla="*/ 375945 h 513395"/>
                <a:gd name="connsiteX28" fmla="*/ 145906 w 222780"/>
                <a:gd name="connsiteY28" fmla="*/ 446352 h 513395"/>
                <a:gd name="connsiteX29" fmla="*/ 179945 w 222780"/>
                <a:gd name="connsiteY29" fmla="*/ 479417 h 513395"/>
                <a:gd name="connsiteX30" fmla="*/ 179944 w 222780"/>
                <a:gd name="connsiteY30" fmla="*/ 513395 h 513395"/>
                <a:gd name="connsiteX31" fmla="*/ 189765 w 222780"/>
                <a:gd name="connsiteY31" fmla="*/ 491486 h 513395"/>
                <a:gd name="connsiteX32" fmla="*/ 189764 w 222780"/>
                <a:gd name="connsiteY32" fmla="*/ 454137 h 513395"/>
                <a:gd name="connsiteX33" fmla="*/ 167621 w 222780"/>
                <a:gd name="connsiteY33" fmla="*/ 432225 h 5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22780" h="513395">
                  <a:moveTo>
                    <a:pt x="167621" y="367987"/>
                  </a:moveTo>
                  <a:lnTo>
                    <a:pt x="128063" y="328413"/>
                  </a:lnTo>
                  <a:lnTo>
                    <a:pt x="128063" y="299416"/>
                  </a:lnTo>
                  <a:lnTo>
                    <a:pt x="170537" y="256935"/>
                  </a:lnTo>
                  <a:lnTo>
                    <a:pt x="193372" y="256935"/>
                  </a:lnTo>
                  <a:lnTo>
                    <a:pt x="222781" y="227493"/>
                  </a:lnTo>
                  <a:lnTo>
                    <a:pt x="222781" y="192705"/>
                  </a:lnTo>
                  <a:lnTo>
                    <a:pt x="187968" y="192705"/>
                  </a:lnTo>
                  <a:lnTo>
                    <a:pt x="187968" y="152678"/>
                  </a:lnTo>
                  <a:lnTo>
                    <a:pt x="160866" y="125584"/>
                  </a:lnTo>
                  <a:lnTo>
                    <a:pt x="137388" y="125584"/>
                  </a:lnTo>
                  <a:lnTo>
                    <a:pt x="137388" y="92262"/>
                  </a:lnTo>
                  <a:lnTo>
                    <a:pt x="156418" y="73242"/>
                  </a:lnTo>
                  <a:lnTo>
                    <a:pt x="156418" y="39203"/>
                  </a:lnTo>
                  <a:lnTo>
                    <a:pt x="156418" y="0"/>
                  </a:lnTo>
                  <a:lnTo>
                    <a:pt x="118112" y="0"/>
                  </a:lnTo>
                  <a:lnTo>
                    <a:pt x="97007" y="21122"/>
                  </a:lnTo>
                  <a:lnTo>
                    <a:pt x="71108" y="21122"/>
                  </a:lnTo>
                  <a:lnTo>
                    <a:pt x="34894" y="57310"/>
                  </a:lnTo>
                  <a:lnTo>
                    <a:pt x="34894" y="103326"/>
                  </a:lnTo>
                  <a:lnTo>
                    <a:pt x="34894" y="124274"/>
                  </a:lnTo>
                  <a:lnTo>
                    <a:pt x="0" y="159169"/>
                  </a:lnTo>
                  <a:lnTo>
                    <a:pt x="0" y="235608"/>
                  </a:lnTo>
                  <a:lnTo>
                    <a:pt x="36295" y="271886"/>
                  </a:lnTo>
                  <a:lnTo>
                    <a:pt x="36295" y="380616"/>
                  </a:lnTo>
                  <a:lnTo>
                    <a:pt x="89560" y="380616"/>
                  </a:lnTo>
                  <a:lnTo>
                    <a:pt x="120073" y="350119"/>
                  </a:lnTo>
                  <a:lnTo>
                    <a:pt x="145906" y="375945"/>
                  </a:lnTo>
                  <a:lnTo>
                    <a:pt x="145906" y="446352"/>
                  </a:lnTo>
                  <a:lnTo>
                    <a:pt x="179945" y="479417"/>
                  </a:lnTo>
                  <a:lnTo>
                    <a:pt x="179944" y="513395"/>
                  </a:lnTo>
                  <a:lnTo>
                    <a:pt x="189765" y="491486"/>
                  </a:lnTo>
                  <a:lnTo>
                    <a:pt x="189764" y="454137"/>
                  </a:lnTo>
                  <a:lnTo>
                    <a:pt x="167621" y="432225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5" name="Freeform: Shape 724">
              <a:extLst>
                <a:ext uri="{FF2B5EF4-FFF2-40B4-BE49-F238E27FC236}">
                  <a16:creationId xmlns:a16="http://schemas.microsoft.com/office/drawing/2014/main" id="{73C59B52-C547-EAB2-0957-E15F0D481709}"/>
                </a:ext>
              </a:extLst>
            </p:cNvPr>
            <p:cNvSpPr/>
            <p:nvPr/>
          </p:nvSpPr>
          <p:spPr>
            <a:xfrm>
              <a:off x="8768958" y="4070462"/>
              <a:ext cx="244940" cy="399768"/>
            </a:xfrm>
            <a:custGeom>
              <a:avLst/>
              <a:gdLst>
                <a:gd name="connsiteX0" fmla="*/ 93268 w 244940"/>
                <a:gd name="connsiteY0" fmla="*/ 283831 h 399768"/>
                <a:gd name="connsiteX1" fmla="*/ 93268 w 244940"/>
                <a:gd name="connsiteY1" fmla="*/ 203686 h 399768"/>
                <a:gd name="connsiteX2" fmla="*/ 101110 w 244940"/>
                <a:gd name="connsiteY2" fmla="*/ 211545 h 399768"/>
                <a:gd name="connsiteX3" fmla="*/ 152538 w 244940"/>
                <a:gd name="connsiteY3" fmla="*/ 262827 h 399768"/>
                <a:gd name="connsiteX4" fmla="*/ 152456 w 244940"/>
                <a:gd name="connsiteY4" fmla="*/ 228549 h 399768"/>
                <a:gd name="connsiteX5" fmla="*/ 189073 w 244940"/>
                <a:gd name="connsiteY5" fmla="*/ 192186 h 399768"/>
                <a:gd name="connsiteX6" fmla="*/ 244941 w 244940"/>
                <a:gd name="connsiteY6" fmla="*/ 192186 h 399768"/>
                <a:gd name="connsiteX7" fmla="*/ 244941 w 244940"/>
                <a:gd name="connsiteY7" fmla="*/ 157851 h 399768"/>
                <a:gd name="connsiteX8" fmla="*/ 220376 w 244940"/>
                <a:gd name="connsiteY8" fmla="*/ 133286 h 399768"/>
                <a:gd name="connsiteX9" fmla="*/ 220376 w 244940"/>
                <a:gd name="connsiteY9" fmla="*/ 98499 h 399768"/>
                <a:gd name="connsiteX10" fmla="*/ 183669 w 244940"/>
                <a:gd name="connsiteY10" fmla="*/ 61791 h 399768"/>
                <a:gd name="connsiteX11" fmla="*/ 160933 w 244940"/>
                <a:gd name="connsiteY11" fmla="*/ 61791 h 399768"/>
                <a:gd name="connsiteX12" fmla="*/ 140717 w 244940"/>
                <a:gd name="connsiteY12" fmla="*/ 82006 h 399768"/>
                <a:gd name="connsiteX13" fmla="*/ 101390 w 244940"/>
                <a:gd name="connsiteY13" fmla="*/ 82006 h 399768"/>
                <a:gd name="connsiteX14" fmla="*/ 101390 w 244940"/>
                <a:gd name="connsiteY14" fmla="*/ 47582 h 399768"/>
                <a:gd name="connsiteX15" fmla="*/ 101390 w 244940"/>
                <a:gd name="connsiteY15" fmla="*/ 28593 h 399768"/>
                <a:gd name="connsiteX16" fmla="*/ 70153 w 244940"/>
                <a:gd name="connsiteY16" fmla="*/ 0 h 399768"/>
                <a:gd name="connsiteX17" fmla="*/ 65309 w 244940"/>
                <a:gd name="connsiteY17" fmla="*/ 4877 h 399768"/>
                <a:gd name="connsiteX18" fmla="*/ 42474 w 244940"/>
                <a:gd name="connsiteY18" fmla="*/ 4877 h 399768"/>
                <a:gd name="connsiteX19" fmla="*/ 0 w 244940"/>
                <a:gd name="connsiteY19" fmla="*/ 47359 h 399768"/>
                <a:gd name="connsiteX20" fmla="*/ 0 w 244940"/>
                <a:gd name="connsiteY20" fmla="*/ 76356 h 399768"/>
                <a:gd name="connsiteX21" fmla="*/ 39558 w 244940"/>
                <a:gd name="connsiteY21" fmla="*/ 115930 h 399768"/>
                <a:gd name="connsiteX22" fmla="*/ 39558 w 244940"/>
                <a:gd name="connsiteY22" fmla="*/ 145083 h 399768"/>
                <a:gd name="connsiteX23" fmla="*/ 39558 w 244940"/>
                <a:gd name="connsiteY23" fmla="*/ 180167 h 399768"/>
                <a:gd name="connsiteX24" fmla="*/ 61701 w 244940"/>
                <a:gd name="connsiteY24" fmla="*/ 202080 h 399768"/>
                <a:gd name="connsiteX25" fmla="*/ 61702 w 244940"/>
                <a:gd name="connsiteY25" fmla="*/ 239429 h 399768"/>
                <a:gd name="connsiteX26" fmla="*/ 51881 w 244940"/>
                <a:gd name="connsiteY26" fmla="*/ 261338 h 399768"/>
                <a:gd name="connsiteX27" fmla="*/ 51881 w 244940"/>
                <a:gd name="connsiteY27" fmla="*/ 363383 h 399768"/>
                <a:gd name="connsiteX28" fmla="*/ 88276 w 244940"/>
                <a:gd name="connsiteY28" fmla="*/ 399768 h 399768"/>
                <a:gd name="connsiteX29" fmla="*/ 121144 w 244940"/>
                <a:gd name="connsiteY29" fmla="*/ 399768 h 399768"/>
                <a:gd name="connsiteX30" fmla="*/ 65392 w 244940"/>
                <a:gd name="connsiteY30" fmla="*/ 343957 h 399768"/>
                <a:gd name="connsiteX31" fmla="*/ 65392 w 244940"/>
                <a:gd name="connsiteY31" fmla="*/ 311699 h 399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44940" h="399768">
                  <a:moveTo>
                    <a:pt x="93268" y="283831"/>
                  </a:moveTo>
                  <a:lnTo>
                    <a:pt x="93268" y="203686"/>
                  </a:lnTo>
                  <a:lnTo>
                    <a:pt x="101110" y="211545"/>
                  </a:lnTo>
                  <a:lnTo>
                    <a:pt x="152538" y="262827"/>
                  </a:lnTo>
                  <a:lnTo>
                    <a:pt x="152456" y="228549"/>
                  </a:lnTo>
                  <a:lnTo>
                    <a:pt x="189073" y="192186"/>
                  </a:lnTo>
                  <a:lnTo>
                    <a:pt x="244941" y="192186"/>
                  </a:lnTo>
                  <a:lnTo>
                    <a:pt x="244941" y="157851"/>
                  </a:lnTo>
                  <a:lnTo>
                    <a:pt x="220376" y="133286"/>
                  </a:lnTo>
                  <a:lnTo>
                    <a:pt x="220376" y="98499"/>
                  </a:lnTo>
                  <a:lnTo>
                    <a:pt x="183669" y="61791"/>
                  </a:lnTo>
                  <a:lnTo>
                    <a:pt x="160933" y="61791"/>
                  </a:lnTo>
                  <a:lnTo>
                    <a:pt x="140717" y="82006"/>
                  </a:lnTo>
                  <a:lnTo>
                    <a:pt x="101390" y="82006"/>
                  </a:lnTo>
                  <a:lnTo>
                    <a:pt x="101390" y="47582"/>
                  </a:lnTo>
                  <a:lnTo>
                    <a:pt x="101390" y="28593"/>
                  </a:lnTo>
                  <a:lnTo>
                    <a:pt x="70153" y="0"/>
                  </a:lnTo>
                  <a:lnTo>
                    <a:pt x="65309" y="4877"/>
                  </a:lnTo>
                  <a:lnTo>
                    <a:pt x="42474" y="4877"/>
                  </a:lnTo>
                  <a:lnTo>
                    <a:pt x="0" y="47359"/>
                  </a:lnTo>
                  <a:lnTo>
                    <a:pt x="0" y="76356"/>
                  </a:lnTo>
                  <a:lnTo>
                    <a:pt x="39558" y="115930"/>
                  </a:lnTo>
                  <a:lnTo>
                    <a:pt x="39558" y="145083"/>
                  </a:lnTo>
                  <a:lnTo>
                    <a:pt x="39558" y="180167"/>
                  </a:lnTo>
                  <a:lnTo>
                    <a:pt x="61701" y="202080"/>
                  </a:lnTo>
                  <a:lnTo>
                    <a:pt x="61702" y="239429"/>
                  </a:lnTo>
                  <a:lnTo>
                    <a:pt x="51881" y="261338"/>
                  </a:lnTo>
                  <a:lnTo>
                    <a:pt x="51881" y="363383"/>
                  </a:lnTo>
                  <a:lnTo>
                    <a:pt x="88276" y="399768"/>
                  </a:lnTo>
                  <a:lnTo>
                    <a:pt x="121144" y="399768"/>
                  </a:lnTo>
                  <a:lnTo>
                    <a:pt x="65392" y="343957"/>
                  </a:lnTo>
                  <a:lnTo>
                    <a:pt x="65392" y="311699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6" name="Freeform: Shape 725">
              <a:extLst>
                <a:ext uri="{FF2B5EF4-FFF2-40B4-BE49-F238E27FC236}">
                  <a16:creationId xmlns:a16="http://schemas.microsoft.com/office/drawing/2014/main" id="{F0C2839E-5D57-8E9D-3237-9E31AB9697E8}"/>
                </a:ext>
              </a:extLst>
            </p:cNvPr>
            <p:cNvSpPr/>
            <p:nvPr/>
          </p:nvSpPr>
          <p:spPr>
            <a:xfrm>
              <a:off x="6509532" y="2414481"/>
              <a:ext cx="153272" cy="113139"/>
            </a:xfrm>
            <a:custGeom>
              <a:avLst/>
              <a:gdLst>
                <a:gd name="connsiteX0" fmla="*/ 103944 w 153272"/>
                <a:gd name="connsiteY0" fmla="*/ 113139 h 113139"/>
                <a:gd name="connsiteX1" fmla="*/ 121441 w 153272"/>
                <a:gd name="connsiteY1" fmla="*/ 95626 h 113139"/>
                <a:gd name="connsiteX2" fmla="*/ 153272 w 153272"/>
                <a:gd name="connsiteY2" fmla="*/ 94571 h 113139"/>
                <a:gd name="connsiteX3" fmla="*/ 144441 w 153272"/>
                <a:gd name="connsiteY3" fmla="*/ 85732 h 113139"/>
                <a:gd name="connsiteX4" fmla="*/ 136417 w 153272"/>
                <a:gd name="connsiteY4" fmla="*/ 77716 h 113139"/>
                <a:gd name="connsiteX5" fmla="*/ 136417 w 153272"/>
                <a:gd name="connsiteY5" fmla="*/ 31338 h 113139"/>
                <a:gd name="connsiteX6" fmla="*/ 136417 w 153272"/>
                <a:gd name="connsiteY6" fmla="*/ 0 h 113139"/>
                <a:gd name="connsiteX7" fmla="*/ 30826 w 153272"/>
                <a:gd name="connsiteY7" fmla="*/ 2 h 113139"/>
                <a:gd name="connsiteX8" fmla="*/ 0 w 153272"/>
                <a:gd name="connsiteY8" fmla="*/ 30836 h 113139"/>
                <a:gd name="connsiteX9" fmla="*/ 0 w 153272"/>
                <a:gd name="connsiteY9" fmla="*/ 68696 h 113139"/>
                <a:gd name="connsiteX10" fmla="*/ 18502 w 153272"/>
                <a:gd name="connsiteY10" fmla="*/ 68696 h 113139"/>
                <a:gd name="connsiteX11" fmla="*/ 18502 w 153272"/>
                <a:gd name="connsiteY11" fmla="*/ 87635 h 113139"/>
                <a:gd name="connsiteX12" fmla="*/ 78440 w 153272"/>
                <a:gd name="connsiteY12" fmla="*/ 87635 h 113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3272" h="113139">
                  <a:moveTo>
                    <a:pt x="103944" y="113139"/>
                  </a:moveTo>
                  <a:lnTo>
                    <a:pt x="121441" y="95626"/>
                  </a:lnTo>
                  <a:lnTo>
                    <a:pt x="153272" y="94571"/>
                  </a:lnTo>
                  <a:lnTo>
                    <a:pt x="144441" y="85732"/>
                  </a:lnTo>
                  <a:lnTo>
                    <a:pt x="136417" y="77716"/>
                  </a:lnTo>
                  <a:lnTo>
                    <a:pt x="136417" y="31338"/>
                  </a:lnTo>
                  <a:lnTo>
                    <a:pt x="136417" y="0"/>
                  </a:lnTo>
                  <a:lnTo>
                    <a:pt x="30826" y="2"/>
                  </a:lnTo>
                  <a:lnTo>
                    <a:pt x="0" y="30836"/>
                  </a:lnTo>
                  <a:lnTo>
                    <a:pt x="0" y="68696"/>
                  </a:lnTo>
                  <a:lnTo>
                    <a:pt x="18502" y="68696"/>
                  </a:lnTo>
                  <a:lnTo>
                    <a:pt x="18502" y="87635"/>
                  </a:lnTo>
                  <a:lnTo>
                    <a:pt x="78440" y="87635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7" name="Freeform: Shape 726">
              <a:extLst>
                <a:ext uri="{FF2B5EF4-FFF2-40B4-BE49-F238E27FC236}">
                  <a16:creationId xmlns:a16="http://schemas.microsoft.com/office/drawing/2014/main" id="{188A71AB-7C48-2A30-B1AB-E6E249F13852}"/>
                </a:ext>
              </a:extLst>
            </p:cNvPr>
            <p:cNvSpPr/>
            <p:nvPr/>
          </p:nvSpPr>
          <p:spPr>
            <a:xfrm>
              <a:off x="7105466" y="5068503"/>
              <a:ext cx="210885" cy="444450"/>
            </a:xfrm>
            <a:custGeom>
              <a:avLst/>
              <a:gdLst>
                <a:gd name="connsiteX0" fmla="*/ 170636 w 210885"/>
                <a:gd name="connsiteY0" fmla="*/ 0 h 444450"/>
                <a:gd name="connsiteX1" fmla="*/ 170636 w 210885"/>
                <a:gd name="connsiteY1" fmla="*/ 42523 h 444450"/>
                <a:gd name="connsiteX2" fmla="*/ 88458 w 210885"/>
                <a:gd name="connsiteY2" fmla="*/ 124719 h 444450"/>
                <a:gd name="connsiteX3" fmla="*/ 39805 w 210885"/>
                <a:gd name="connsiteY3" fmla="*/ 124719 h 444450"/>
                <a:gd name="connsiteX4" fmla="*/ 39805 w 210885"/>
                <a:gd name="connsiteY4" fmla="*/ 150956 h 444450"/>
                <a:gd name="connsiteX5" fmla="*/ 25192 w 210885"/>
                <a:gd name="connsiteY5" fmla="*/ 165545 h 444450"/>
                <a:gd name="connsiteX6" fmla="*/ 25192 w 210885"/>
                <a:gd name="connsiteY6" fmla="*/ 220837 h 444450"/>
                <a:gd name="connsiteX7" fmla="*/ 39097 w 210885"/>
                <a:gd name="connsiteY7" fmla="*/ 234701 h 444450"/>
                <a:gd name="connsiteX8" fmla="*/ 39097 w 210885"/>
                <a:gd name="connsiteY8" fmla="*/ 259093 h 444450"/>
                <a:gd name="connsiteX9" fmla="*/ 0 w 210885"/>
                <a:gd name="connsiteY9" fmla="*/ 298189 h 444450"/>
                <a:gd name="connsiteX10" fmla="*/ 0 w 210885"/>
                <a:gd name="connsiteY10" fmla="*/ 324278 h 444450"/>
                <a:gd name="connsiteX11" fmla="*/ 11369 w 210885"/>
                <a:gd name="connsiteY11" fmla="*/ 335604 h 444450"/>
                <a:gd name="connsiteX12" fmla="*/ 11369 w 210885"/>
                <a:gd name="connsiteY12" fmla="*/ 386630 h 444450"/>
                <a:gd name="connsiteX13" fmla="*/ 37976 w 210885"/>
                <a:gd name="connsiteY13" fmla="*/ 413270 h 444450"/>
                <a:gd name="connsiteX14" fmla="*/ 69164 w 210885"/>
                <a:gd name="connsiteY14" fmla="*/ 444450 h 444450"/>
                <a:gd name="connsiteX15" fmla="*/ 88458 w 210885"/>
                <a:gd name="connsiteY15" fmla="*/ 425116 h 444450"/>
                <a:gd name="connsiteX16" fmla="*/ 113351 w 210885"/>
                <a:gd name="connsiteY16" fmla="*/ 425116 h 444450"/>
                <a:gd name="connsiteX17" fmla="*/ 128048 w 210885"/>
                <a:gd name="connsiteY17" fmla="*/ 410461 h 444450"/>
                <a:gd name="connsiteX18" fmla="*/ 128048 w 210885"/>
                <a:gd name="connsiteY18" fmla="*/ 380896 h 444450"/>
                <a:gd name="connsiteX19" fmla="*/ 140454 w 210885"/>
                <a:gd name="connsiteY19" fmla="*/ 368481 h 444450"/>
                <a:gd name="connsiteX20" fmla="*/ 140454 w 210885"/>
                <a:gd name="connsiteY20" fmla="*/ 343381 h 444450"/>
                <a:gd name="connsiteX21" fmla="*/ 168660 w 210885"/>
                <a:gd name="connsiteY21" fmla="*/ 315200 h 444450"/>
                <a:gd name="connsiteX22" fmla="*/ 168660 w 210885"/>
                <a:gd name="connsiteY22" fmla="*/ 237815 h 444450"/>
                <a:gd name="connsiteX23" fmla="*/ 189896 w 210885"/>
                <a:gd name="connsiteY23" fmla="*/ 216594 h 444450"/>
                <a:gd name="connsiteX24" fmla="*/ 189896 w 210885"/>
                <a:gd name="connsiteY24" fmla="*/ 167250 h 444450"/>
                <a:gd name="connsiteX25" fmla="*/ 200654 w 210885"/>
                <a:gd name="connsiteY25" fmla="*/ 156451 h 444450"/>
                <a:gd name="connsiteX26" fmla="*/ 200654 w 210885"/>
                <a:gd name="connsiteY26" fmla="*/ 131531 h 444450"/>
                <a:gd name="connsiteX27" fmla="*/ 210886 w 210885"/>
                <a:gd name="connsiteY27" fmla="*/ 121325 h 444450"/>
                <a:gd name="connsiteX28" fmla="*/ 210886 w 210885"/>
                <a:gd name="connsiteY28" fmla="*/ 21550 h 444450"/>
                <a:gd name="connsiteX29" fmla="*/ 189336 w 210885"/>
                <a:gd name="connsiteY29" fmla="*/ 0 h 4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10885" h="444450">
                  <a:moveTo>
                    <a:pt x="170636" y="0"/>
                  </a:moveTo>
                  <a:lnTo>
                    <a:pt x="170636" y="42523"/>
                  </a:lnTo>
                  <a:lnTo>
                    <a:pt x="88458" y="124719"/>
                  </a:lnTo>
                  <a:lnTo>
                    <a:pt x="39805" y="124719"/>
                  </a:lnTo>
                  <a:lnTo>
                    <a:pt x="39805" y="150956"/>
                  </a:lnTo>
                  <a:lnTo>
                    <a:pt x="25192" y="165545"/>
                  </a:lnTo>
                  <a:lnTo>
                    <a:pt x="25192" y="220837"/>
                  </a:lnTo>
                  <a:lnTo>
                    <a:pt x="39097" y="234701"/>
                  </a:lnTo>
                  <a:lnTo>
                    <a:pt x="39097" y="259093"/>
                  </a:lnTo>
                  <a:lnTo>
                    <a:pt x="0" y="298189"/>
                  </a:lnTo>
                  <a:lnTo>
                    <a:pt x="0" y="324278"/>
                  </a:lnTo>
                  <a:lnTo>
                    <a:pt x="11369" y="335604"/>
                  </a:lnTo>
                  <a:lnTo>
                    <a:pt x="11369" y="386630"/>
                  </a:lnTo>
                  <a:lnTo>
                    <a:pt x="37976" y="413270"/>
                  </a:lnTo>
                  <a:lnTo>
                    <a:pt x="69164" y="444450"/>
                  </a:lnTo>
                  <a:lnTo>
                    <a:pt x="88458" y="425116"/>
                  </a:lnTo>
                  <a:lnTo>
                    <a:pt x="113351" y="425116"/>
                  </a:lnTo>
                  <a:lnTo>
                    <a:pt x="128048" y="410461"/>
                  </a:lnTo>
                  <a:lnTo>
                    <a:pt x="128048" y="380896"/>
                  </a:lnTo>
                  <a:lnTo>
                    <a:pt x="140454" y="368481"/>
                  </a:lnTo>
                  <a:lnTo>
                    <a:pt x="140454" y="343381"/>
                  </a:lnTo>
                  <a:lnTo>
                    <a:pt x="168660" y="315200"/>
                  </a:lnTo>
                  <a:lnTo>
                    <a:pt x="168660" y="237815"/>
                  </a:lnTo>
                  <a:lnTo>
                    <a:pt x="189896" y="216594"/>
                  </a:lnTo>
                  <a:lnTo>
                    <a:pt x="189896" y="167250"/>
                  </a:lnTo>
                  <a:lnTo>
                    <a:pt x="200654" y="156451"/>
                  </a:lnTo>
                  <a:lnTo>
                    <a:pt x="200654" y="131531"/>
                  </a:lnTo>
                  <a:lnTo>
                    <a:pt x="210886" y="121325"/>
                  </a:lnTo>
                  <a:lnTo>
                    <a:pt x="210886" y="21550"/>
                  </a:lnTo>
                  <a:lnTo>
                    <a:pt x="189336" y="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8" name="Freeform: Shape 727">
              <a:extLst>
                <a:ext uri="{FF2B5EF4-FFF2-40B4-BE49-F238E27FC236}">
                  <a16:creationId xmlns:a16="http://schemas.microsoft.com/office/drawing/2014/main" id="{42135453-1A25-6166-46F0-347C4097F5C1}"/>
                </a:ext>
              </a:extLst>
            </p:cNvPr>
            <p:cNvSpPr/>
            <p:nvPr/>
          </p:nvSpPr>
          <p:spPr>
            <a:xfrm>
              <a:off x="5263697" y="3808717"/>
              <a:ext cx="257527" cy="219527"/>
            </a:xfrm>
            <a:custGeom>
              <a:avLst/>
              <a:gdLst>
                <a:gd name="connsiteX0" fmla="*/ 73176 w 257527"/>
                <a:gd name="connsiteY0" fmla="*/ 209857 h 219527"/>
                <a:gd name="connsiteX1" fmla="*/ 124217 w 257527"/>
                <a:gd name="connsiteY1" fmla="*/ 209857 h 219527"/>
                <a:gd name="connsiteX2" fmla="*/ 124217 w 257527"/>
                <a:gd name="connsiteY2" fmla="*/ 147143 h 219527"/>
                <a:gd name="connsiteX3" fmla="*/ 171328 w 257527"/>
                <a:gd name="connsiteY3" fmla="*/ 147143 h 219527"/>
                <a:gd name="connsiteX4" fmla="*/ 171328 w 257527"/>
                <a:gd name="connsiteY4" fmla="*/ 60671 h 219527"/>
                <a:gd name="connsiteX5" fmla="*/ 257528 w 257527"/>
                <a:gd name="connsiteY5" fmla="*/ 60671 h 219527"/>
                <a:gd name="connsiteX6" fmla="*/ 257528 w 257527"/>
                <a:gd name="connsiteY6" fmla="*/ 0 h 219527"/>
                <a:gd name="connsiteX7" fmla="*/ 117980 w 257527"/>
                <a:gd name="connsiteY7" fmla="*/ 0 h 219527"/>
                <a:gd name="connsiteX8" fmla="*/ 117980 w 257527"/>
                <a:gd name="connsiteY8" fmla="*/ 37507 h 219527"/>
                <a:gd name="connsiteX9" fmla="*/ 80976 w 257527"/>
                <a:gd name="connsiteY9" fmla="*/ 37507 h 219527"/>
                <a:gd name="connsiteX10" fmla="*/ 80976 w 257527"/>
                <a:gd name="connsiteY10" fmla="*/ 62187 h 219527"/>
                <a:gd name="connsiteX11" fmla="*/ 37878 w 257527"/>
                <a:gd name="connsiteY11" fmla="*/ 105320 h 219527"/>
                <a:gd name="connsiteX12" fmla="*/ 37878 w 257527"/>
                <a:gd name="connsiteY12" fmla="*/ 136121 h 219527"/>
                <a:gd name="connsiteX13" fmla="*/ 23346 w 257527"/>
                <a:gd name="connsiteY13" fmla="*/ 150677 h 219527"/>
                <a:gd name="connsiteX14" fmla="*/ 23346 w 257527"/>
                <a:gd name="connsiteY14" fmla="*/ 187211 h 219527"/>
                <a:gd name="connsiteX15" fmla="*/ 0 w 257527"/>
                <a:gd name="connsiteY15" fmla="*/ 187211 h 219527"/>
                <a:gd name="connsiteX16" fmla="*/ 0 w 257527"/>
                <a:gd name="connsiteY16" fmla="*/ 219528 h 219527"/>
                <a:gd name="connsiteX17" fmla="*/ 63504 w 257527"/>
                <a:gd name="connsiteY17" fmla="*/ 219528 h 21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7527" h="219527">
                  <a:moveTo>
                    <a:pt x="73176" y="209857"/>
                  </a:moveTo>
                  <a:lnTo>
                    <a:pt x="124217" y="209857"/>
                  </a:lnTo>
                  <a:lnTo>
                    <a:pt x="124217" y="147143"/>
                  </a:lnTo>
                  <a:lnTo>
                    <a:pt x="171328" y="147143"/>
                  </a:lnTo>
                  <a:lnTo>
                    <a:pt x="171328" y="60671"/>
                  </a:lnTo>
                  <a:lnTo>
                    <a:pt x="257528" y="60671"/>
                  </a:lnTo>
                  <a:lnTo>
                    <a:pt x="257528" y="0"/>
                  </a:lnTo>
                  <a:lnTo>
                    <a:pt x="117980" y="0"/>
                  </a:lnTo>
                  <a:lnTo>
                    <a:pt x="117980" y="37507"/>
                  </a:lnTo>
                  <a:lnTo>
                    <a:pt x="80976" y="37507"/>
                  </a:lnTo>
                  <a:lnTo>
                    <a:pt x="80976" y="62187"/>
                  </a:lnTo>
                  <a:lnTo>
                    <a:pt x="37878" y="105320"/>
                  </a:lnTo>
                  <a:lnTo>
                    <a:pt x="37878" y="136121"/>
                  </a:lnTo>
                  <a:lnTo>
                    <a:pt x="23346" y="150677"/>
                  </a:lnTo>
                  <a:lnTo>
                    <a:pt x="23346" y="187211"/>
                  </a:lnTo>
                  <a:lnTo>
                    <a:pt x="0" y="187211"/>
                  </a:lnTo>
                  <a:lnTo>
                    <a:pt x="0" y="219528"/>
                  </a:lnTo>
                  <a:lnTo>
                    <a:pt x="63504" y="219528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9" name="Freeform: Shape 728">
              <a:extLst>
                <a:ext uri="{FF2B5EF4-FFF2-40B4-BE49-F238E27FC236}">
                  <a16:creationId xmlns:a16="http://schemas.microsoft.com/office/drawing/2014/main" id="{0B8D0A77-760D-1A2F-5950-E28310DCBCAE}"/>
                </a:ext>
              </a:extLst>
            </p:cNvPr>
            <p:cNvSpPr/>
            <p:nvPr/>
          </p:nvSpPr>
          <p:spPr>
            <a:xfrm>
              <a:off x="5377963" y="4379723"/>
              <a:ext cx="105269" cy="111068"/>
            </a:xfrm>
            <a:custGeom>
              <a:avLst/>
              <a:gdLst>
                <a:gd name="connsiteX0" fmla="*/ 89692 w 105269"/>
                <a:gd name="connsiteY0" fmla="*/ 54978 h 111068"/>
                <a:gd name="connsiteX1" fmla="*/ 105270 w 105269"/>
                <a:gd name="connsiteY1" fmla="*/ 39392 h 111068"/>
                <a:gd name="connsiteX2" fmla="*/ 65886 w 105269"/>
                <a:gd name="connsiteY2" fmla="*/ 0 h 111068"/>
                <a:gd name="connsiteX3" fmla="*/ 33116 w 105269"/>
                <a:gd name="connsiteY3" fmla="*/ 0 h 111068"/>
                <a:gd name="connsiteX4" fmla="*/ 0 w 105269"/>
                <a:gd name="connsiteY4" fmla="*/ 33115 h 111068"/>
                <a:gd name="connsiteX5" fmla="*/ 16171 w 105269"/>
                <a:gd name="connsiteY5" fmla="*/ 49294 h 111068"/>
                <a:gd name="connsiteX6" fmla="*/ 16171 w 105269"/>
                <a:gd name="connsiteY6" fmla="*/ 67013 h 111068"/>
                <a:gd name="connsiteX7" fmla="*/ 60226 w 105269"/>
                <a:gd name="connsiteY7" fmla="*/ 111068 h 111068"/>
                <a:gd name="connsiteX8" fmla="*/ 89692 w 105269"/>
                <a:gd name="connsiteY8" fmla="*/ 81594 h 111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269" h="111068">
                  <a:moveTo>
                    <a:pt x="89692" y="54978"/>
                  </a:moveTo>
                  <a:lnTo>
                    <a:pt x="105270" y="39392"/>
                  </a:lnTo>
                  <a:lnTo>
                    <a:pt x="65886" y="0"/>
                  </a:lnTo>
                  <a:lnTo>
                    <a:pt x="33116" y="0"/>
                  </a:lnTo>
                  <a:lnTo>
                    <a:pt x="0" y="33115"/>
                  </a:lnTo>
                  <a:lnTo>
                    <a:pt x="16171" y="49294"/>
                  </a:lnTo>
                  <a:lnTo>
                    <a:pt x="16171" y="67013"/>
                  </a:lnTo>
                  <a:lnTo>
                    <a:pt x="60226" y="111068"/>
                  </a:lnTo>
                  <a:lnTo>
                    <a:pt x="89692" y="81594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0" name="Freeform: Shape 729">
              <a:extLst>
                <a:ext uri="{FF2B5EF4-FFF2-40B4-BE49-F238E27FC236}">
                  <a16:creationId xmlns:a16="http://schemas.microsoft.com/office/drawing/2014/main" id="{4AB0912C-85B1-9010-AFE1-5BBF200EF3DB}"/>
                </a:ext>
              </a:extLst>
            </p:cNvPr>
            <p:cNvSpPr/>
            <p:nvPr/>
          </p:nvSpPr>
          <p:spPr>
            <a:xfrm>
              <a:off x="5438189" y="4419116"/>
              <a:ext cx="120657" cy="153518"/>
            </a:xfrm>
            <a:custGeom>
              <a:avLst/>
              <a:gdLst>
                <a:gd name="connsiteX0" fmla="*/ 88325 w 120657"/>
                <a:gd name="connsiteY0" fmla="*/ 63595 h 153518"/>
                <a:gd name="connsiteX1" fmla="*/ 88325 w 120657"/>
                <a:gd name="connsiteY1" fmla="*/ 43273 h 153518"/>
                <a:gd name="connsiteX2" fmla="*/ 50349 w 120657"/>
                <a:gd name="connsiteY2" fmla="*/ 5314 h 153518"/>
                <a:gd name="connsiteX3" fmla="*/ 45044 w 120657"/>
                <a:gd name="connsiteY3" fmla="*/ 0 h 153518"/>
                <a:gd name="connsiteX4" fmla="*/ 29466 w 120657"/>
                <a:gd name="connsiteY4" fmla="*/ 15585 h 153518"/>
                <a:gd name="connsiteX5" fmla="*/ 29466 w 120657"/>
                <a:gd name="connsiteY5" fmla="*/ 42202 h 153518"/>
                <a:gd name="connsiteX6" fmla="*/ 0 w 120657"/>
                <a:gd name="connsiteY6" fmla="*/ 71676 h 153518"/>
                <a:gd name="connsiteX7" fmla="*/ 49187 w 120657"/>
                <a:gd name="connsiteY7" fmla="*/ 120888 h 153518"/>
                <a:gd name="connsiteX8" fmla="*/ 70276 w 120657"/>
                <a:gd name="connsiteY8" fmla="*/ 120888 h 153518"/>
                <a:gd name="connsiteX9" fmla="*/ 102897 w 120657"/>
                <a:gd name="connsiteY9" fmla="*/ 153518 h 153518"/>
                <a:gd name="connsiteX10" fmla="*/ 120658 w 120657"/>
                <a:gd name="connsiteY10" fmla="*/ 135733 h 153518"/>
                <a:gd name="connsiteX11" fmla="*/ 120658 w 120657"/>
                <a:gd name="connsiteY11" fmla="*/ 95936 h 153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0657" h="153518">
                  <a:moveTo>
                    <a:pt x="88325" y="63595"/>
                  </a:moveTo>
                  <a:lnTo>
                    <a:pt x="88325" y="43273"/>
                  </a:lnTo>
                  <a:lnTo>
                    <a:pt x="50349" y="5314"/>
                  </a:lnTo>
                  <a:lnTo>
                    <a:pt x="45044" y="0"/>
                  </a:lnTo>
                  <a:lnTo>
                    <a:pt x="29466" y="15585"/>
                  </a:lnTo>
                  <a:lnTo>
                    <a:pt x="29466" y="42202"/>
                  </a:lnTo>
                  <a:lnTo>
                    <a:pt x="0" y="71676"/>
                  </a:lnTo>
                  <a:lnTo>
                    <a:pt x="49187" y="120888"/>
                  </a:lnTo>
                  <a:lnTo>
                    <a:pt x="70276" y="120888"/>
                  </a:lnTo>
                  <a:lnTo>
                    <a:pt x="102897" y="153518"/>
                  </a:lnTo>
                  <a:lnTo>
                    <a:pt x="120658" y="135733"/>
                  </a:lnTo>
                  <a:lnTo>
                    <a:pt x="120658" y="95936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1" name="Freeform: Shape 730">
              <a:extLst>
                <a:ext uri="{FF2B5EF4-FFF2-40B4-BE49-F238E27FC236}">
                  <a16:creationId xmlns:a16="http://schemas.microsoft.com/office/drawing/2014/main" id="{CA75DAC2-5488-8146-1A08-A3DCEA4B371F}"/>
                </a:ext>
              </a:extLst>
            </p:cNvPr>
            <p:cNvSpPr/>
            <p:nvPr/>
          </p:nvSpPr>
          <p:spPr>
            <a:xfrm>
              <a:off x="6537755" y="3659639"/>
              <a:ext cx="328751" cy="359255"/>
            </a:xfrm>
            <a:custGeom>
              <a:avLst/>
              <a:gdLst>
                <a:gd name="connsiteX0" fmla="*/ 0 w 328751"/>
                <a:gd name="connsiteY0" fmla="*/ 80919 h 359255"/>
                <a:gd name="connsiteX1" fmla="*/ 21616 w 328751"/>
                <a:gd name="connsiteY1" fmla="*/ 102535 h 359255"/>
                <a:gd name="connsiteX2" fmla="*/ 21616 w 328751"/>
                <a:gd name="connsiteY2" fmla="*/ 343488 h 359255"/>
                <a:gd name="connsiteX3" fmla="*/ 262537 w 328751"/>
                <a:gd name="connsiteY3" fmla="*/ 343488 h 359255"/>
                <a:gd name="connsiteX4" fmla="*/ 278303 w 328751"/>
                <a:gd name="connsiteY4" fmla="*/ 359255 h 359255"/>
                <a:gd name="connsiteX5" fmla="*/ 328751 w 328751"/>
                <a:gd name="connsiteY5" fmla="*/ 308783 h 359255"/>
                <a:gd name="connsiteX6" fmla="*/ 311205 w 328751"/>
                <a:gd name="connsiteY6" fmla="*/ 291245 h 359255"/>
                <a:gd name="connsiteX7" fmla="*/ 311205 w 328751"/>
                <a:gd name="connsiteY7" fmla="*/ 236496 h 359255"/>
                <a:gd name="connsiteX8" fmla="*/ 264613 w 328751"/>
                <a:gd name="connsiteY8" fmla="*/ 189913 h 359255"/>
                <a:gd name="connsiteX9" fmla="*/ 264613 w 328751"/>
                <a:gd name="connsiteY9" fmla="*/ 161352 h 359255"/>
                <a:gd name="connsiteX10" fmla="*/ 221397 w 328751"/>
                <a:gd name="connsiteY10" fmla="*/ 118104 h 359255"/>
                <a:gd name="connsiteX11" fmla="*/ 247379 w 328751"/>
                <a:gd name="connsiteY11" fmla="*/ 92098 h 359255"/>
                <a:gd name="connsiteX12" fmla="*/ 247643 w 328751"/>
                <a:gd name="connsiteY12" fmla="*/ 92353 h 359255"/>
                <a:gd name="connsiteX13" fmla="*/ 247643 w 328751"/>
                <a:gd name="connsiteY13" fmla="*/ 77575 h 359255"/>
                <a:gd name="connsiteX14" fmla="*/ 247643 w 328751"/>
                <a:gd name="connsiteY14" fmla="*/ 47902 h 359255"/>
                <a:gd name="connsiteX15" fmla="*/ 222731 w 328751"/>
                <a:gd name="connsiteY15" fmla="*/ 47902 h 359255"/>
                <a:gd name="connsiteX16" fmla="*/ 222731 w 328751"/>
                <a:gd name="connsiteY16" fmla="*/ 19317 h 359255"/>
                <a:gd name="connsiteX17" fmla="*/ 173388 w 328751"/>
                <a:gd name="connsiteY17" fmla="*/ 19317 h 359255"/>
                <a:gd name="connsiteX18" fmla="*/ 143485 w 328751"/>
                <a:gd name="connsiteY18" fmla="*/ 49237 h 359255"/>
                <a:gd name="connsiteX19" fmla="*/ 109150 w 328751"/>
                <a:gd name="connsiteY19" fmla="*/ 14911 h 359255"/>
                <a:gd name="connsiteX20" fmla="*/ 14943 w 328751"/>
                <a:gd name="connsiteY20" fmla="*/ 14911 h 359255"/>
                <a:gd name="connsiteX21" fmla="*/ 0 w 328751"/>
                <a:gd name="connsiteY21" fmla="*/ 0 h 359255"/>
                <a:gd name="connsiteX22" fmla="*/ 0 w 328751"/>
                <a:gd name="connsiteY22" fmla="*/ 53710 h 359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751" h="359255">
                  <a:moveTo>
                    <a:pt x="0" y="80919"/>
                  </a:moveTo>
                  <a:lnTo>
                    <a:pt x="21616" y="102535"/>
                  </a:lnTo>
                  <a:lnTo>
                    <a:pt x="21616" y="343488"/>
                  </a:lnTo>
                  <a:lnTo>
                    <a:pt x="262537" y="343488"/>
                  </a:lnTo>
                  <a:lnTo>
                    <a:pt x="278303" y="359255"/>
                  </a:lnTo>
                  <a:lnTo>
                    <a:pt x="328751" y="308783"/>
                  </a:lnTo>
                  <a:lnTo>
                    <a:pt x="311205" y="291245"/>
                  </a:lnTo>
                  <a:lnTo>
                    <a:pt x="311205" y="236496"/>
                  </a:lnTo>
                  <a:lnTo>
                    <a:pt x="264613" y="189913"/>
                  </a:lnTo>
                  <a:lnTo>
                    <a:pt x="264613" y="161352"/>
                  </a:lnTo>
                  <a:lnTo>
                    <a:pt x="221397" y="118104"/>
                  </a:lnTo>
                  <a:lnTo>
                    <a:pt x="247379" y="92098"/>
                  </a:lnTo>
                  <a:lnTo>
                    <a:pt x="247643" y="92353"/>
                  </a:lnTo>
                  <a:lnTo>
                    <a:pt x="247643" y="77575"/>
                  </a:lnTo>
                  <a:lnTo>
                    <a:pt x="247643" y="47902"/>
                  </a:lnTo>
                  <a:lnTo>
                    <a:pt x="222731" y="47902"/>
                  </a:lnTo>
                  <a:lnTo>
                    <a:pt x="222731" y="19317"/>
                  </a:lnTo>
                  <a:lnTo>
                    <a:pt x="173388" y="19317"/>
                  </a:lnTo>
                  <a:lnTo>
                    <a:pt x="143485" y="49237"/>
                  </a:lnTo>
                  <a:lnTo>
                    <a:pt x="109150" y="14911"/>
                  </a:lnTo>
                  <a:lnTo>
                    <a:pt x="14943" y="14911"/>
                  </a:lnTo>
                  <a:lnTo>
                    <a:pt x="0" y="0"/>
                  </a:lnTo>
                  <a:lnTo>
                    <a:pt x="0" y="5371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2" name="Freeform: Shape 731">
              <a:extLst>
                <a:ext uri="{FF2B5EF4-FFF2-40B4-BE49-F238E27FC236}">
                  <a16:creationId xmlns:a16="http://schemas.microsoft.com/office/drawing/2014/main" id="{BE8F2A9F-3DFD-8BE5-DC31-21EACA1608A7}"/>
                </a:ext>
              </a:extLst>
            </p:cNvPr>
            <p:cNvSpPr/>
            <p:nvPr/>
          </p:nvSpPr>
          <p:spPr>
            <a:xfrm>
              <a:off x="5984324" y="3457024"/>
              <a:ext cx="176246" cy="267313"/>
            </a:xfrm>
            <a:custGeom>
              <a:avLst/>
              <a:gdLst>
                <a:gd name="connsiteX0" fmla="*/ 41256 w 176246"/>
                <a:gd name="connsiteY0" fmla="*/ 91455 h 267313"/>
                <a:gd name="connsiteX1" fmla="*/ 41256 w 176246"/>
                <a:gd name="connsiteY1" fmla="*/ 129035 h 267313"/>
                <a:gd name="connsiteX2" fmla="*/ 24401 w 176246"/>
                <a:gd name="connsiteY2" fmla="*/ 145898 h 267313"/>
                <a:gd name="connsiteX3" fmla="*/ 24401 w 176246"/>
                <a:gd name="connsiteY3" fmla="*/ 163231 h 267313"/>
                <a:gd name="connsiteX4" fmla="*/ 50893 w 176246"/>
                <a:gd name="connsiteY4" fmla="*/ 189731 h 267313"/>
                <a:gd name="connsiteX5" fmla="*/ 77765 w 176246"/>
                <a:gd name="connsiteY5" fmla="*/ 216619 h 267313"/>
                <a:gd name="connsiteX6" fmla="*/ 77765 w 176246"/>
                <a:gd name="connsiteY6" fmla="*/ 267313 h 267313"/>
                <a:gd name="connsiteX7" fmla="*/ 101111 w 176246"/>
                <a:gd name="connsiteY7" fmla="*/ 267313 h 267313"/>
                <a:gd name="connsiteX8" fmla="*/ 138517 w 176246"/>
                <a:gd name="connsiteY8" fmla="*/ 229898 h 267313"/>
                <a:gd name="connsiteX9" fmla="*/ 138517 w 176246"/>
                <a:gd name="connsiteY9" fmla="*/ 199781 h 267313"/>
                <a:gd name="connsiteX10" fmla="*/ 176247 w 176246"/>
                <a:gd name="connsiteY10" fmla="*/ 162052 h 267313"/>
                <a:gd name="connsiteX11" fmla="*/ 145734 w 176246"/>
                <a:gd name="connsiteY11" fmla="*/ 162052 h 267313"/>
                <a:gd name="connsiteX12" fmla="*/ 111415 w 176246"/>
                <a:gd name="connsiteY12" fmla="*/ 127693 h 267313"/>
                <a:gd name="connsiteX13" fmla="*/ 144861 w 176246"/>
                <a:gd name="connsiteY13" fmla="*/ 94231 h 267313"/>
                <a:gd name="connsiteX14" fmla="*/ 112305 w 176246"/>
                <a:gd name="connsiteY14" fmla="*/ 61667 h 267313"/>
                <a:gd name="connsiteX15" fmla="*/ 142217 w 176246"/>
                <a:gd name="connsiteY15" fmla="*/ 31715 h 267313"/>
                <a:gd name="connsiteX16" fmla="*/ 110534 w 176246"/>
                <a:gd name="connsiteY16" fmla="*/ 0 h 267313"/>
                <a:gd name="connsiteX17" fmla="*/ 80590 w 176246"/>
                <a:gd name="connsiteY17" fmla="*/ 29944 h 267313"/>
                <a:gd name="connsiteX18" fmla="*/ 0 w 176246"/>
                <a:gd name="connsiteY18" fmla="*/ 29944 h 267313"/>
                <a:gd name="connsiteX19" fmla="*/ 0 w 176246"/>
                <a:gd name="connsiteY19" fmla="*/ 50192 h 267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6246" h="267313">
                  <a:moveTo>
                    <a:pt x="41256" y="91455"/>
                  </a:moveTo>
                  <a:lnTo>
                    <a:pt x="41256" y="129035"/>
                  </a:lnTo>
                  <a:lnTo>
                    <a:pt x="24401" y="145898"/>
                  </a:lnTo>
                  <a:lnTo>
                    <a:pt x="24401" y="163231"/>
                  </a:lnTo>
                  <a:lnTo>
                    <a:pt x="50893" y="189731"/>
                  </a:lnTo>
                  <a:lnTo>
                    <a:pt x="77765" y="216619"/>
                  </a:lnTo>
                  <a:lnTo>
                    <a:pt x="77765" y="267313"/>
                  </a:lnTo>
                  <a:lnTo>
                    <a:pt x="101111" y="267313"/>
                  </a:lnTo>
                  <a:lnTo>
                    <a:pt x="138517" y="229898"/>
                  </a:lnTo>
                  <a:lnTo>
                    <a:pt x="138517" y="199781"/>
                  </a:lnTo>
                  <a:lnTo>
                    <a:pt x="176247" y="162052"/>
                  </a:lnTo>
                  <a:lnTo>
                    <a:pt x="145734" y="162052"/>
                  </a:lnTo>
                  <a:lnTo>
                    <a:pt x="111415" y="127693"/>
                  </a:lnTo>
                  <a:lnTo>
                    <a:pt x="144861" y="94231"/>
                  </a:lnTo>
                  <a:lnTo>
                    <a:pt x="112305" y="61667"/>
                  </a:lnTo>
                  <a:lnTo>
                    <a:pt x="142217" y="31715"/>
                  </a:lnTo>
                  <a:lnTo>
                    <a:pt x="110534" y="0"/>
                  </a:lnTo>
                  <a:lnTo>
                    <a:pt x="80590" y="29944"/>
                  </a:lnTo>
                  <a:lnTo>
                    <a:pt x="0" y="29944"/>
                  </a:lnTo>
                  <a:lnTo>
                    <a:pt x="0" y="50192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3" name="Freeform: Shape 732">
              <a:extLst>
                <a:ext uri="{FF2B5EF4-FFF2-40B4-BE49-F238E27FC236}">
                  <a16:creationId xmlns:a16="http://schemas.microsoft.com/office/drawing/2014/main" id="{81D3D16C-AB4D-5422-AAC2-68C48900F51F}"/>
                </a:ext>
              </a:extLst>
            </p:cNvPr>
            <p:cNvSpPr/>
            <p:nvPr/>
          </p:nvSpPr>
          <p:spPr>
            <a:xfrm>
              <a:off x="6062089" y="3619077"/>
              <a:ext cx="497281" cy="447810"/>
            </a:xfrm>
            <a:custGeom>
              <a:avLst/>
              <a:gdLst>
                <a:gd name="connsiteX0" fmla="*/ 33923 w 497281"/>
                <a:gd name="connsiteY0" fmla="*/ 218522 h 447810"/>
                <a:gd name="connsiteX1" fmla="*/ 2925 w 497281"/>
                <a:gd name="connsiteY1" fmla="*/ 249521 h 447810"/>
                <a:gd name="connsiteX2" fmla="*/ 25965 w 497281"/>
                <a:gd name="connsiteY2" fmla="*/ 272545 h 447810"/>
                <a:gd name="connsiteX3" fmla="*/ 25965 w 497281"/>
                <a:gd name="connsiteY3" fmla="*/ 307357 h 447810"/>
                <a:gd name="connsiteX4" fmla="*/ 53619 w 497281"/>
                <a:gd name="connsiteY4" fmla="*/ 307357 h 447810"/>
                <a:gd name="connsiteX5" fmla="*/ 80804 w 497281"/>
                <a:gd name="connsiteY5" fmla="*/ 334558 h 447810"/>
                <a:gd name="connsiteX6" fmla="*/ 153065 w 497281"/>
                <a:gd name="connsiteY6" fmla="*/ 334558 h 447810"/>
                <a:gd name="connsiteX7" fmla="*/ 179072 w 497281"/>
                <a:gd name="connsiteY7" fmla="*/ 360557 h 447810"/>
                <a:gd name="connsiteX8" fmla="*/ 205629 w 497281"/>
                <a:gd name="connsiteY8" fmla="*/ 360557 h 447810"/>
                <a:gd name="connsiteX9" fmla="*/ 311654 w 497281"/>
                <a:gd name="connsiteY9" fmla="*/ 360557 h 447810"/>
                <a:gd name="connsiteX10" fmla="*/ 398924 w 497281"/>
                <a:gd name="connsiteY10" fmla="*/ 447810 h 447810"/>
                <a:gd name="connsiteX11" fmla="*/ 456753 w 497281"/>
                <a:gd name="connsiteY11" fmla="*/ 447810 h 447810"/>
                <a:gd name="connsiteX12" fmla="*/ 497282 w 497281"/>
                <a:gd name="connsiteY12" fmla="*/ 447810 h 447810"/>
                <a:gd name="connsiteX13" fmla="*/ 497282 w 497281"/>
                <a:gd name="connsiteY13" fmla="*/ 384050 h 447810"/>
                <a:gd name="connsiteX14" fmla="*/ 497282 w 497281"/>
                <a:gd name="connsiteY14" fmla="*/ 143098 h 447810"/>
                <a:gd name="connsiteX15" fmla="*/ 475666 w 497281"/>
                <a:gd name="connsiteY15" fmla="*/ 121482 h 447810"/>
                <a:gd name="connsiteX16" fmla="*/ 475666 w 497281"/>
                <a:gd name="connsiteY16" fmla="*/ 94273 h 447810"/>
                <a:gd name="connsiteX17" fmla="*/ 475666 w 497281"/>
                <a:gd name="connsiteY17" fmla="*/ 40563 h 447810"/>
                <a:gd name="connsiteX18" fmla="*/ 471662 w 497281"/>
                <a:gd name="connsiteY18" fmla="*/ 36551 h 447810"/>
                <a:gd name="connsiteX19" fmla="*/ 420161 w 497281"/>
                <a:gd name="connsiteY19" fmla="*/ 36551 h 447810"/>
                <a:gd name="connsiteX20" fmla="*/ 420161 w 497281"/>
                <a:gd name="connsiteY20" fmla="*/ 15833 h 447810"/>
                <a:gd name="connsiteX21" fmla="*/ 358510 w 497281"/>
                <a:gd name="connsiteY21" fmla="*/ 15833 h 447810"/>
                <a:gd name="connsiteX22" fmla="*/ 333005 w 497281"/>
                <a:gd name="connsiteY22" fmla="*/ 41378 h 447810"/>
                <a:gd name="connsiteX23" fmla="*/ 333005 w 497281"/>
                <a:gd name="connsiteY23" fmla="*/ 86282 h 447810"/>
                <a:gd name="connsiteX24" fmla="*/ 289840 w 497281"/>
                <a:gd name="connsiteY24" fmla="*/ 86282 h 447810"/>
                <a:gd name="connsiteX25" fmla="*/ 279279 w 497281"/>
                <a:gd name="connsiteY25" fmla="*/ 75713 h 447810"/>
                <a:gd name="connsiteX26" fmla="*/ 214156 w 497281"/>
                <a:gd name="connsiteY26" fmla="*/ 75713 h 447810"/>
                <a:gd name="connsiteX27" fmla="*/ 186831 w 497281"/>
                <a:gd name="connsiteY27" fmla="*/ 48421 h 447810"/>
                <a:gd name="connsiteX28" fmla="*/ 186831 w 497281"/>
                <a:gd name="connsiteY28" fmla="*/ 31698 h 447810"/>
                <a:gd name="connsiteX29" fmla="*/ 168346 w 497281"/>
                <a:gd name="connsiteY29" fmla="*/ 31698 h 447810"/>
                <a:gd name="connsiteX30" fmla="*/ 136664 w 497281"/>
                <a:gd name="connsiteY30" fmla="*/ 0 h 447810"/>
                <a:gd name="connsiteX31" fmla="*/ 98482 w 497281"/>
                <a:gd name="connsiteY31" fmla="*/ 0 h 447810"/>
                <a:gd name="connsiteX32" fmla="*/ 60753 w 497281"/>
                <a:gd name="connsiteY32" fmla="*/ 37729 h 447810"/>
                <a:gd name="connsiteX33" fmla="*/ 60753 w 497281"/>
                <a:gd name="connsiteY33" fmla="*/ 67846 h 447810"/>
                <a:gd name="connsiteX34" fmla="*/ 23346 w 497281"/>
                <a:gd name="connsiteY34" fmla="*/ 105261 h 447810"/>
                <a:gd name="connsiteX35" fmla="*/ 0 w 497281"/>
                <a:gd name="connsiteY35" fmla="*/ 105261 h 447810"/>
                <a:gd name="connsiteX36" fmla="*/ 33923 w 497281"/>
                <a:gd name="connsiteY36" fmla="*/ 154474 h 447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7281" h="447810">
                  <a:moveTo>
                    <a:pt x="33923" y="218522"/>
                  </a:moveTo>
                  <a:lnTo>
                    <a:pt x="2925" y="249521"/>
                  </a:lnTo>
                  <a:lnTo>
                    <a:pt x="25965" y="272545"/>
                  </a:lnTo>
                  <a:lnTo>
                    <a:pt x="25965" y="307357"/>
                  </a:lnTo>
                  <a:lnTo>
                    <a:pt x="53619" y="307357"/>
                  </a:lnTo>
                  <a:lnTo>
                    <a:pt x="80804" y="334558"/>
                  </a:lnTo>
                  <a:lnTo>
                    <a:pt x="153065" y="334558"/>
                  </a:lnTo>
                  <a:lnTo>
                    <a:pt x="179072" y="360557"/>
                  </a:lnTo>
                  <a:lnTo>
                    <a:pt x="205629" y="360557"/>
                  </a:lnTo>
                  <a:lnTo>
                    <a:pt x="311654" y="360557"/>
                  </a:lnTo>
                  <a:lnTo>
                    <a:pt x="398924" y="447810"/>
                  </a:lnTo>
                  <a:lnTo>
                    <a:pt x="456753" y="447810"/>
                  </a:lnTo>
                  <a:lnTo>
                    <a:pt x="497282" y="447810"/>
                  </a:lnTo>
                  <a:lnTo>
                    <a:pt x="497282" y="384050"/>
                  </a:lnTo>
                  <a:lnTo>
                    <a:pt x="497282" y="143098"/>
                  </a:lnTo>
                  <a:lnTo>
                    <a:pt x="475666" y="121482"/>
                  </a:lnTo>
                  <a:lnTo>
                    <a:pt x="475666" y="94273"/>
                  </a:lnTo>
                  <a:lnTo>
                    <a:pt x="475666" y="40563"/>
                  </a:lnTo>
                  <a:lnTo>
                    <a:pt x="471662" y="36551"/>
                  </a:lnTo>
                  <a:lnTo>
                    <a:pt x="420161" y="36551"/>
                  </a:lnTo>
                  <a:lnTo>
                    <a:pt x="420161" y="15833"/>
                  </a:lnTo>
                  <a:lnTo>
                    <a:pt x="358510" y="15833"/>
                  </a:lnTo>
                  <a:lnTo>
                    <a:pt x="333005" y="41378"/>
                  </a:lnTo>
                  <a:lnTo>
                    <a:pt x="333005" y="86282"/>
                  </a:lnTo>
                  <a:lnTo>
                    <a:pt x="289840" y="86282"/>
                  </a:lnTo>
                  <a:lnTo>
                    <a:pt x="279279" y="75713"/>
                  </a:lnTo>
                  <a:lnTo>
                    <a:pt x="214156" y="75713"/>
                  </a:lnTo>
                  <a:lnTo>
                    <a:pt x="186831" y="48421"/>
                  </a:lnTo>
                  <a:lnTo>
                    <a:pt x="186831" y="31698"/>
                  </a:lnTo>
                  <a:lnTo>
                    <a:pt x="168346" y="31698"/>
                  </a:lnTo>
                  <a:lnTo>
                    <a:pt x="136664" y="0"/>
                  </a:lnTo>
                  <a:lnTo>
                    <a:pt x="98482" y="0"/>
                  </a:lnTo>
                  <a:lnTo>
                    <a:pt x="60753" y="37729"/>
                  </a:lnTo>
                  <a:lnTo>
                    <a:pt x="60753" y="67846"/>
                  </a:lnTo>
                  <a:lnTo>
                    <a:pt x="23346" y="105261"/>
                  </a:lnTo>
                  <a:lnTo>
                    <a:pt x="0" y="105261"/>
                  </a:lnTo>
                  <a:lnTo>
                    <a:pt x="33923" y="154474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4" name="Freeform: Shape 733">
              <a:extLst>
                <a:ext uri="{FF2B5EF4-FFF2-40B4-BE49-F238E27FC236}">
                  <a16:creationId xmlns:a16="http://schemas.microsoft.com/office/drawing/2014/main" id="{E03848A8-CB32-5661-0E08-6FEBAA510F07}"/>
                </a:ext>
              </a:extLst>
            </p:cNvPr>
            <p:cNvSpPr/>
            <p:nvPr/>
          </p:nvSpPr>
          <p:spPr>
            <a:xfrm>
              <a:off x="6535383" y="5169860"/>
              <a:ext cx="232484" cy="227706"/>
            </a:xfrm>
            <a:custGeom>
              <a:avLst/>
              <a:gdLst>
                <a:gd name="connsiteX0" fmla="*/ 70416 w 232484"/>
                <a:gd name="connsiteY0" fmla="*/ 79478 h 227706"/>
                <a:gd name="connsiteX1" fmla="*/ 17744 w 232484"/>
                <a:gd name="connsiteY1" fmla="*/ 79478 h 227706"/>
                <a:gd name="connsiteX2" fmla="*/ 0 w 232484"/>
                <a:gd name="connsiteY2" fmla="*/ 97180 h 227706"/>
                <a:gd name="connsiteX3" fmla="*/ 44730 w 232484"/>
                <a:gd name="connsiteY3" fmla="*/ 141903 h 227706"/>
                <a:gd name="connsiteX4" fmla="*/ 93712 w 232484"/>
                <a:gd name="connsiteY4" fmla="*/ 141903 h 227706"/>
                <a:gd name="connsiteX5" fmla="*/ 93712 w 232484"/>
                <a:gd name="connsiteY5" fmla="*/ 191346 h 227706"/>
                <a:gd name="connsiteX6" fmla="*/ 130090 w 232484"/>
                <a:gd name="connsiteY6" fmla="*/ 227707 h 227706"/>
                <a:gd name="connsiteX7" fmla="*/ 198232 w 232484"/>
                <a:gd name="connsiteY7" fmla="*/ 227707 h 227706"/>
                <a:gd name="connsiteX8" fmla="*/ 218333 w 232484"/>
                <a:gd name="connsiteY8" fmla="*/ 207615 h 227706"/>
                <a:gd name="connsiteX9" fmla="*/ 218333 w 232484"/>
                <a:gd name="connsiteY9" fmla="*/ 175867 h 227706"/>
                <a:gd name="connsiteX10" fmla="*/ 232484 w 232484"/>
                <a:gd name="connsiteY10" fmla="*/ 161706 h 227706"/>
                <a:gd name="connsiteX11" fmla="*/ 232484 w 232484"/>
                <a:gd name="connsiteY11" fmla="*/ 56091 h 227706"/>
                <a:gd name="connsiteX12" fmla="*/ 192597 w 232484"/>
                <a:gd name="connsiteY12" fmla="*/ 16221 h 227706"/>
                <a:gd name="connsiteX13" fmla="*/ 152381 w 232484"/>
                <a:gd name="connsiteY13" fmla="*/ 16221 h 227706"/>
                <a:gd name="connsiteX14" fmla="*/ 152381 w 232484"/>
                <a:gd name="connsiteY14" fmla="*/ 0 h 227706"/>
                <a:gd name="connsiteX15" fmla="*/ 111505 w 232484"/>
                <a:gd name="connsiteY15" fmla="*/ 38404 h 227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2484" h="227706">
                  <a:moveTo>
                    <a:pt x="70416" y="79478"/>
                  </a:moveTo>
                  <a:lnTo>
                    <a:pt x="17744" y="79478"/>
                  </a:lnTo>
                  <a:lnTo>
                    <a:pt x="0" y="97180"/>
                  </a:lnTo>
                  <a:lnTo>
                    <a:pt x="44730" y="141903"/>
                  </a:lnTo>
                  <a:lnTo>
                    <a:pt x="93712" y="141903"/>
                  </a:lnTo>
                  <a:lnTo>
                    <a:pt x="93712" y="191346"/>
                  </a:lnTo>
                  <a:lnTo>
                    <a:pt x="130090" y="227707"/>
                  </a:lnTo>
                  <a:lnTo>
                    <a:pt x="198232" y="227707"/>
                  </a:lnTo>
                  <a:lnTo>
                    <a:pt x="218333" y="207615"/>
                  </a:lnTo>
                  <a:lnTo>
                    <a:pt x="218333" y="175867"/>
                  </a:lnTo>
                  <a:lnTo>
                    <a:pt x="232484" y="161706"/>
                  </a:lnTo>
                  <a:lnTo>
                    <a:pt x="232484" y="56091"/>
                  </a:lnTo>
                  <a:lnTo>
                    <a:pt x="192597" y="16221"/>
                  </a:lnTo>
                  <a:lnTo>
                    <a:pt x="152381" y="16221"/>
                  </a:lnTo>
                  <a:lnTo>
                    <a:pt x="152381" y="0"/>
                  </a:lnTo>
                  <a:lnTo>
                    <a:pt x="111505" y="38404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5" name="Freeform: Shape 734">
              <a:extLst>
                <a:ext uri="{FF2B5EF4-FFF2-40B4-BE49-F238E27FC236}">
                  <a16:creationId xmlns:a16="http://schemas.microsoft.com/office/drawing/2014/main" id="{61B325CF-5530-113A-BB53-5F1DCB3A6DE1}"/>
                </a:ext>
              </a:extLst>
            </p:cNvPr>
            <p:cNvSpPr/>
            <p:nvPr/>
          </p:nvSpPr>
          <p:spPr>
            <a:xfrm>
              <a:off x="6136031" y="5204096"/>
              <a:ext cx="284782" cy="417693"/>
            </a:xfrm>
            <a:custGeom>
              <a:avLst/>
              <a:gdLst>
                <a:gd name="connsiteX0" fmla="*/ 228238 w 284782"/>
                <a:gd name="connsiteY0" fmla="*/ 417694 h 417693"/>
                <a:gd name="connsiteX1" fmla="*/ 239919 w 284782"/>
                <a:gd name="connsiteY1" fmla="*/ 406012 h 417693"/>
                <a:gd name="connsiteX2" fmla="*/ 260333 w 284782"/>
                <a:gd name="connsiteY2" fmla="*/ 406012 h 417693"/>
                <a:gd name="connsiteX3" fmla="*/ 260333 w 284782"/>
                <a:gd name="connsiteY3" fmla="*/ 278114 h 417693"/>
                <a:gd name="connsiteX4" fmla="*/ 260333 w 284782"/>
                <a:gd name="connsiteY4" fmla="*/ 191659 h 417693"/>
                <a:gd name="connsiteX5" fmla="*/ 284783 w 284782"/>
                <a:gd name="connsiteY5" fmla="*/ 167217 h 417693"/>
                <a:gd name="connsiteX6" fmla="*/ 284783 w 284782"/>
                <a:gd name="connsiteY6" fmla="*/ 55233 h 417693"/>
                <a:gd name="connsiteX7" fmla="*/ 199357 w 284782"/>
                <a:gd name="connsiteY7" fmla="*/ 55233 h 417693"/>
                <a:gd name="connsiteX8" fmla="*/ 165849 w 284782"/>
                <a:gd name="connsiteY8" fmla="*/ 21732 h 417693"/>
                <a:gd name="connsiteX9" fmla="*/ 79502 w 284782"/>
                <a:gd name="connsiteY9" fmla="*/ 21732 h 417693"/>
                <a:gd name="connsiteX10" fmla="*/ 57796 w 284782"/>
                <a:gd name="connsiteY10" fmla="*/ 0 h 417693"/>
                <a:gd name="connsiteX11" fmla="*/ 21854 w 284782"/>
                <a:gd name="connsiteY11" fmla="*/ 0 h 417693"/>
                <a:gd name="connsiteX12" fmla="*/ 21854 w 284782"/>
                <a:gd name="connsiteY12" fmla="*/ 23692 h 417693"/>
                <a:gd name="connsiteX13" fmla="*/ 0 w 284782"/>
                <a:gd name="connsiteY13" fmla="*/ 23692 h 417693"/>
                <a:gd name="connsiteX14" fmla="*/ 0 w 284782"/>
                <a:gd name="connsiteY14" fmla="*/ 42111 h 417693"/>
                <a:gd name="connsiteX15" fmla="*/ 20791 w 284782"/>
                <a:gd name="connsiteY15" fmla="*/ 62944 h 417693"/>
                <a:gd name="connsiteX16" fmla="*/ 20791 w 284782"/>
                <a:gd name="connsiteY16" fmla="*/ 86175 h 417693"/>
                <a:gd name="connsiteX17" fmla="*/ 69032 w 284782"/>
                <a:gd name="connsiteY17" fmla="*/ 134440 h 417693"/>
                <a:gd name="connsiteX18" fmla="*/ 69032 w 284782"/>
                <a:gd name="connsiteY18" fmla="*/ 154820 h 417693"/>
                <a:gd name="connsiteX19" fmla="*/ 100220 w 284782"/>
                <a:gd name="connsiteY19" fmla="*/ 186008 h 417693"/>
                <a:gd name="connsiteX20" fmla="*/ 100220 w 284782"/>
                <a:gd name="connsiteY20" fmla="*/ 251720 h 417693"/>
                <a:gd name="connsiteX21" fmla="*/ 115806 w 284782"/>
                <a:gd name="connsiteY21" fmla="*/ 267289 h 417693"/>
                <a:gd name="connsiteX22" fmla="*/ 115806 w 284782"/>
                <a:gd name="connsiteY22" fmla="*/ 364395 h 417693"/>
                <a:gd name="connsiteX23" fmla="*/ 135931 w 284782"/>
                <a:gd name="connsiteY23" fmla="*/ 384520 h 417693"/>
                <a:gd name="connsiteX24" fmla="*/ 135931 w 284782"/>
                <a:gd name="connsiteY24" fmla="*/ 417240 h 417693"/>
                <a:gd name="connsiteX25" fmla="*/ 136392 w 284782"/>
                <a:gd name="connsiteY25" fmla="*/ 417694 h 417693"/>
                <a:gd name="connsiteX26" fmla="*/ 187034 w 284782"/>
                <a:gd name="connsiteY26" fmla="*/ 417694 h 417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84782" h="417693">
                  <a:moveTo>
                    <a:pt x="228238" y="417694"/>
                  </a:moveTo>
                  <a:lnTo>
                    <a:pt x="239919" y="406012"/>
                  </a:lnTo>
                  <a:lnTo>
                    <a:pt x="260333" y="406012"/>
                  </a:lnTo>
                  <a:lnTo>
                    <a:pt x="260333" y="278114"/>
                  </a:lnTo>
                  <a:lnTo>
                    <a:pt x="260333" y="191659"/>
                  </a:lnTo>
                  <a:lnTo>
                    <a:pt x="284783" y="167217"/>
                  </a:lnTo>
                  <a:lnTo>
                    <a:pt x="284783" y="55233"/>
                  </a:lnTo>
                  <a:lnTo>
                    <a:pt x="199357" y="55233"/>
                  </a:lnTo>
                  <a:lnTo>
                    <a:pt x="165849" y="21732"/>
                  </a:lnTo>
                  <a:lnTo>
                    <a:pt x="79502" y="21732"/>
                  </a:lnTo>
                  <a:lnTo>
                    <a:pt x="57796" y="0"/>
                  </a:lnTo>
                  <a:lnTo>
                    <a:pt x="21854" y="0"/>
                  </a:lnTo>
                  <a:lnTo>
                    <a:pt x="21854" y="23692"/>
                  </a:lnTo>
                  <a:lnTo>
                    <a:pt x="0" y="23692"/>
                  </a:lnTo>
                  <a:lnTo>
                    <a:pt x="0" y="42111"/>
                  </a:lnTo>
                  <a:lnTo>
                    <a:pt x="20791" y="62944"/>
                  </a:lnTo>
                  <a:lnTo>
                    <a:pt x="20791" y="86175"/>
                  </a:lnTo>
                  <a:lnTo>
                    <a:pt x="69032" y="134440"/>
                  </a:lnTo>
                  <a:lnTo>
                    <a:pt x="69032" y="154820"/>
                  </a:lnTo>
                  <a:lnTo>
                    <a:pt x="100220" y="186008"/>
                  </a:lnTo>
                  <a:lnTo>
                    <a:pt x="100220" y="251720"/>
                  </a:lnTo>
                  <a:lnTo>
                    <a:pt x="115806" y="267289"/>
                  </a:lnTo>
                  <a:lnTo>
                    <a:pt x="115806" y="364395"/>
                  </a:lnTo>
                  <a:lnTo>
                    <a:pt x="135931" y="384520"/>
                  </a:lnTo>
                  <a:lnTo>
                    <a:pt x="135931" y="417240"/>
                  </a:lnTo>
                  <a:lnTo>
                    <a:pt x="136392" y="417694"/>
                  </a:lnTo>
                  <a:lnTo>
                    <a:pt x="187034" y="417694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6" name="Freeform: Shape 735">
              <a:extLst>
                <a:ext uri="{FF2B5EF4-FFF2-40B4-BE49-F238E27FC236}">
                  <a16:creationId xmlns:a16="http://schemas.microsoft.com/office/drawing/2014/main" id="{5F9484EC-AAE5-1D4A-8742-5444A559BAF8}"/>
                </a:ext>
              </a:extLst>
            </p:cNvPr>
            <p:cNvSpPr/>
            <p:nvPr/>
          </p:nvSpPr>
          <p:spPr>
            <a:xfrm>
              <a:off x="6599736" y="5577207"/>
              <a:ext cx="98720" cy="86718"/>
            </a:xfrm>
            <a:custGeom>
              <a:avLst/>
              <a:gdLst>
                <a:gd name="connsiteX0" fmla="*/ 63727 w 98720"/>
                <a:gd name="connsiteY0" fmla="*/ 23552 h 86718"/>
                <a:gd name="connsiteX1" fmla="*/ 48108 w 98720"/>
                <a:gd name="connsiteY1" fmla="*/ 39163 h 86718"/>
                <a:gd name="connsiteX2" fmla="*/ 15701 w 98720"/>
                <a:gd name="connsiteY2" fmla="*/ 39163 h 86718"/>
                <a:gd name="connsiteX3" fmla="*/ 0 w 98720"/>
                <a:gd name="connsiteY3" fmla="*/ 61520 h 86718"/>
                <a:gd name="connsiteX4" fmla="*/ 25207 w 98720"/>
                <a:gd name="connsiteY4" fmla="*/ 86719 h 86718"/>
                <a:gd name="connsiteX5" fmla="*/ 51897 w 98720"/>
                <a:gd name="connsiteY5" fmla="*/ 86719 h 86718"/>
                <a:gd name="connsiteX6" fmla="*/ 82542 w 98720"/>
                <a:gd name="connsiteY6" fmla="*/ 56042 h 86718"/>
                <a:gd name="connsiteX7" fmla="*/ 82542 w 98720"/>
                <a:gd name="connsiteY7" fmla="*/ 44583 h 86718"/>
                <a:gd name="connsiteX8" fmla="*/ 98720 w 98720"/>
                <a:gd name="connsiteY8" fmla="*/ 28412 h 86718"/>
                <a:gd name="connsiteX9" fmla="*/ 98720 w 98720"/>
                <a:gd name="connsiteY9" fmla="*/ 0 h 86718"/>
                <a:gd name="connsiteX10" fmla="*/ 63727 w 98720"/>
                <a:gd name="connsiteY10" fmla="*/ 0 h 86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720" h="86718">
                  <a:moveTo>
                    <a:pt x="63727" y="23552"/>
                  </a:moveTo>
                  <a:lnTo>
                    <a:pt x="48108" y="39163"/>
                  </a:lnTo>
                  <a:lnTo>
                    <a:pt x="15701" y="39163"/>
                  </a:lnTo>
                  <a:lnTo>
                    <a:pt x="0" y="61520"/>
                  </a:lnTo>
                  <a:lnTo>
                    <a:pt x="25207" y="86719"/>
                  </a:lnTo>
                  <a:lnTo>
                    <a:pt x="51897" y="86719"/>
                  </a:lnTo>
                  <a:lnTo>
                    <a:pt x="82542" y="56042"/>
                  </a:lnTo>
                  <a:lnTo>
                    <a:pt x="82542" y="44583"/>
                  </a:lnTo>
                  <a:lnTo>
                    <a:pt x="98720" y="28412"/>
                  </a:lnTo>
                  <a:lnTo>
                    <a:pt x="98720" y="0"/>
                  </a:lnTo>
                  <a:lnTo>
                    <a:pt x="63727" y="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7" name="Freeform: Shape 736">
              <a:extLst>
                <a:ext uri="{FF2B5EF4-FFF2-40B4-BE49-F238E27FC236}">
                  <a16:creationId xmlns:a16="http://schemas.microsoft.com/office/drawing/2014/main" id="{5DD653A5-FEDC-82F5-1242-891F36CD1FCF}"/>
                </a:ext>
              </a:extLst>
            </p:cNvPr>
            <p:cNvSpPr/>
            <p:nvPr/>
          </p:nvSpPr>
          <p:spPr>
            <a:xfrm>
              <a:off x="6136031" y="4873171"/>
              <a:ext cx="373403" cy="386159"/>
            </a:xfrm>
            <a:custGeom>
              <a:avLst/>
              <a:gdLst>
                <a:gd name="connsiteX0" fmla="*/ 346170 w 373403"/>
                <a:gd name="connsiteY0" fmla="*/ 361035 h 386159"/>
                <a:gd name="connsiteX1" fmla="*/ 319216 w 373403"/>
                <a:gd name="connsiteY1" fmla="*/ 334081 h 386159"/>
                <a:gd name="connsiteX2" fmla="*/ 319216 w 373403"/>
                <a:gd name="connsiteY2" fmla="*/ 230302 h 386159"/>
                <a:gd name="connsiteX3" fmla="*/ 373403 w 373403"/>
                <a:gd name="connsiteY3" fmla="*/ 230302 h 386159"/>
                <a:gd name="connsiteX4" fmla="*/ 373403 w 373403"/>
                <a:gd name="connsiteY4" fmla="*/ 165488 h 386159"/>
                <a:gd name="connsiteX5" fmla="*/ 349844 w 373403"/>
                <a:gd name="connsiteY5" fmla="*/ 165488 h 386159"/>
                <a:gd name="connsiteX6" fmla="*/ 326647 w 373403"/>
                <a:gd name="connsiteY6" fmla="*/ 142282 h 386159"/>
                <a:gd name="connsiteX7" fmla="*/ 305113 w 373403"/>
                <a:gd name="connsiteY7" fmla="*/ 120732 h 386159"/>
                <a:gd name="connsiteX8" fmla="*/ 305113 w 373403"/>
                <a:gd name="connsiteY8" fmla="*/ 68002 h 386159"/>
                <a:gd name="connsiteX9" fmla="*/ 282574 w 373403"/>
                <a:gd name="connsiteY9" fmla="*/ 45480 h 386159"/>
                <a:gd name="connsiteX10" fmla="*/ 256889 w 373403"/>
                <a:gd name="connsiteY10" fmla="*/ 19819 h 386159"/>
                <a:gd name="connsiteX11" fmla="*/ 216459 w 373403"/>
                <a:gd name="connsiteY11" fmla="*/ 60242 h 386159"/>
                <a:gd name="connsiteX12" fmla="*/ 181036 w 373403"/>
                <a:gd name="connsiteY12" fmla="*/ 60242 h 386159"/>
                <a:gd name="connsiteX13" fmla="*/ 153106 w 373403"/>
                <a:gd name="connsiteY13" fmla="*/ 32325 h 386159"/>
                <a:gd name="connsiteX14" fmla="*/ 153106 w 373403"/>
                <a:gd name="connsiteY14" fmla="*/ 0 h 386159"/>
                <a:gd name="connsiteX15" fmla="*/ 79502 w 373403"/>
                <a:gd name="connsiteY15" fmla="*/ 0 h 386159"/>
                <a:gd name="connsiteX16" fmla="*/ 63257 w 373403"/>
                <a:gd name="connsiteY16" fmla="*/ 0 h 386159"/>
                <a:gd name="connsiteX17" fmla="*/ 28791 w 373403"/>
                <a:gd name="connsiteY17" fmla="*/ 34458 h 386159"/>
                <a:gd name="connsiteX18" fmla="*/ 45117 w 373403"/>
                <a:gd name="connsiteY18" fmla="*/ 50818 h 386159"/>
                <a:gd name="connsiteX19" fmla="*/ 45117 w 373403"/>
                <a:gd name="connsiteY19" fmla="*/ 128261 h 386159"/>
                <a:gd name="connsiteX20" fmla="*/ 72393 w 373403"/>
                <a:gd name="connsiteY20" fmla="*/ 155561 h 386159"/>
                <a:gd name="connsiteX21" fmla="*/ 72393 w 373403"/>
                <a:gd name="connsiteY21" fmla="*/ 202244 h 386159"/>
                <a:gd name="connsiteX22" fmla="*/ 23535 w 373403"/>
                <a:gd name="connsiteY22" fmla="*/ 251102 h 386159"/>
                <a:gd name="connsiteX23" fmla="*/ 23535 w 373403"/>
                <a:gd name="connsiteY23" fmla="*/ 295578 h 386159"/>
                <a:gd name="connsiteX24" fmla="*/ 0 w 373403"/>
                <a:gd name="connsiteY24" fmla="*/ 319121 h 386159"/>
                <a:gd name="connsiteX25" fmla="*/ 0 w 373403"/>
                <a:gd name="connsiteY25" fmla="*/ 354617 h 386159"/>
                <a:gd name="connsiteX26" fmla="*/ 21854 w 373403"/>
                <a:gd name="connsiteY26" fmla="*/ 354617 h 386159"/>
                <a:gd name="connsiteX27" fmla="*/ 21854 w 373403"/>
                <a:gd name="connsiteY27" fmla="*/ 330926 h 386159"/>
                <a:gd name="connsiteX28" fmla="*/ 57796 w 373403"/>
                <a:gd name="connsiteY28" fmla="*/ 330926 h 386159"/>
                <a:gd name="connsiteX29" fmla="*/ 79502 w 373403"/>
                <a:gd name="connsiteY29" fmla="*/ 352657 h 386159"/>
                <a:gd name="connsiteX30" fmla="*/ 165849 w 373403"/>
                <a:gd name="connsiteY30" fmla="*/ 352657 h 386159"/>
                <a:gd name="connsiteX31" fmla="*/ 199357 w 373403"/>
                <a:gd name="connsiteY31" fmla="*/ 386159 h 386159"/>
                <a:gd name="connsiteX32" fmla="*/ 284783 w 373403"/>
                <a:gd name="connsiteY32" fmla="*/ 386159 h 386159"/>
                <a:gd name="connsiteX33" fmla="*/ 321060 w 373403"/>
                <a:gd name="connsiteY33" fmla="*/ 386159 h 386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73403" h="386159">
                  <a:moveTo>
                    <a:pt x="346170" y="361035"/>
                  </a:moveTo>
                  <a:lnTo>
                    <a:pt x="319216" y="334081"/>
                  </a:lnTo>
                  <a:lnTo>
                    <a:pt x="319216" y="230302"/>
                  </a:lnTo>
                  <a:lnTo>
                    <a:pt x="373403" y="230302"/>
                  </a:lnTo>
                  <a:lnTo>
                    <a:pt x="373403" y="165488"/>
                  </a:lnTo>
                  <a:lnTo>
                    <a:pt x="349844" y="165488"/>
                  </a:lnTo>
                  <a:lnTo>
                    <a:pt x="326647" y="142282"/>
                  </a:lnTo>
                  <a:lnTo>
                    <a:pt x="305113" y="120732"/>
                  </a:lnTo>
                  <a:lnTo>
                    <a:pt x="305113" y="68002"/>
                  </a:lnTo>
                  <a:lnTo>
                    <a:pt x="282574" y="45480"/>
                  </a:lnTo>
                  <a:lnTo>
                    <a:pt x="256889" y="19819"/>
                  </a:lnTo>
                  <a:lnTo>
                    <a:pt x="216459" y="60242"/>
                  </a:lnTo>
                  <a:lnTo>
                    <a:pt x="181036" y="60242"/>
                  </a:lnTo>
                  <a:lnTo>
                    <a:pt x="153106" y="32325"/>
                  </a:lnTo>
                  <a:lnTo>
                    <a:pt x="153106" y="0"/>
                  </a:lnTo>
                  <a:lnTo>
                    <a:pt x="79502" y="0"/>
                  </a:lnTo>
                  <a:lnTo>
                    <a:pt x="63257" y="0"/>
                  </a:lnTo>
                  <a:lnTo>
                    <a:pt x="28791" y="34458"/>
                  </a:lnTo>
                  <a:lnTo>
                    <a:pt x="45117" y="50818"/>
                  </a:lnTo>
                  <a:lnTo>
                    <a:pt x="45117" y="128261"/>
                  </a:lnTo>
                  <a:lnTo>
                    <a:pt x="72393" y="155561"/>
                  </a:lnTo>
                  <a:lnTo>
                    <a:pt x="72393" y="202244"/>
                  </a:lnTo>
                  <a:lnTo>
                    <a:pt x="23535" y="251102"/>
                  </a:lnTo>
                  <a:lnTo>
                    <a:pt x="23535" y="295578"/>
                  </a:lnTo>
                  <a:lnTo>
                    <a:pt x="0" y="319121"/>
                  </a:lnTo>
                  <a:lnTo>
                    <a:pt x="0" y="354617"/>
                  </a:lnTo>
                  <a:lnTo>
                    <a:pt x="21854" y="354617"/>
                  </a:lnTo>
                  <a:lnTo>
                    <a:pt x="21854" y="330926"/>
                  </a:lnTo>
                  <a:lnTo>
                    <a:pt x="57796" y="330926"/>
                  </a:lnTo>
                  <a:lnTo>
                    <a:pt x="79502" y="352657"/>
                  </a:lnTo>
                  <a:lnTo>
                    <a:pt x="165849" y="352657"/>
                  </a:lnTo>
                  <a:lnTo>
                    <a:pt x="199357" y="386159"/>
                  </a:lnTo>
                  <a:lnTo>
                    <a:pt x="284783" y="386159"/>
                  </a:lnTo>
                  <a:lnTo>
                    <a:pt x="321060" y="386159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8" name="Freeform: Shape 737">
              <a:extLst>
                <a:ext uri="{FF2B5EF4-FFF2-40B4-BE49-F238E27FC236}">
                  <a16:creationId xmlns:a16="http://schemas.microsoft.com/office/drawing/2014/main" id="{C16196F3-AA56-C7F8-EED4-134DA41AAC19}"/>
                </a:ext>
              </a:extLst>
            </p:cNvPr>
            <p:cNvSpPr/>
            <p:nvPr/>
          </p:nvSpPr>
          <p:spPr>
            <a:xfrm>
              <a:off x="6141270" y="4564100"/>
              <a:ext cx="219539" cy="255386"/>
            </a:xfrm>
            <a:custGeom>
              <a:avLst/>
              <a:gdLst>
                <a:gd name="connsiteX0" fmla="*/ 152184 w 219539"/>
                <a:gd name="connsiteY0" fmla="*/ 216858 h 255386"/>
                <a:gd name="connsiteX1" fmla="*/ 152184 w 219539"/>
                <a:gd name="connsiteY1" fmla="*/ 170274 h 255386"/>
                <a:gd name="connsiteX2" fmla="*/ 174281 w 219539"/>
                <a:gd name="connsiteY2" fmla="*/ 148172 h 255386"/>
                <a:gd name="connsiteX3" fmla="*/ 174281 w 219539"/>
                <a:gd name="connsiteY3" fmla="*/ 95731 h 255386"/>
                <a:gd name="connsiteX4" fmla="*/ 219539 w 219539"/>
                <a:gd name="connsiteY4" fmla="*/ 50489 h 255386"/>
                <a:gd name="connsiteX5" fmla="*/ 156805 w 219539"/>
                <a:gd name="connsiteY5" fmla="*/ 0 h 255386"/>
                <a:gd name="connsiteX6" fmla="*/ 120765 w 219539"/>
                <a:gd name="connsiteY6" fmla="*/ 36056 h 255386"/>
                <a:gd name="connsiteX7" fmla="*/ 120765 w 219539"/>
                <a:gd name="connsiteY7" fmla="*/ 86249 h 255386"/>
                <a:gd name="connsiteX8" fmla="*/ 101662 w 219539"/>
                <a:gd name="connsiteY8" fmla="*/ 67129 h 255386"/>
                <a:gd name="connsiteX9" fmla="*/ 39796 w 219539"/>
                <a:gd name="connsiteY9" fmla="*/ 67129 h 255386"/>
                <a:gd name="connsiteX10" fmla="*/ 73102 w 219539"/>
                <a:gd name="connsiteY10" fmla="*/ 100460 h 255386"/>
                <a:gd name="connsiteX11" fmla="*/ 73102 w 219539"/>
                <a:gd name="connsiteY11" fmla="*/ 179739 h 255386"/>
                <a:gd name="connsiteX12" fmla="*/ 54624 w 219539"/>
                <a:gd name="connsiteY12" fmla="*/ 198249 h 255386"/>
                <a:gd name="connsiteX13" fmla="*/ 26608 w 219539"/>
                <a:gd name="connsiteY13" fmla="*/ 198249 h 255386"/>
                <a:gd name="connsiteX14" fmla="*/ 0 w 219539"/>
                <a:gd name="connsiteY14" fmla="*/ 224857 h 255386"/>
                <a:gd name="connsiteX15" fmla="*/ 30528 w 219539"/>
                <a:gd name="connsiteY15" fmla="*/ 255386 h 255386"/>
                <a:gd name="connsiteX16" fmla="*/ 113664 w 219539"/>
                <a:gd name="connsiteY16" fmla="*/ 255386 h 25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9539" h="255386">
                  <a:moveTo>
                    <a:pt x="152184" y="216858"/>
                  </a:moveTo>
                  <a:lnTo>
                    <a:pt x="152184" y="170274"/>
                  </a:lnTo>
                  <a:lnTo>
                    <a:pt x="174281" y="148172"/>
                  </a:lnTo>
                  <a:lnTo>
                    <a:pt x="174281" y="95731"/>
                  </a:lnTo>
                  <a:lnTo>
                    <a:pt x="219539" y="50489"/>
                  </a:lnTo>
                  <a:lnTo>
                    <a:pt x="156805" y="0"/>
                  </a:lnTo>
                  <a:lnTo>
                    <a:pt x="120765" y="36056"/>
                  </a:lnTo>
                  <a:lnTo>
                    <a:pt x="120765" y="86249"/>
                  </a:lnTo>
                  <a:lnTo>
                    <a:pt x="101662" y="67129"/>
                  </a:lnTo>
                  <a:lnTo>
                    <a:pt x="39796" y="67129"/>
                  </a:lnTo>
                  <a:lnTo>
                    <a:pt x="73102" y="100460"/>
                  </a:lnTo>
                  <a:lnTo>
                    <a:pt x="73102" y="179739"/>
                  </a:lnTo>
                  <a:lnTo>
                    <a:pt x="54624" y="198249"/>
                  </a:lnTo>
                  <a:lnTo>
                    <a:pt x="26608" y="198249"/>
                  </a:lnTo>
                  <a:lnTo>
                    <a:pt x="0" y="224857"/>
                  </a:lnTo>
                  <a:lnTo>
                    <a:pt x="30528" y="255386"/>
                  </a:lnTo>
                  <a:lnTo>
                    <a:pt x="113664" y="255386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9" name="Freeform: Shape 738">
              <a:extLst>
                <a:ext uri="{FF2B5EF4-FFF2-40B4-BE49-F238E27FC236}">
                  <a16:creationId xmlns:a16="http://schemas.microsoft.com/office/drawing/2014/main" id="{618F1AB0-47DC-3D1A-3452-257483785E33}"/>
                </a:ext>
              </a:extLst>
            </p:cNvPr>
            <p:cNvSpPr/>
            <p:nvPr/>
          </p:nvSpPr>
          <p:spPr>
            <a:xfrm>
              <a:off x="6168141" y="4236831"/>
              <a:ext cx="89618" cy="91759"/>
            </a:xfrm>
            <a:custGeom>
              <a:avLst/>
              <a:gdLst>
                <a:gd name="connsiteX0" fmla="*/ 49476 w 89618"/>
                <a:gd name="connsiteY0" fmla="*/ 91759 h 91759"/>
                <a:gd name="connsiteX1" fmla="*/ 89619 w 89618"/>
                <a:gd name="connsiteY1" fmla="*/ 87559 h 91759"/>
                <a:gd name="connsiteX2" fmla="*/ 89619 w 89618"/>
                <a:gd name="connsiteY2" fmla="*/ 47334 h 91759"/>
                <a:gd name="connsiteX3" fmla="*/ 42301 w 89618"/>
                <a:gd name="connsiteY3" fmla="*/ 0 h 91759"/>
                <a:gd name="connsiteX4" fmla="*/ 0 w 89618"/>
                <a:gd name="connsiteY4" fmla="*/ 42309 h 91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18" h="91759">
                  <a:moveTo>
                    <a:pt x="49476" y="91759"/>
                  </a:moveTo>
                  <a:lnTo>
                    <a:pt x="89619" y="87559"/>
                  </a:lnTo>
                  <a:lnTo>
                    <a:pt x="89619" y="47334"/>
                  </a:lnTo>
                  <a:lnTo>
                    <a:pt x="42301" y="0"/>
                  </a:lnTo>
                  <a:lnTo>
                    <a:pt x="0" y="42309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0" name="Freeform: Shape 739">
              <a:extLst>
                <a:ext uri="{FF2B5EF4-FFF2-40B4-BE49-F238E27FC236}">
                  <a16:creationId xmlns:a16="http://schemas.microsoft.com/office/drawing/2014/main" id="{BA749841-489D-8F17-526B-8EBCD99263D6}"/>
                </a:ext>
              </a:extLst>
            </p:cNvPr>
            <p:cNvSpPr/>
            <p:nvPr/>
          </p:nvSpPr>
          <p:spPr>
            <a:xfrm>
              <a:off x="6038999" y="4324390"/>
              <a:ext cx="227113" cy="325958"/>
            </a:xfrm>
            <a:custGeom>
              <a:avLst/>
              <a:gdLst>
                <a:gd name="connsiteX0" fmla="*/ 187145 w 227113"/>
                <a:gd name="connsiteY0" fmla="*/ 239858 h 325958"/>
                <a:gd name="connsiteX1" fmla="*/ 187145 w 227113"/>
                <a:gd name="connsiteY1" fmla="*/ 187548 h 325958"/>
                <a:gd name="connsiteX2" fmla="*/ 227114 w 227113"/>
                <a:gd name="connsiteY2" fmla="*/ 147596 h 325958"/>
                <a:gd name="connsiteX3" fmla="*/ 185661 w 227113"/>
                <a:gd name="connsiteY3" fmla="*/ 106135 h 325958"/>
                <a:gd name="connsiteX4" fmla="*/ 185661 w 227113"/>
                <a:gd name="connsiteY4" fmla="*/ 63546 h 325958"/>
                <a:gd name="connsiteX5" fmla="*/ 185661 w 227113"/>
                <a:gd name="connsiteY5" fmla="*/ 33140 h 325958"/>
                <a:gd name="connsiteX6" fmla="*/ 218761 w 227113"/>
                <a:gd name="connsiteY6" fmla="*/ 0 h 325958"/>
                <a:gd name="connsiteX7" fmla="*/ 178618 w 227113"/>
                <a:gd name="connsiteY7" fmla="*/ 4201 h 325958"/>
                <a:gd name="connsiteX8" fmla="*/ 136103 w 227113"/>
                <a:gd name="connsiteY8" fmla="*/ 46741 h 325958"/>
                <a:gd name="connsiteX9" fmla="*/ 136103 w 227113"/>
                <a:gd name="connsiteY9" fmla="*/ 75400 h 325958"/>
                <a:gd name="connsiteX10" fmla="*/ 136103 w 227113"/>
                <a:gd name="connsiteY10" fmla="*/ 112330 h 325958"/>
                <a:gd name="connsiteX11" fmla="*/ 94660 w 227113"/>
                <a:gd name="connsiteY11" fmla="*/ 153765 h 325958"/>
                <a:gd name="connsiteX12" fmla="*/ 75350 w 227113"/>
                <a:gd name="connsiteY12" fmla="*/ 173075 h 325958"/>
                <a:gd name="connsiteX13" fmla="*/ 40217 w 227113"/>
                <a:gd name="connsiteY13" fmla="*/ 137932 h 325958"/>
                <a:gd name="connsiteX14" fmla="*/ 0 w 227113"/>
                <a:gd name="connsiteY14" fmla="*/ 178157 h 325958"/>
                <a:gd name="connsiteX15" fmla="*/ 0 w 227113"/>
                <a:gd name="connsiteY15" fmla="*/ 232633 h 325958"/>
                <a:gd name="connsiteX16" fmla="*/ 6581 w 227113"/>
                <a:gd name="connsiteY16" fmla="*/ 232633 h 325958"/>
                <a:gd name="connsiteX17" fmla="*/ 34738 w 227113"/>
                <a:gd name="connsiteY17" fmla="*/ 263229 h 325958"/>
                <a:gd name="connsiteX18" fmla="*/ 48825 w 227113"/>
                <a:gd name="connsiteY18" fmla="*/ 277339 h 325958"/>
                <a:gd name="connsiteX19" fmla="*/ 48825 w 227113"/>
                <a:gd name="connsiteY19" fmla="*/ 306839 h 325958"/>
                <a:gd name="connsiteX20" fmla="*/ 142068 w 227113"/>
                <a:gd name="connsiteY20" fmla="*/ 306839 h 325958"/>
                <a:gd name="connsiteX21" fmla="*/ 203933 w 227113"/>
                <a:gd name="connsiteY21" fmla="*/ 306839 h 325958"/>
                <a:gd name="connsiteX22" fmla="*/ 223036 w 227113"/>
                <a:gd name="connsiteY22" fmla="*/ 325958 h 325958"/>
                <a:gd name="connsiteX23" fmla="*/ 223036 w 227113"/>
                <a:gd name="connsiteY23" fmla="*/ 275766 h 325958"/>
                <a:gd name="connsiteX24" fmla="*/ 202302 w 227113"/>
                <a:gd name="connsiteY24" fmla="*/ 255032 h 325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7113" h="325958">
                  <a:moveTo>
                    <a:pt x="187145" y="239858"/>
                  </a:moveTo>
                  <a:lnTo>
                    <a:pt x="187145" y="187548"/>
                  </a:lnTo>
                  <a:lnTo>
                    <a:pt x="227114" y="147596"/>
                  </a:lnTo>
                  <a:lnTo>
                    <a:pt x="185661" y="106135"/>
                  </a:lnTo>
                  <a:lnTo>
                    <a:pt x="185661" y="63546"/>
                  </a:lnTo>
                  <a:lnTo>
                    <a:pt x="185661" y="33140"/>
                  </a:lnTo>
                  <a:lnTo>
                    <a:pt x="218761" y="0"/>
                  </a:lnTo>
                  <a:lnTo>
                    <a:pt x="178618" y="4201"/>
                  </a:lnTo>
                  <a:lnTo>
                    <a:pt x="136103" y="46741"/>
                  </a:lnTo>
                  <a:lnTo>
                    <a:pt x="136103" y="75400"/>
                  </a:lnTo>
                  <a:lnTo>
                    <a:pt x="136103" y="112330"/>
                  </a:lnTo>
                  <a:lnTo>
                    <a:pt x="94660" y="153765"/>
                  </a:lnTo>
                  <a:lnTo>
                    <a:pt x="75350" y="173075"/>
                  </a:lnTo>
                  <a:lnTo>
                    <a:pt x="40217" y="137932"/>
                  </a:lnTo>
                  <a:lnTo>
                    <a:pt x="0" y="178157"/>
                  </a:lnTo>
                  <a:lnTo>
                    <a:pt x="0" y="232633"/>
                  </a:lnTo>
                  <a:lnTo>
                    <a:pt x="6581" y="232633"/>
                  </a:lnTo>
                  <a:lnTo>
                    <a:pt x="34738" y="263229"/>
                  </a:lnTo>
                  <a:lnTo>
                    <a:pt x="48825" y="277339"/>
                  </a:lnTo>
                  <a:lnTo>
                    <a:pt x="48825" y="306839"/>
                  </a:lnTo>
                  <a:lnTo>
                    <a:pt x="142068" y="306839"/>
                  </a:lnTo>
                  <a:lnTo>
                    <a:pt x="203933" y="306839"/>
                  </a:lnTo>
                  <a:lnTo>
                    <a:pt x="223036" y="325958"/>
                  </a:lnTo>
                  <a:lnTo>
                    <a:pt x="223036" y="275766"/>
                  </a:lnTo>
                  <a:lnTo>
                    <a:pt x="202302" y="255032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1" name="Freeform: Shape 740">
              <a:extLst>
                <a:ext uri="{FF2B5EF4-FFF2-40B4-BE49-F238E27FC236}">
                  <a16:creationId xmlns:a16="http://schemas.microsoft.com/office/drawing/2014/main" id="{CA2F9164-06EE-BC45-9173-785CA195370B}"/>
                </a:ext>
              </a:extLst>
            </p:cNvPr>
            <p:cNvSpPr/>
            <p:nvPr/>
          </p:nvSpPr>
          <p:spPr>
            <a:xfrm>
              <a:off x="5861970" y="4268160"/>
              <a:ext cx="355647" cy="288863"/>
            </a:xfrm>
            <a:custGeom>
              <a:avLst/>
              <a:gdLst>
                <a:gd name="connsiteX0" fmla="*/ 217246 w 355647"/>
                <a:gd name="connsiteY0" fmla="*/ 194162 h 288863"/>
                <a:gd name="connsiteX1" fmla="*/ 252380 w 355647"/>
                <a:gd name="connsiteY1" fmla="*/ 229305 h 288863"/>
                <a:gd name="connsiteX2" fmla="*/ 271689 w 355647"/>
                <a:gd name="connsiteY2" fmla="*/ 209996 h 288863"/>
                <a:gd name="connsiteX3" fmla="*/ 313132 w 355647"/>
                <a:gd name="connsiteY3" fmla="*/ 168560 h 288863"/>
                <a:gd name="connsiteX4" fmla="*/ 313132 w 355647"/>
                <a:gd name="connsiteY4" fmla="*/ 131631 h 288863"/>
                <a:gd name="connsiteX5" fmla="*/ 313132 w 355647"/>
                <a:gd name="connsiteY5" fmla="*/ 102971 h 288863"/>
                <a:gd name="connsiteX6" fmla="*/ 355648 w 355647"/>
                <a:gd name="connsiteY6" fmla="*/ 60431 h 288863"/>
                <a:gd name="connsiteX7" fmla="*/ 306171 w 355647"/>
                <a:gd name="connsiteY7" fmla="*/ 10980 h 288863"/>
                <a:gd name="connsiteX8" fmla="*/ 305480 w 355647"/>
                <a:gd name="connsiteY8" fmla="*/ 11665 h 288863"/>
                <a:gd name="connsiteX9" fmla="*/ 289013 w 355647"/>
                <a:gd name="connsiteY9" fmla="*/ 28131 h 288863"/>
                <a:gd name="connsiteX10" fmla="*/ 274960 w 355647"/>
                <a:gd name="connsiteY10" fmla="*/ 14054 h 288863"/>
                <a:gd name="connsiteX11" fmla="*/ 243046 w 355647"/>
                <a:gd name="connsiteY11" fmla="*/ 14054 h 288863"/>
                <a:gd name="connsiteX12" fmla="*/ 228976 w 355647"/>
                <a:gd name="connsiteY12" fmla="*/ 0 h 288863"/>
                <a:gd name="connsiteX13" fmla="*/ 206438 w 355647"/>
                <a:gd name="connsiteY13" fmla="*/ 22538 h 288863"/>
                <a:gd name="connsiteX14" fmla="*/ 177029 w 355647"/>
                <a:gd name="connsiteY14" fmla="*/ 22538 h 288863"/>
                <a:gd name="connsiteX15" fmla="*/ 156723 w 355647"/>
                <a:gd name="connsiteY15" fmla="*/ 22538 h 288863"/>
                <a:gd name="connsiteX16" fmla="*/ 134028 w 355647"/>
                <a:gd name="connsiteY16" fmla="*/ 45242 h 288863"/>
                <a:gd name="connsiteX17" fmla="*/ 89420 w 355647"/>
                <a:gd name="connsiteY17" fmla="*/ 618 h 288863"/>
                <a:gd name="connsiteX18" fmla="*/ 62508 w 355647"/>
                <a:gd name="connsiteY18" fmla="*/ 618 h 288863"/>
                <a:gd name="connsiteX19" fmla="*/ 62508 w 355647"/>
                <a:gd name="connsiteY19" fmla="*/ 36525 h 288863"/>
                <a:gd name="connsiteX20" fmla="*/ 32885 w 355647"/>
                <a:gd name="connsiteY20" fmla="*/ 66140 h 288863"/>
                <a:gd name="connsiteX21" fmla="*/ 32885 w 355647"/>
                <a:gd name="connsiteY21" fmla="*/ 118321 h 288863"/>
                <a:gd name="connsiteX22" fmla="*/ 0 w 355647"/>
                <a:gd name="connsiteY22" fmla="*/ 151222 h 288863"/>
                <a:gd name="connsiteX23" fmla="*/ 0 w 355647"/>
                <a:gd name="connsiteY23" fmla="*/ 242420 h 288863"/>
                <a:gd name="connsiteX24" fmla="*/ 53274 w 355647"/>
                <a:gd name="connsiteY24" fmla="*/ 242420 h 288863"/>
                <a:gd name="connsiteX25" fmla="*/ 99710 w 355647"/>
                <a:gd name="connsiteY25" fmla="*/ 288864 h 288863"/>
                <a:gd name="connsiteX26" fmla="*/ 177029 w 355647"/>
                <a:gd name="connsiteY26" fmla="*/ 288864 h 288863"/>
                <a:gd name="connsiteX27" fmla="*/ 177029 w 355647"/>
                <a:gd name="connsiteY27" fmla="*/ 234388 h 288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55647" h="288863">
                  <a:moveTo>
                    <a:pt x="217246" y="194162"/>
                  </a:moveTo>
                  <a:lnTo>
                    <a:pt x="252380" y="229305"/>
                  </a:lnTo>
                  <a:lnTo>
                    <a:pt x="271689" y="209996"/>
                  </a:lnTo>
                  <a:lnTo>
                    <a:pt x="313132" y="168560"/>
                  </a:lnTo>
                  <a:lnTo>
                    <a:pt x="313132" y="131631"/>
                  </a:lnTo>
                  <a:lnTo>
                    <a:pt x="313132" y="102971"/>
                  </a:lnTo>
                  <a:lnTo>
                    <a:pt x="355648" y="60431"/>
                  </a:lnTo>
                  <a:lnTo>
                    <a:pt x="306171" y="10980"/>
                  </a:lnTo>
                  <a:lnTo>
                    <a:pt x="305480" y="11665"/>
                  </a:lnTo>
                  <a:lnTo>
                    <a:pt x="289013" y="28131"/>
                  </a:lnTo>
                  <a:lnTo>
                    <a:pt x="274960" y="14054"/>
                  </a:lnTo>
                  <a:lnTo>
                    <a:pt x="243046" y="14054"/>
                  </a:lnTo>
                  <a:lnTo>
                    <a:pt x="228976" y="0"/>
                  </a:lnTo>
                  <a:lnTo>
                    <a:pt x="206438" y="22538"/>
                  </a:lnTo>
                  <a:lnTo>
                    <a:pt x="177029" y="22538"/>
                  </a:lnTo>
                  <a:lnTo>
                    <a:pt x="156723" y="22538"/>
                  </a:lnTo>
                  <a:lnTo>
                    <a:pt x="134028" y="45242"/>
                  </a:lnTo>
                  <a:lnTo>
                    <a:pt x="89420" y="618"/>
                  </a:lnTo>
                  <a:lnTo>
                    <a:pt x="62508" y="618"/>
                  </a:lnTo>
                  <a:lnTo>
                    <a:pt x="62508" y="36525"/>
                  </a:lnTo>
                  <a:lnTo>
                    <a:pt x="32885" y="66140"/>
                  </a:lnTo>
                  <a:lnTo>
                    <a:pt x="32885" y="118321"/>
                  </a:lnTo>
                  <a:lnTo>
                    <a:pt x="0" y="151222"/>
                  </a:lnTo>
                  <a:lnTo>
                    <a:pt x="0" y="242420"/>
                  </a:lnTo>
                  <a:lnTo>
                    <a:pt x="53274" y="242420"/>
                  </a:lnTo>
                  <a:lnTo>
                    <a:pt x="99710" y="288864"/>
                  </a:lnTo>
                  <a:lnTo>
                    <a:pt x="177029" y="288864"/>
                  </a:lnTo>
                  <a:lnTo>
                    <a:pt x="177029" y="234388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2" name="Freeform: Shape 741">
              <a:extLst>
                <a:ext uri="{FF2B5EF4-FFF2-40B4-BE49-F238E27FC236}">
                  <a16:creationId xmlns:a16="http://schemas.microsoft.com/office/drawing/2014/main" id="{3FBCF763-74F0-87AF-5A70-44F918591C27}"/>
                </a:ext>
              </a:extLst>
            </p:cNvPr>
            <p:cNvSpPr/>
            <p:nvPr/>
          </p:nvSpPr>
          <p:spPr>
            <a:xfrm>
              <a:off x="5526514" y="4381115"/>
              <a:ext cx="194105" cy="176616"/>
            </a:xfrm>
            <a:custGeom>
              <a:avLst/>
              <a:gdLst>
                <a:gd name="connsiteX0" fmla="*/ 32333 w 194105"/>
                <a:gd name="connsiteY0" fmla="*/ 81274 h 176616"/>
                <a:gd name="connsiteX1" fmla="*/ 0 w 194105"/>
                <a:gd name="connsiteY1" fmla="*/ 81274 h 176616"/>
                <a:gd name="connsiteX2" fmla="*/ 0 w 194105"/>
                <a:gd name="connsiteY2" fmla="*/ 101595 h 176616"/>
                <a:gd name="connsiteX3" fmla="*/ 32333 w 194105"/>
                <a:gd name="connsiteY3" fmla="*/ 133937 h 176616"/>
                <a:gd name="connsiteX4" fmla="*/ 32333 w 194105"/>
                <a:gd name="connsiteY4" fmla="*/ 173734 h 176616"/>
                <a:gd name="connsiteX5" fmla="*/ 37424 w 194105"/>
                <a:gd name="connsiteY5" fmla="*/ 168634 h 176616"/>
                <a:gd name="connsiteX6" fmla="*/ 161575 w 194105"/>
                <a:gd name="connsiteY6" fmla="*/ 168634 h 176616"/>
                <a:gd name="connsiteX7" fmla="*/ 169549 w 194105"/>
                <a:gd name="connsiteY7" fmla="*/ 176617 h 176616"/>
                <a:gd name="connsiteX8" fmla="*/ 169549 w 194105"/>
                <a:gd name="connsiteY8" fmla="*/ 114213 h 176616"/>
                <a:gd name="connsiteX9" fmla="*/ 194105 w 194105"/>
                <a:gd name="connsiteY9" fmla="*/ 89640 h 176616"/>
                <a:gd name="connsiteX10" fmla="*/ 194105 w 194105"/>
                <a:gd name="connsiteY10" fmla="*/ 60168 h 176616"/>
                <a:gd name="connsiteX11" fmla="*/ 170249 w 194105"/>
                <a:gd name="connsiteY11" fmla="*/ 36304 h 176616"/>
                <a:gd name="connsiteX12" fmla="*/ 170249 w 194105"/>
                <a:gd name="connsiteY12" fmla="*/ 2743 h 176616"/>
                <a:gd name="connsiteX13" fmla="*/ 95483 w 194105"/>
                <a:gd name="connsiteY13" fmla="*/ 2743 h 176616"/>
                <a:gd name="connsiteX14" fmla="*/ 32333 w 194105"/>
                <a:gd name="connsiteY14" fmla="*/ 0 h 17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4105" h="176616">
                  <a:moveTo>
                    <a:pt x="32333" y="81274"/>
                  </a:moveTo>
                  <a:lnTo>
                    <a:pt x="0" y="81274"/>
                  </a:lnTo>
                  <a:lnTo>
                    <a:pt x="0" y="101595"/>
                  </a:lnTo>
                  <a:lnTo>
                    <a:pt x="32333" y="133937"/>
                  </a:lnTo>
                  <a:lnTo>
                    <a:pt x="32333" y="173734"/>
                  </a:lnTo>
                  <a:lnTo>
                    <a:pt x="37424" y="168634"/>
                  </a:lnTo>
                  <a:lnTo>
                    <a:pt x="161575" y="168634"/>
                  </a:lnTo>
                  <a:lnTo>
                    <a:pt x="169549" y="176617"/>
                  </a:lnTo>
                  <a:lnTo>
                    <a:pt x="169549" y="114213"/>
                  </a:lnTo>
                  <a:lnTo>
                    <a:pt x="194105" y="89640"/>
                  </a:lnTo>
                  <a:lnTo>
                    <a:pt x="194105" y="60168"/>
                  </a:lnTo>
                  <a:lnTo>
                    <a:pt x="170249" y="36304"/>
                  </a:lnTo>
                  <a:lnTo>
                    <a:pt x="170249" y="2743"/>
                  </a:lnTo>
                  <a:lnTo>
                    <a:pt x="95483" y="2743"/>
                  </a:lnTo>
                  <a:lnTo>
                    <a:pt x="32333" y="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3" name="Freeform: Shape 742">
              <a:extLst>
                <a:ext uri="{FF2B5EF4-FFF2-40B4-BE49-F238E27FC236}">
                  <a16:creationId xmlns:a16="http://schemas.microsoft.com/office/drawing/2014/main" id="{DD28C5C9-EA3A-0F47-3EAE-D9577A075CD1}"/>
                </a:ext>
              </a:extLst>
            </p:cNvPr>
            <p:cNvSpPr/>
            <p:nvPr/>
          </p:nvSpPr>
          <p:spPr>
            <a:xfrm>
              <a:off x="5422265" y="3889529"/>
              <a:ext cx="498274" cy="494329"/>
            </a:xfrm>
            <a:custGeom>
              <a:avLst/>
              <a:gdLst>
                <a:gd name="connsiteX0" fmla="*/ 457811 w 498274"/>
                <a:gd name="connsiteY0" fmla="*/ 204938 h 494329"/>
                <a:gd name="connsiteX1" fmla="*/ 457811 w 498274"/>
                <a:gd name="connsiteY1" fmla="*/ 162374 h 494329"/>
                <a:gd name="connsiteX2" fmla="*/ 407371 w 498274"/>
                <a:gd name="connsiteY2" fmla="*/ 162374 h 494329"/>
                <a:gd name="connsiteX3" fmla="*/ 368720 w 498274"/>
                <a:gd name="connsiteY3" fmla="*/ 123714 h 494329"/>
                <a:gd name="connsiteX4" fmla="*/ 303486 w 498274"/>
                <a:gd name="connsiteY4" fmla="*/ 123714 h 494329"/>
                <a:gd name="connsiteX5" fmla="*/ 228918 w 498274"/>
                <a:gd name="connsiteY5" fmla="*/ 49155 h 494329"/>
                <a:gd name="connsiteX6" fmla="*/ 179764 w 498274"/>
                <a:gd name="connsiteY6" fmla="*/ 0 h 494329"/>
                <a:gd name="connsiteX7" fmla="*/ 148609 w 498274"/>
                <a:gd name="connsiteY7" fmla="*/ 28552 h 494329"/>
                <a:gd name="connsiteX8" fmla="*/ 184541 w 498274"/>
                <a:gd name="connsiteY8" fmla="*/ 64485 h 494329"/>
                <a:gd name="connsiteX9" fmla="*/ 184541 w 498274"/>
                <a:gd name="connsiteY9" fmla="*/ 155207 h 494329"/>
                <a:gd name="connsiteX10" fmla="*/ 184541 w 498274"/>
                <a:gd name="connsiteY10" fmla="*/ 289219 h 494329"/>
                <a:gd name="connsiteX11" fmla="*/ 199732 w 498274"/>
                <a:gd name="connsiteY11" fmla="*/ 304392 h 494329"/>
                <a:gd name="connsiteX12" fmla="*/ 199732 w 498274"/>
                <a:gd name="connsiteY12" fmla="*/ 336544 h 494329"/>
                <a:gd name="connsiteX13" fmla="*/ 94973 w 498274"/>
                <a:gd name="connsiteY13" fmla="*/ 336544 h 494329"/>
                <a:gd name="connsiteX14" fmla="*/ 68282 w 498274"/>
                <a:gd name="connsiteY14" fmla="*/ 309853 h 494329"/>
                <a:gd name="connsiteX15" fmla="*/ 34821 w 498274"/>
                <a:gd name="connsiteY15" fmla="*/ 309853 h 494329"/>
                <a:gd name="connsiteX16" fmla="*/ 0 w 498274"/>
                <a:gd name="connsiteY16" fmla="*/ 344691 h 494329"/>
                <a:gd name="connsiteX17" fmla="*/ 0 w 498274"/>
                <a:gd name="connsiteY17" fmla="*/ 422191 h 494329"/>
                <a:gd name="connsiteX18" fmla="*/ 21583 w 498274"/>
                <a:gd name="connsiteY18" fmla="*/ 422191 h 494329"/>
                <a:gd name="connsiteX19" fmla="*/ 73629 w 498274"/>
                <a:gd name="connsiteY19" fmla="*/ 422191 h 494329"/>
                <a:gd name="connsiteX20" fmla="*/ 97979 w 498274"/>
                <a:gd name="connsiteY20" fmla="*/ 446526 h 494329"/>
                <a:gd name="connsiteX21" fmla="*/ 114982 w 498274"/>
                <a:gd name="connsiteY21" fmla="*/ 463520 h 494329"/>
                <a:gd name="connsiteX22" fmla="*/ 136581 w 498274"/>
                <a:gd name="connsiteY22" fmla="*/ 463520 h 494329"/>
                <a:gd name="connsiteX23" fmla="*/ 136581 w 498274"/>
                <a:gd name="connsiteY23" fmla="*/ 491586 h 494329"/>
                <a:gd name="connsiteX24" fmla="*/ 199732 w 498274"/>
                <a:gd name="connsiteY24" fmla="*/ 494329 h 494329"/>
                <a:gd name="connsiteX25" fmla="*/ 199732 w 498274"/>
                <a:gd name="connsiteY25" fmla="*/ 476207 h 494329"/>
                <a:gd name="connsiteX26" fmla="*/ 218036 w 498274"/>
                <a:gd name="connsiteY26" fmla="*/ 457910 h 494329"/>
                <a:gd name="connsiteX27" fmla="*/ 244035 w 498274"/>
                <a:gd name="connsiteY27" fmla="*/ 431912 h 494329"/>
                <a:gd name="connsiteX28" fmla="*/ 244035 w 498274"/>
                <a:gd name="connsiteY28" fmla="*/ 401161 h 494329"/>
                <a:gd name="connsiteX29" fmla="*/ 274497 w 498274"/>
                <a:gd name="connsiteY29" fmla="*/ 370697 h 494329"/>
                <a:gd name="connsiteX30" fmla="*/ 325810 w 498274"/>
                <a:gd name="connsiteY30" fmla="*/ 370697 h 494329"/>
                <a:gd name="connsiteX31" fmla="*/ 346627 w 498274"/>
                <a:gd name="connsiteY31" fmla="*/ 349864 h 494329"/>
                <a:gd name="connsiteX32" fmla="*/ 375220 w 498274"/>
                <a:gd name="connsiteY32" fmla="*/ 321279 h 494329"/>
                <a:gd name="connsiteX33" fmla="*/ 390591 w 498274"/>
                <a:gd name="connsiteY33" fmla="*/ 336651 h 494329"/>
                <a:gd name="connsiteX34" fmla="*/ 425033 w 498274"/>
                <a:gd name="connsiteY34" fmla="*/ 336651 h 494329"/>
                <a:gd name="connsiteX35" fmla="*/ 474410 w 498274"/>
                <a:gd name="connsiteY35" fmla="*/ 336651 h 494329"/>
                <a:gd name="connsiteX36" fmla="*/ 498275 w 498274"/>
                <a:gd name="connsiteY36" fmla="*/ 312771 h 494329"/>
                <a:gd name="connsiteX37" fmla="*/ 498275 w 498274"/>
                <a:gd name="connsiteY37" fmla="*/ 204938 h 494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98274" h="494329">
                  <a:moveTo>
                    <a:pt x="457811" y="204938"/>
                  </a:moveTo>
                  <a:lnTo>
                    <a:pt x="457811" y="162374"/>
                  </a:lnTo>
                  <a:lnTo>
                    <a:pt x="407371" y="162374"/>
                  </a:lnTo>
                  <a:lnTo>
                    <a:pt x="368720" y="123714"/>
                  </a:lnTo>
                  <a:lnTo>
                    <a:pt x="303486" y="123714"/>
                  </a:lnTo>
                  <a:lnTo>
                    <a:pt x="228918" y="49155"/>
                  </a:lnTo>
                  <a:lnTo>
                    <a:pt x="179764" y="0"/>
                  </a:lnTo>
                  <a:lnTo>
                    <a:pt x="148609" y="28552"/>
                  </a:lnTo>
                  <a:lnTo>
                    <a:pt x="184541" y="64485"/>
                  </a:lnTo>
                  <a:lnTo>
                    <a:pt x="184541" y="155207"/>
                  </a:lnTo>
                  <a:lnTo>
                    <a:pt x="184541" y="289219"/>
                  </a:lnTo>
                  <a:lnTo>
                    <a:pt x="199732" y="304392"/>
                  </a:lnTo>
                  <a:lnTo>
                    <a:pt x="199732" y="336544"/>
                  </a:lnTo>
                  <a:lnTo>
                    <a:pt x="94973" y="336544"/>
                  </a:lnTo>
                  <a:lnTo>
                    <a:pt x="68282" y="309853"/>
                  </a:lnTo>
                  <a:lnTo>
                    <a:pt x="34821" y="309853"/>
                  </a:lnTo>
                  <a:lnTo>
                    <a:pt x="0" y="344691"/>
                  </a:lnTo>
                  <a:lnTo>
                    <a:pt x="0" y="422191"/>
                  </a:lnTo>
                  <a:lnTo>
                    <a:pt x="21583" y="422191"/>
                  </a:lnTo>
                  <a:lnTo>
                    <a:pt x="73629" y="422191"/>
                  </a:lnTo>
                  <a:lnTo>
                    <a:pt x="97979" y="446526"/>
                  </a:lnTo>
                  <a:lnTo>
                    <a:pt x="114982" y="463520"/>
                  </a:lnTo>
                  <a:lnTo>
                    <a:pt x="136581" y="463520"/>
                  </a:lnTo>
                  <a:lnTo>
                    <a:pt x="136581" y="491586"/>
                  </a:lnTo>
                  <a:lnTo>
                    <a:pt x="199732" y="494329"/>
                  </a:lnTo>
                  <a:lnTo>
                    <a:pt x="199732" y="476207"/>
                  </a:lnTo>
                  <a:lnTo>
                    <a:pt x="218036" y="457910"/>
                  </a:lnTo>
                  <a:lnTo>
                    <a:pt x="244035" y="431912"/>
                  </a:lnTo>
                  <a:lnTo>
                    <a:pt x="244035" y="401161"/>
                  </a:lnTo>
                  <a:lnTo>
                    <a:pt x="274497" y="370697"/>
                  </a:lnTo>
                  <a:lnTo>
                    <a:pt x="325810" y="370697"/>
                  </a:lnTo>
                  <a:lnTo>
                    <a:pt x="346627" y="349864"/>
                  </a:lnTo>
                  <a:lnTo>
                    <a:pt x="375220" y="321279"/>
                  </a:lnTo>
                  <a:lnTo>
                    <a:pt x="390591" y="336651"/>
                  </a:lnTo>
                  <a:lnTo>
                    <a:pt x="425033" y="336651"/>
                  </a:lnTo>
                  <a:lnTo>
                    <a:pt x="474410" y="336651"/>
                  </a:lnTo>
                  <a:lnTo>
                    <a:pt x="498275" y="312771"/>
                  </a:lnTo>
                  <a:lnTo>
                    <a:pt x="498275" y="204938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4" name="Freeform: Shape 743">
              <a:extLst>
                <a:ext uri="{FF2B5EF4-FFF2-40B4-BE49-F238E27FC236}">
                  <a16:creationId xmlns:a16="http://schemas.microsoft.com/office/drawing/2014/main" id="{19CD93A7-E577-F98A-8D3D-34873F5A1158}"/>
                </a:ext>
              </a:extLst>
            </p:cNvPr>
            <p:cNvSpPr/>
            <p:nvPr/>
          </p:nvSpPr>
          <p:spPr>
            <a:xfrm>
              <a:off x="5381678" y="3517802"/>
              <a:ext cx="375862" cy="290914"/>
            </a:xfrm>
            <a:custGeom>
              <a:avLst/>
              <a:gdLst>
                <a:gd name="connsiteX0" fmla="*/ 235624 w 375862"/>
                <a:gd name="connsiteY0" fmla="*/ 235443 h 290914"/>
                <a:gd name="connsiteX1" fmla="*/ 297852 w 375862"/>
                <a:gd name="connsiteY1" fmla="*/ 173223 h 290914"/>
                <a:gd name="connsiteX2" fmla="*/ 297852 w 375862"/>
                <a:gd name="connsiteY2" fmla="*/ 143378 h 290914"/>
                <a:gd name="connsiteX3" fmla="*/ 375863 w 375862"/>
                <a:gd name="connsiteY3" fmla="*/ 143378 h 290914"/>
                <a:gd name="connsiteX4" fmla="*/ 347352 w 375862"/>
                <a:gd name="connsiteY4" fmla="*/ 114859 h 290914"/>
                <a:gd name="connsiteX5" fmla="*/ 347352 w 375862"/>
                <a:gd name="connsiteY5" fmla="*/ 29730 h 290914"/>
                <a:gd name="connsiteX6" fmla="*/ 332846 w 375862"/>
                <a:gd name="connsiteY6" fmla="*/ 29730 h 290914"/>
                <a:gd name="connsiteX7" fmla="*/ 314879 w 375862"/>
                <a:gd name="connsiteY7" fmla="*/ 11780 h 290914"/>
                <a:gd name="connsiteX8" fmla="*/ 299367 w 375862"/>
                <a:gd name="connsiteY8" fmla="*/ 11780 h 290914"/>
                <a:gd name="connsiteX9" fmla="*/ 275750 w 375862"/>
                <a:gd name="connsiteY9" fmla="*/ 35373 h 290914"/>
                <a:gd name="connsiteX10" fmla="*/ 240369 w 375862"/>
                <a:gd name="connsiteY10" fmla="*/ 0 h 290914"/>
                <a:gd name="connsiteX11" fmla="*/ 228910 w 375862"/>
                <a:gd name="connsiteY11" fmla="*/ 0 h 290914"/>
                <a:gd name="connsiteX12" fmla="*/ 202055 w 375862"/>
                <a:gd name="connsiteY12" fmla="*/ 26847 h 290914"/>
                <a:gd name="connsiteX13" fmla="*/ 202055 w 375862"/>
                <a:gd name="connsiteY13" fmla="*/ 46675 h 290914"/>
                <a:gd name="connsiteX14" fmla="*/ 172350 w 375862"/>
                <a:gd name="connsiteY14" fmla="*/ 76397 h 290914"/>
                <a:gd name="connsiteX15" fmla="*/ 172350 w 375862"/>
                <a:gd name="connsiteY15" fmla="*/ 88935 h 290914"/>
                <a:gd name="connsiteX16" fmla="*/ 100238 w 375862"/>
                <a:gd name="connsiteY16" fmla="*/ 161040 h 290914"/>
                <a:gd name="connsiteX17" fmla="*/ 100238 w 375862"/>
                <a:gd name="connsiteY17" fmla="*/ 219255 h 290914"/>
                <a:gd name="connsiteX18" fmla="*/ 43966 w 375862"/>
                <a:gd name="connsiteY18" fmla="*/ 275536 h 290914"/>
                <a:gd name="connsiteX19" fmla="*/ 0 w 375862"/>
                <a:gd name="connsiteY19" fmla="*/ 275536 h 290914"/>
                <a:gd name="connsiteX20" fmla="*/ 0 w 375862"/>
                <a:gd name="connsiteY20" fmla="*/ 290915 h 290914"/>
                <a:gd name="connsiteX21" fmla="*/ 139547 w 375862"/>
                <a:gd name="connsiteY21" fmla="*/ 290915 h 290914"/>
                <a:gd name="connsiteX22" fmla="*/ 195003 w 375862"/>
                <a:gd name="connsiteY22" fmla="*/ 235443 h 29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75862" h="290914">
                  <a:moveTo>
                    <a:pt x="235624" y="235443"/>
                  </a:moveTo>
                  <a:lnTo>
                    <a:pt x="297852" y="173223"/>
                  </a:lnTo>
                  <a:lnTo>
                    <a:pt x="297852" y="143378"/>
                  </a:lnTo>
                  <a:lnTo>
                    <a:pt x="375863" y="143378"/>
                  </a:lnTo>
                  <a:lnTo>
                    <a:pt x="347352" y="114859"/>
                  </a:lnTo>
                  <a:lnTo>
                    <a:pt x="347352" y="29730"/>
                  </a:lnTo>
                  <a:lnTo>
                    <a:pt x="332846" y="29730"/>
                  </a:lnTo>
                  <a:lnTo>
                    <a:pt x="314879" y="11780"/>
                  </a:lnTo>
                  <a:lnTo>
                    <a:pt x="299367" y="11780"/>
                  </a:lnTo>
                  <a:lnTo>
                    <a:pt x="275750" y="35373"/>
                  </a:lnTo>
                  <a:lnTo>
                    <a:pt x="240369" y="0"/>
                  </a:lnTo>
                  <a:lnTo>
                    <a:pt x="228910" y="0"/>
                  </a:lnTo>
                  <a:lnTo>
                    <a:pt x="202055" y="26847"/>
                  </a:lnTo>
                  <a:lnTo>
                    <a:pt x="202055" y="46675"/>
                  </a:lnTo>
                  <a:lnTo>
                    <a:pt x="172350" y="76397"/>
                  </a:lnTo>
                  <a:lnTo>
                    <a:pt x="172350" y="88935"/>
                  </a:lnTo>
                  <a:lnTo>
                    <a:pt x="100238" y="161040"/>
                  </a:lnTo>
                  <a:lnTo>
                    <a:pt x="100238" y="219255"/>
                  </a:lnTo>
                  <a:lnTo>
                    <a:pt x="43966" y="275536"/>
                  </a:lnTo>
                  <a:lnTo>
                    <a:pt x="0" y="275536"/>
                  </a:lnTo>
                  <a:lnTo>
                    <a:pt x="0" y="290915"/>
                  </a:lnTo>
                  <a:lnTo>
                    <a:pt x="139547" y="290915"/>
                  </a:lnTo>
                  <a:lnTo>
                    <a:pt x="195003" y="235443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5" name="Freeform: Shape 744">
              <a:extLst>
                <a:ext uri="{FF2B5EF4-FFF2-40B4-BE49-F238E27FC236}">
                  <a16:creationId xmlns:a16="http://schemas.microsoft.com/office/drawing/2014/main" id="{39B02A38-004F-0851-8E32-13284F0016E8}"/>
                </a:ext>
              </a:extLst>
            </p:cNvPr>
            <p:cNvSpPr/>
            <p:nvPr/>
          </p:nvSpPr>
          <p:spPr>
            <a:xfrm>
              <a:off x="5521225" y="3486969"/>
              <a:ext cx="594482" cy="607498"/>
            </a:xfrm>
            <a:custGeom>
              <a:avLst/>
              <a:gdLst>
                <a:gd name="connsiteX0" fmla="*/ 129958 w 594482"/>
                <a:gd name="connsiteY0" fmla="*/ 451715 h 607498"/>
                <a:gd name="connsiteX1" fmla="*/ 204526 w 594482"/>
                <a:gd name="connsiteY1" fmla="*/ 526274 h 607498"/>
                <a:gd name="connsiteX2" fmla="*/ 269761 w 594482"/>
                <a:gd name="connsiteY2" fmla="*/ 526274 h 607498"/>
                <a:gd name="connsiteX3" fmla="*/ 308411 w 594482"/>
                <a:gd name="connsiteY3" fmla="*/ 564935 h 607498"/>
                <a:gd name="connsiteX4" fmla="*/ 358851 w 594482"/>
                <a:gd name="connsiteY4" fmla="*/ 564935 h 607498"/>
                <a:gd name="connsiteX5" fmla="*/ 358851 w 594482"/>
                <a:gd name="connsiteY5" fmla="*/ 607498 h 607498"/>
                <a:gd name="connsiteX6" fmla="*/ 417645 w 594482"/>
                <a:gd name="connsiteY6" fmla="*/ 607498 h 607498"/>
                <a:gd name="connsiteX7" fmla="*/ 440545 w 594482"/>
                <a:gd name="connsiteY7" fmla="*/ 584614 h 607498"/>
                <a:gd name="connsiteX8" fmla="*/ 466065 w 594482"/>
                <a:gd name="connsiteY8" fmla="*/ 584614 h 607498"/>
                <a:gd name="connsiteX9" fmla="*/ 594483 w 594482"/>
                <a:gd name="connsiteY9" fmla="*/ 439465 h 607498"/>
                <a:gd name="connsiteX10" fmla="*/ 566829 w 594482"/>
                <a:gd name="connsiteY10" fmla="*/ 439465 h 607498"/>
                <a:gd name="connsiteX11" fmla="*/ 566829 w 594482"/>
                <a:gd name="connsiteY11" fmla="*/ 404653 h 607498"/>
                <a:gd name="connsiteX12" fmla="*/ 543789 w 594482"/>
                <a:gd name="connsiteY12" fmla="*/ 381629 h 607498"/>
                <a:gd name="connsiteX13" fmla="*/ 574787 w 594482"/>
                <a:gd name="connsiteY13" fmla="*/ 350630 h 607498"/>
                <a:gd name="connsiteX14" fmla="*/ 574787 w 594482"/>
                <a:gd name="connsiteY14" fmla="*/ 286582 h 607498"/>
                <a:gd name="connsiteX15" fmla="*/ 540864 w 594482"/>
                <a:gd name="connsiteY15" fmla="*/ 237369 h 607498"/>
                <a:gd name="connsiteX16" fmla="*/ 540864 w 594482"/>
                <a:gd name="connsiteY16" fmla="*/ 186675 h 607498"/>
                <a:gd name="connsiteX17" fmla="*/ 513992 w 594482"/>
                <a:gd name="connsiteY17" fmla="*/ 159787 h 607498"/>
                <a:gd name="connsiteX18" fmla="*/ 487500 w 594482"/>
                <a:gd name="connsiteY18" fmla="*/ 133287 h 607498"/>
                <a:gd name="connsiteX19" fmla="*/ 487500 w 594482"/>
                <a:gd name="connsiteY19" fmla="*/ 115954 h 607498"/>
                <a:gd name="connsiteX20" fmla="*/ 504355 w 594482"/>
                <a:gd name="connsiteY20" fmla="*/ 99091 h 607498"/>
                <a:gd name="connsiteX21" fmla="*/ 504355 w 594482"/>
                <a:gd name="connsiteY21" fmla="*/ 61511 h 607498"/>
                <a:gd name="connsiteX22" fmla="*/ 463099 w 594482"/>
                <a:gd name="connsiteY22" fmla="*/ 20248 h 607498"/>
                <a:gd name="connsiteX23" fmla="*/ 463099 w 594482"/>
                <a:gd name="connsiteY23" fmla="*/ 0 h 607498"/>
                <a:gd name="connsiteX24" fmla="*/ 383449 w 594482"/>
                <a:gd name="connsiteY24" fmla="*/ 0 h 607498"/>
                <a:gd name="connsiteX25" fmla="*/ 371998 w 594482"/>
                <a:gd name="connsiteY25" fmla="*/ 11459 h 607498"/>
                <a:gd name="connsiteX26" fmla="*/ 274275 w 594482"/>
                <a:gd name="connsiteY26" fmla="*/ 11459 h 607498"/>
                <a:gd name="connsiteX27" fmla="*/ 257989 w 594482"/>
                <a:gd name="connsiteY27" fmla="*/ 27753 h 607498"/>
                <a:gd name="connsiteX28" fmla="*/ 242584 w 594482"/>
                <a:gd name="connsiteY28" fmla="*/ 27753 h 607498"/>
                <a:gd name="connsiteX29" fmla="*/ 209789 w 594482"/>
                <a:gd name="connsiteY29" fmla="*/ 60564 h 607498"/>
                <a:gd name="connsiteX30" fmla="*/ 207805 w 594482"/>
                <a:gd name="connsiteY30" fmla="*/ 60564 h 607498"/>
                <a:gd name="connsiteX31" fmla="*/ 207805 w 594482"/>
                <a:gd name="connsiteY31" fmla="*/ 145692 h 607498"/>
                <a:gd name="connsiteX32" fmla="*/ 236315 w 594482"/>
                <a:gd name="connsiteY32" fmla="*/ 174211 h 607498"/>
                <a:gd name="connsiteX33" fmla="*/ 158304 w 594482"/>
                <a:gd name="connsiteY33" fmla="*/ 174211 h 607498"/>
                <a:gd name="connsiteX34" fmla="*/ 158304 w 594482"/>
                <a:gd name="connsiteY34" fmla="*/ 204056 h 607498"/>
                <a:gd name="connsiteX35" fmla="*/ 96077 w 594482"/>
                <a:gd name="connsiteY35" fmla="*/ 266276 h 607498"/>
                <a:gd name="connsiteX36" fmla="*/ 55456 w 594482"/>
                <a:gd name="connsiteY36" fmla="*/ 266276 h 607498"/>
                <a:gd name="connsiteX37" fmla="*/ 0 w 594482"/>
                <a:gd name="connsiteY37" fmla="*/ 321748 h 607498"/>
                <a:gd name="connsiteX38" fmla="*/ 80804 w 594482"/>
                <a:gd name="connsiteY38" fmla="*/ 402560 h 607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94482" h="607498">
                  <a:moveTo>
                    <a:pt x="129958" y="451715"/>
                  </a:moveTo>
                  <a:lnTo>
                    <a:pt x="204526" y="526274"/>
                  </a:lnTo>
                  <a:lnTo>
                    <a:pt x="269761" y="526274"/>
                  </a:lnTo>
                  <a:lnTo>
                    <a:pt x="308411" y="564935"/>
                  </a:lnTo>
                  <a:lnTo>
                    <a:pt x="358851" y="564935"/>
                  </a:lnTo>
                  <a:lnTo>
                    <a:pt x="358851" y="607498"/>
                  </a:lnTo>
                  <a:lnTo>
                    <a:pt x="417645" y="607498"/>
                  </a:lnTo>
                  <a:lnTo>
                    <a:pt x="440545" y="584614"/>
                  </a:lnTo>
                  <a:lnTo>
                    <a:pt x="466065" y="584614"/>
                  </a:lnTo>
                  <a:lnTo>
                    <a:pt x="594483" y="439465"/>
                  </a:lnTo>
                  <a:lnTo>
                    <a:pt x="566829" y="439465"/>
                  </a:lnTo>
                  <a:lnTo>
                    <a:pt x="566829" y="404653"/>
                  </a:lnTo>
                  <a:lnTo>
                    <a:pt x="543789" y="381629"/>
                  </a:lnTo>
                  <a:lnTo>
                    <a:pt x="574787" y="350630"/>
                  </a:lnTo>
                  <a:lnTo>
                    <a:pt x="574787" y="286582"/>
                  </a:lnTo>
                  <a:lnTo>
                    <a:pt x="540864" y="237369"/>
                  </a:lnTo>
                  <a:lnTo>
                    <a:pt x="540864" y="186675"/>
                  </a:lnTo>
                  <a:lnTo>
                    <a:pt x="513992" y="159787"/>
                  </a:lnTo>
                  <a:lnTo>
                    <a:pt x="487500" y="133287"/>
                  </a:lnTo>
                  <a:lnTo>
                    <a:pt x="487500" y="115954"/>
                  </a:lnTo>
                  <a:lnTo>
                    <a:pt x="504355" y="99091"/>
                  </a:lnTo>
                  <a:lnTo>
                    <a:pt x="504355" y="61511"/>
                  </a:lnTo>
                  <a:lnTo>
                    <a:pt x="463099" y="20248"/>
                  </a:lnTo>
                  <a:lnTo>
                    <a:pt x="463099" y="0"/>
                  </a:lnTo>
                  <a:lnTo>
                    <a:pt x="383449" y="0"/>
                  </a:lnTo>
                  <a:lnTo>
                    <a:pt x="371998" y="11459"/>
                  </a:lnTo>
                  <a:lnTo>
                    <a:pt x="274275" y="11459"/>
                  </a:lnTo>
                  <a:lnTo>
                    <a:pt x="257989" y="27753"/>
                  </a:lnTo>
                  <a:lnTo>
                    <a:pt x="242584" y="27753"/>
                  </a:lnTo>
                  <a:lnTo>
                    <a:pt x="209789" y="60564"/>
                  </a:lnTo>
                  <a:lnTo>
                    <a:pt x="207805" y="60564"/>
                  </a:lnTo>
                  <a:lnTo>
                    <a:pt x="207805" y="145692"/>
                  </a:lnTo>
                  <a:lnTo>
                    <a:pt x="236315" y="174211"/>
                  </a:lnTo>
                  <a:lnTo>
                    <a:pt x="158304" y="174211"/>
                  </a:lnTo>
                  <a:lnTo>
                    <a:pt x="158304" y="204056"/>
                  </a:lnTo>
                  <a:lnTo>
                    <a:pt x="96077" y="266276"/>
                  </a:lnTo>
                  <a:lnTo>
                    <a:pt x="55456" y="266276"/>
                  </a:lnTo>
                  <a:lnTo>
                    <a:pt x="0" y="321748"/>
                  </a:lnTo>
                  <a:lnTo>
                    <a:pt x="80804" y="40256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6" name="Freeform: Shape 745">
              <a:extLst>
                <a:ext uri="{FF2B5EF4-FFF2-40B4-BE49-F238E27FC236}">
                  <a16:creationId xmlns:a16="http://schemas.microsoft.com/office/drawing/2014/main" id="{6D53F874-4ABE-A532-4A1E-DC84321B5515}"/>
                </a:ext>
              </a:extLst>
            </p:cNvPr>
            <p:cNvSpPr/>
            <p:nvPr/>
          </p:nvSpPr>
          <p:spPr>
            <a:xfrm>
              <a:off x="5263697" y="3808717"/>
              <a:ext cx="358299" cy="425503"/>
            </a:xfrm>
            <a:custGeom>
              <a:avLst/>
              <a:gdLst>
                <a:gd name="connsiteX0" fmla="*/ 226850 w 358299"/>
                <a:gd name="connsiteY0" fmla="*/ 390666 h 425503"/>
                <a:gd name="connsiteX1" fmla="*/ 253541 w 358299"/>
                <a:gd name="connsiteY1" fmla="*/ 417356 h 425503"/>
                <a:gd name="connsiteX2" fmla="*/ 358300 w 358299"/>
                <a:gd name="connsiteY2" fmla="*/ 417356 h 425503"/>
                <a:gd name="connsiteX3" fmla="*/ 358300 w 358299"/>
                <a:gd name="connsiteY3" fmla="*/ 385205 h 425503"/>
                <a:gd name="connsiteX4" fmla="*/ 343109 w 358299"/>
                <a:gd name="connsiteY4" fmla="*/ 370031 h 425503"/>
                <a:gd name="connsiteX5" fmla="*/ 343109 w 358299"/>
                <a:gd name="connsiteY5" fmla="*/ 236019 h 425503"/>
                <a:gd name="connsiteX6" fmla="*/ 343109 w 358299"/>
                <a:gd name="connsiteY6" fmla="*/ 145298 h 425503"/>
                <a:gd name="connsiteX7" fmla="*/ 307177 w 358299"/>
                <a:gd name="connsiteY7" fmla="*/ 109364 h 425503"/>
                <a:gd name="connsiteX8" fmla="*/ 338331 w 358299"/>
                <a:gd name="connsiteY8" fmla="*/ 80812 h 425503"/>
                <a:gd name="connsiteX9" fmla="*/ 257528 w 358299"/>
                <a:gd name="connsiteY9" fmla="*/ 0 h 425503"/>
                <a:gd name="connsiteX10" fmla="*/ 257528 w 358299"/>
                <a:gd name="connsiteY10" fmla="*/ 60671 h 425503"/>
                <a:gd name="connsiteX11" fmla="*/ 171328 w 358299"/>
                <a:gd name="connsiteY11" fmla="*/ 60671 h 425503"/>
                <a:gd name="connsiteX12" fmla="*/ 171328 w 358299"/>
                <a:gd name="connsiteY12" fmla="*/ 147143 h 425503"/>
                <a:gd name="connsiteX13" fmla="*/ 124217 w 358299"/>
                <a:gd name="connsiteY13" fmla="*/ 147143 h 425503"/>
                <a:gd name="connsiteX14" fmla="*/ 124217 w 358299"/>
                <a:gd name="connsiteY14" fmla="*/ 209857 h 425503"/>
                <a:gd name="connsiteX15" fmla="*/ 73176 w 358299"/>
                <a:gd name="connsiteY15" fmla="*/ 209857 h 425503"/>
                <a:gd name="connsiteX16" fmla="*/ 63504 w 358299"/>
                <a:gd name="connsiteY16" fmla="*/ 219528 h 425503"/>
                <a:gd name="connsiteX17" fmla="*/ 0 w 358299"/>
                <a:gd name="connsiteY17" fmla="*/ 219528 h 425503"/>
                <a:gd name="connsiteX18" fmla="*/ 0 w 358299"/>
                <a:gd name="connsiteY18" fmla="*/ 247066 h 425503"/>
                <a:gd name="connsiteX19" fmla="*/ 23799 w 358299"/>
                <a:gd name="connsiteY19" fmla="*/ 270873 h 425503"/>
                <a:gd name="connsiteX20" fmla="*/ 23799 w 358299"/>
                <a:gd name="connsiteY20" fmla="*/ 374676 h 425503"/>
                <a:gd name="connsiteX21" fmla="*/ 81602 w 358299"/>
                <a:gd name="connsiteY21" fmla="*/ 374676 h 425503"/>
                <a:gd name="connsiteX22" fmla="*/ 132429 w 358299"/>
                <a:gd name="connsiteY22" fmla="*/ 425503 h 425503"/>
                <a:gd name="connsiteX23" fmla="*/ 158568 w 358299"/>
                <a:gd name="connsiteY23" fmla="*/ 425503 h 425503"/>
                <a:gd name="connsiteX24" fmla="*/ 193389 w 358299"/>
                <a:gd name="connsiteY24" fmla="*/ 390666 h 425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58299" h="425503">
                  <a:moveTo>
                    <a:pt x="226850" y="390666"/>
                  </a:moveTo>
                  <a:lnTo>
                    <a:pt x="253541" y="417356"/>
                  </a:lnTo>
                  <a:lnTo>
                    <a:pt x="358300" y="417356"/>
                  </a:lnTo>
                  <a:lnTo>
                    <a:pt x="358300" y="385205"/>
                  </a:lnTo>
                  <a:lnTo>
                    <a:pt x="343109" y="370031"/>
                  </a:lnTo>
                  <a:lnTo>
                    <a:pt x="343109" y="236019"/>
                  </a:lnTo>
                  <a:lnTo>
                    <a:pt x="343109" y="145298"/>
                  </a:lnTo>
                  <a:lnTo>
                    <a:pt x="307177" y="109364"/>
                  </a:lnTo>
                  <a:lnTo>
                    <a:pt x="338331" y="80812"/>
                  </a:lnTo>
                  <a:lnTo>
                    <a:pt x="257528" y="0"/>
                  </a:lnTo>
                  <a:lnTo>
                    <a:pt x="257528" y="60671"/>
                  </a:lnTo>
                  <a:lnTo>
                    <a:pt x="171328" y="60671"/>
                  </a:lnTo>
                  <a:lnTo>
                    <a:pt x="171328" y="147143"/>
                  </a:lnTo>
                  <a:lnTo>
                    <a:pt x="124217" y="147143"/>
                  </a:lnTo>
                  <a:lnTo>
                    <a:pt x="124217" y="209857"/>
                  </a:lnTo>
                  <a:lnTo>
                    <a:pt x="73176" y="209857"/>
                  </a:lnTo>
                  <a:lnTo>
                    <a:pt x="63504" y="219528"/>
                  </a:lnTo>
                  <a:lnTo>
                    <a:pt x="0" y="219528"/>
                  </a:lnTo>
                  <a:lnTo>
                    <a:pt x="0" y="247066"/>
                  </a:lnTo>
                  <a:lnTo>
                    <a:pt x="23799" y="270873"/>
                  </a:lnTo>
                  <a:lnTo>
                    <a:pt x="23799" y="374676"/>
                  </a:lnTo>
                  <a:lnTo>
                    <a:pt x="81602" y="374676"/>
                  </a:lnTo>
                  <a:lnTo>
                    <a:pt x="132429" y="425503"/>
                  </a:lnTo>
                  <a:lnTo>
                    <a:pt x="158568" y="425503"/>
                  </a:lnTo>
                  <a:lnTo>
                    <a:pt x="193389" y="390666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7" name="Freeform: Shape 746">
              <a:extLst>
                <a:ext uri="{FF2B5EF4-FFF2-40B4-BE49-F238E27FC236}">
                  <a16:creationId xmlns:a16="http://schemas.microsoft.com/office/drawing/2014/main" id="{A8E92881-56D6-288C-F6B4-5902B1231A28}"/>
                </a:ext>
              </a:extLst>
            </p:cNvPr>
            <p:cNvSpPr/>
            <p:nvPr/>
          </p:nvSpPr>
          <p:spPr>
            <a:xfrm>
              <a:off x="6396363" y="5234205"/>
              <a:ext cx="269109" cy="313667"/>
            </a:xfrm>
            <a:custGeom>
              <a:avLst/>
              <a:gdLst>
                <a:gd name="connsiteX0" fmla="*/ 85837 w 269109"/>
                <a:gd name="connsiteY0" fmla="*/ 0 h 313667"/>
                <a:gd name="connsiteX1" fmla="*/ 60728 w 269109"/>
                <a:gd name="connsiteY1" fmla="*/ 25125 h 313667"/>
                <a:gd name="connsiteX2" fmla="*/ 24450 w 269109"/>
                <a:gd name="connsiteY2" fmla="*/ 25125 h 313667"/>
                <a:gd name="connsiteX3" fmla="*/ 24450 w 269109"/>
                <a:gd name="connsiteY3" fmla="*/ 137108 h 313667"/>
                <a:gd name="connsiteX4" fmla="*/ 0 w 269109"/>
                <a:gd name="connsiteY4" fmla="*/ 161550 h 313667"/>
                <a:gd name="connsiteX5" fmla="*/ 0 w 269109"/>
                <a:gd name="connsiteY5" fmla="*/ 248005 h 313667"/>
                <a:gd name="connsiteX6" fmla="*/ 24417 w 269109"/>
                <a:gd name="connsiteY6" fmla="*/ 272438 h 313667"/>
                <a:gd name="connsiteX7" fmla="*/ 24417 w 269109"/>
                <a:gd name="connsiteY7" fmla="*/ 313668 h 313667"/>
                <a:gd name="connsiteX8" fmla="*/ 56379 w 269109"/>
                <a:gd name="connsiteY8" fmla="*/ 313668 h 313667"/>
                <a:gd name="connsiteX9" fmla="*/ 107700 w 269109"/>
                <a:gd name="connsiteY9" fmla="*/ 262347 h 313667"/>
                <a:gd name="connsiteX10" fmla="*/ 143962 w 269109"/>
                <a:gd name="connsiteY10" fmla="*/ 262347 h 313667"/>
                <a:gd name="connsiteX11" fmla="*/ 194213 w 269109"/>
                <a:gd name="connsiteY11" fmla="*/ 212121 h 313667"/>
                <a:gd name="connsiteX12" fmla="*/ 220375 w 269109"/>
                <a:gd name="connsiteY12" fmla="*/ 212121 h 313667"/>
                <a:gd name="connsiteX13" fmla="*/ 248499 w 269109"/>
                <a:gd name="connsiteY13" fmla="*/ 184014 h 313667"/>
                <a:gd name="connsiteX14" fmla="*/ 269110 w 269109"/>
                <a:gd name="connsiteY14" fmla="*/ 163362 h 313667"/>
                <a:gd name="connsiteX15" fmla="*/ 232732 w 269109"/>
                <a:gd name="connsiteY15" fmla="*/ 127001 h 313667"/>
                <a:gd name="connsiteX16" fmla="*/ 232732 w 269109"/>
                <a:gd name="connsiteY16" fmla="*/ 77559 h 313667"/>
                <a:gd name="connsiteX17" fmla="*/ 183750 w 269109"/>
                <a:gd name="connsiteY17" fmla="*/ 77559 h 313667"/>
                <a:gd name="connsiteX18" fmla="*/ 139020 w 269109"/>
                <a:gd name="connsiteY18" fmla="*/ 32836 h 313667"/>
                <a:gd name="connsiteX19" fmla="*/ 122479 w 269109"/>
                <a:gd name="connsiteY19" fmla="*/ 0 h 31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69109" h="313667">
                  <a:moveTo>
                    <a:pt x="85837" y="0"/>
                  </a:moveTo>
                  <a:lnTo>
                    <a:pt x="60728" y="25125"/>
                  </a:lnTo>
                  <a:lnTo>
                    <a:pt x="24450" y="25125"/>
                  </a:lnTo>
                  <a:lnTo>
                    <a:pt x="24450" y="137108"/>
                  </a:lnTo>
                  <a:lnTo>
                    <a:pt x="0" y="161550"/>
                  </a:lnTo>
                  <a:lnTo>
                    <a:pt x="0" y="248005"/>
                  </a:lnTo>
                  <a:lnTo>
                    <a:pt x="24417" y="272438"/>
                  </a:lnTo>
                  <a:lnTo>
                    <a:pt x="24417" y="313668"/>
                  </a:lnTo>
                  <a:lnTo>
                    <a:pt x="56379" y="313668"/>
                  </a:lnTo>
                  <a:lnTo>
                    <a:pt x="107700" y="262347"/>
                  </a:lnTo>
                  <a:lnTo>
                    <a:pt x="143962" y="262347"/>
                  </a:lnTo>
                  <a:lnTo>
                    <a:pt x="194213" y="212121"/>
                  </a:lnTo>
                  <a:lnTo>
                    <a:pt x="220375" y="212121"/>
                  </a:lnTo>
                  <a:lnTo>
                    <a:pt x="248499" y="184014"/>
                  </a:lnTo>
                  <a:lnTo>
                    <a:pt x="269110" y="163362"/>
                  </a:lnTo>
                  <a:lnTo>
                    <a:pt x="232732" y="127001"/>
                  </a:lnTo>
                  <a:lnTo>
                    <a:pt x="232732" y="77559"/>
                  </a:lnTo>
                  <a:lnTo>
                    <a:pt x="183750" y="77559"/>
                  </a:lnTo>
                  <a:lnTo>
                    <a:pt x="139020" y="32836"/>
                  </a:lnTo>
                  <a:lnTo>
                    <a:pt x="122479" y="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8" name="Freeform: Shape 747">
              <a:extLst>
                <a:ext uri="{FF2B5EF4-FFF2-40B4-BE49-F238E27FC236}">
                  <a16:creationId xmlns:a16="http://schemas.microsoft.com/office/drawing/2014/main" id="{4E21CF2C-349C-44E6-DC4F-D14ECB001E9A}"/>
                </a:ext>
              </a:extLst>
            </p:cNvPr>
            <p:cNvSpPr/>
            <p:nvPr/>
          </p:nvSpPr>
          <p:spPr>
            <a:xfrm>
              <a:off x="6455246" y="4910784"/>
              <a:ext cx="360729" cy="356256"/>
            </a:xfrm>
            <a:custGeom>
              <a:avLst/>
              <a:gdLst>
                <a:gd name="connsiteX0" fmla="*/ 257643 w 360729"/>
                <a:gd name="connsiteY0" fmla="*/ 63117 h 356256"/>
                <a:gd name="connsiteX1" fmla="*/ 257643 w 360729"/>
                <a:gd name="connsiteY1" fmla="*/ 30388 h 356256"/>
                <a:gd name="connsiteX2" fmla="*/ 227245 w 360729"/>
                <a:gd name="connsiteY2" fmla="*/ 0 h 356256"/>
                <a:gd name="connsiteX3" fmla="*/ 184014 w 360729"/>
                <a:gd name="connsiteY3" fmla="*/ 55275 h 356256"/>
                <a:gd name="connsiteX4" fmla="*/ 184014 w 360729"/>
                <a:gd name="connsiteY4" fmla="*/ 84725 h 356256"/>
                <a:gd name="connsiteX5" fmla="*/ 208217 w 360729"/>
                <a:gd name="connsiteY5" fmla="*/ 108927 h 356256"/>
                <a:gd name="connsiteX6" fmla="*/ 208217 w 360729"/>
                <a:gd name="connsiteY6" fmla="*/ 144267 h 356256"/>
                <a:gd name="connsiteX7" fmla="*/ 235862 w 360729"/>
                <a:gd name="connsiteY7" fmla="*/ 144267 h 356256"/>
                <a:gd name="connsiteX8" fmla="*/ 235862 w 360729"/>
                <a:gd name="connsiteY8" fmla="*/ 158700 h 356256"/>
                <a:gd name="connsiteX9" fmla="*/ 222616 w 360729"/>
                <a:gd name="connsiteY9" fmla="*/ 171963 h 356256"/>
                <a:gd name="connsiteX10" fmla="*/ 205976 w 360729"/>
                <a:gd name="connsiteY10" fmla="*/ 155355 h 356256"/>
                <a:gd name="connsiteX11" fmla="*/ 150552 w 360729"/>
                <a:gd name="connsiteY11" fmla="*/ 155355 h 356256"/>
                <a:gd name="connsiteX12" fmla="*/ 117701 w 360729"/>
                <a:gd name="connsiteY12" fmla="*/ 155355 h 356256"/>
                <a:gd name="connsiteX13" fmla="*/ 90204 w 360729"/>
                <a:gd name="connsiteY13" fmla="*/ 127874 h 356256"/>
                <a:gd name="connsiteX14" fmla="*/ 54188 w 360729"/>
                <a:gd name="connsiteY14" fmla="*/ 127874 h 356256"/>
                <a:gd name="connsiteX15" fmla="*/ 54188 w 360729"/>
                <a:gd name="connsiteY15" fmla="*/ 192688 h 356256"/>
                <a:gd name="connsiteX16" fmla="*/ 0 w 360729"/>
                <a:gd name="connsiteY16" fmla="*/ 192688 h 356256"/>
                <a:gd name="connsiteX17" fmla="*/ 0 w 360729"/>
                <a:gd name="connsiteY17" fmla="*/ 296467 h 356256"/>
                <a:gd name="connsiteX18" fmla="*/ 26954 w 360729"/>
                <a:gd name="connsiteY18" fmla="*/ 323421 h 356256"/>
                <a:gd name="connsiteX19" fmla="*/ 63596 w 360729"/>
                <a:gd name="connsiteY19" fmla="*/ 323421 h 356256"/>
                <a:gd name="connsiteX20" fmla="*/ 80137 w 360729"/>
                <a:gd name="connsiteY20" fmla="*/ 356257 h 356256"/>
                <a:gd name="connsiteX21" fmla="*/ 97881 w 360729"/>
                <a:gd name="connsiteY21" fmla="*/ 338554 h 356256"/>
                <a:gd name="connsiteX22" fmla="*/ 150552 w 360729"/>
                <a:gd name="connsiteY22" fmla="*/ 338554 h 356256"/>
                <a:gd name="connsiteX23" fmla="*/ 191642 w 360729"/>
                <a:gd name="connsiteY23" fmla="*/ 297480 h 356256"/>
                <a:gd name="connsiteX24" fmla="*/ 232517 w 360729"/>
                <a:gd name="connsiteY24" fmla="*/ 259076 h 356256"/>
                <a:gd name="connsiteX25" fmla="*/ 264876 w 360729"/>
                <a:gd name="connsiteY25" fmla="*/ 226710 h 356256"/>
                <a:gd name="connsiteX26" fmla="*/ 340794 w 360729"/>
                <a:gd name="connsiteY26" fmla="*/ 226710 h 356256"/>
                <a:gd name="connsiteX27" fmla="*/ 340794 w 360729"/>
                <a:gd name="connsiteY27" fmla="*/ 160281 h 356256"/>
                <a:gd name="connsiteX28" fmla="*/ 340794 w 360729"/>
                <a:gd name="connsiteY28" fmla="*/ 120691 h 356256"/>
                <a:gd name="connsiteX29" fmla="*/ 360730 w 360729"/>
                <a:gd name="connsiteY29" fmla="*/ 100764 h 356256"/>
                <a:gd name="connsiteX30" fmla="*/ 360730 w 360729"/>
                <a:gd name="connsiteY30" fmla="*/ 63117 h 356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60729" h="356256">
                  <a:moveTo>
                    <a:pt x="257643" y="63117"/>
                  </a:moveTo>
                  <a:lnTo>
                    <a:pt x="257643" y="30388"/>
                  </a:lnTo>
                  <a:lnTo>
                    <a:pt x="227245" y="0"/>
                  </a:lnTo>
                  <a:lnTo>
                    <a:pt x="184014" y="55275"/>
                  </a:lnTo>
                  <a:lnTo>
                    <a:pt x="184014" y="84725"/>
                  </a:lnTo>
                  <a:lnTo>
                    <a:pt x="208217" y="108927"/>
                  </a:lnTo>
                  <a:lnTo>
                    <a:pt x="208217" y="144267"/>
                  </a:lnTo>
                  <a:lnTo>
                    <a:pt x="235862" y="144267"/>
                  </a:lnTo>
                  <a:lnTo>
                    <a:pt x="235862" y="158700"/>
                  </a:lnTo>
                  <a:lnTo>
                    <a:pt x="222616" y="171963"/>
                  </a:lnTo>
                  <a:lnTo>
                    <a:pt x="205976" y="155355"/>
                  </a:lnTo>
                  <a:lnTo>
                    <a:pt x="150552" y="155355"/>
                  </a:lnTo>
                  <a:lnTo>
                    <a:pt x="117701" y="155355"/>
                  </a:lnTo>
                  <a:lnTo>
                    <a:pt x="90204" y="127874"/>
                  </a:lnTo>
                  <a:lnTo>
                    <a:pt x="54188" y="127874"/>
                  </a:lnTo>
                  <a:lnTo>
                    <a:pt x="54188" y="192688"/>
                  </a:lnTo>
                  <a:lnTo>
                    <a:pt x="0" y="192688"/>
                  </a:lnTo>
                  <a:lnTo>
                    <a:pt x="0" y="296467"/>
                  </a:lnTo>
                  <a:lnTo>
                    <a:pt x="26954" y="323421"/>
                  </a:lnTo>
                  <a:lnTo>
                    <a:pt x="63596" y="323421"/>
                  </a:lnTo>
                  <a:lnTo>
                    <a:pt x="80137" y="356257"/>
                  </a:lnTo>
                  <a:lnTo>
                    <a:pt x="97881" y="338554"/>
                  </a:lnTo>
                  <a:lnTo>
                    <a:pt x="150552" y="338554"/>
                  </a:lnTo>
                  <a:lnTo>
                    <a:pt x="191642" y="297480"/>
                  </a:lnTo>
                  <a:lnTo>
                    <a:pt x="232517" y="259076"/>
                  </a:lnTo>
                  <a:lnTo>
                    <a:pt x="264876" y="226710"/>
                  </a:lnTo>
                  <a:lnTo>
                    <a:pt x="340794" y="226710"/>
                  </a:lnTo>
                  <a:lnTo>
                    <a:pt x="340794" y="160281"/>
                  </a:lnTo>
                  <a:lnTo>
                    <a:pt x="340794" y="120691"/>
                  </a:lnTo>
                  <a:lnTo>
                    <a:pt x="360730" y="100764"/>
                  </a:lnTo>
                  <a:lnTo>
                    <a:pt x="360730" y="63117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9" name="Freeform: Shape 748">
              <a:extLst>
                <a:ext uri="{FF2B5EF4-FFF2-40B4-BE49-F238E27FC236}">
                  <a16:creationId xmlns:a16="http://schemas.microsoft.com/office/drawing/2014/main" id="{CB02C123-B9C4-7563-176E-DE200D96B9DC}"/>
                </a:ext>
              </a:extLst>
            </p:cNvPr>
            <p:cNvSpPr/>
            <p:nvPr/>
          </p:nvSpPr>
          <p:spPr>
            <a:xfrm>
              <a:off x="6210442" y="3979634"/>
              <a:ext cx="308400" cy="492352"/>
            </a:xfrm>
            <a:custGeom>
              <a:avLst/>
              <a:gdLst>
                <a:gd name="connsiteX0" fmla="*/ 175295 w 308400"/>
                <a:gd name="connsiteY0" fmla="*/ 446905 h 492352"/>
                <a:gd name="connsiteX1" fmla="*/ 216532 w 308400"/>
                <a:gd name="connsiteY1" fmla="*/ 446905 h 492352"/>
                <a:gd name="connsiteX2" fmla="*/ 245266 w 308400"/>
                <a:gd name="connsiteY2" fmla="*/ 418171 h 492352"/>
                <a:gd name="connsiteX3" fmla="*/ 245266 w 308400"/>
                <a:gd name="connsiteY3" fmla="*/ 384512 h 492352"/>
                <a:gd name="connsiteX4" fmla="*/ 272598 w 308400"/>
                <a:gd name="connsiteY4" fmla="*/ 384538 h 492352"/>
                <a:gd name="connsiteX5" fmla="*/ 272598 w 308400"/>
                <a:gd name="connsiteY5" fmla="*/ 339690 h 492352"/>
                <a:gd name="connsiteX6" fmla="*/ 233700 w 308400"/>
                <a:gd name="connsiteY6" fmla="*/ 300784 h 492352"/>
                <a:gd name="connsiteX7" fmla="*/ 278776 w 308400"/>
                <a:gd name="connsiteY7" fmla="*/ 255715 h 492352"/>
                <a:gd name="connsiteX8" fmla="*/ 308400 w 308400"/>
                <a:gd name="connsiteY8" fmla="*/ 226059 h 492352"/>
                <a:gd name="connsiteX9" fmla="*/ 308400 w 308400"/>
                <a:gd name="connsiteY9" fmla="*/ 87253 h 492352"/>
                <a:gd name="connsiteX10" fmla="*/ 250571 w 308400"/>
                <a:gd name="connsiteY10" fmla="*/ 87253 h 492352"/>
                <a:gd name="connsiteX11" fmla="*/ 163300 w 308400"/>
                <a:gd name="connsiteY11" fmla="*/ 0 h 492352"/>
                <a:gd name="connsiteX12" fmla="*/ 57276 w 308400"/>
                <a:gd name="connsiteY12" fmla="*/ 0 h 492352"/>
                <a:gd name="connsiteX13" fmla="*/ 30718 w 308400"/>
                <a:gd name="connsiteY13" fmla="*/ 0 h 492352"/>
                <a:gd name="connsiteX14" fmla="*/ 30949 w 308400"/>
                <a:gd name="connsiteY14" fmla="*/ 62746 h 492352"/>
                <a:gd name="connsiteX15" fmla="*/ 45110 w 308400"/>
                <a:gd name="connsiteY15" fmla="*/ 76899 h 492352"/>
                <a:gd name="connsiteX16" fmla="*/ 45110 w 308400"/>
                <a:gd name="connsiteY16" fmla="*/ 116374 h 492352"/>
                <a:gd name="connsiteX17" fmla="*/ 45110 w 308400"/>
                <a:gd name="connsiteY17" fmla="*/ 222666 h 492352"/>
                <a:gd name="connsiteX18" fmla="*/ 0 w 308400"/>
                <a:gd name="connsiteY18" fmla="*/ 222666 h 492352"/>
                <a:gd name="connsiteX19" fmla="*/ 0 w 308400"/>
                <a:gd name="connsiteY19" fmla="*/ 257198 h 492352"/>
                <a:gd name="connsiteX20" fmla="*/ 47317 w 308400"/>
                <a:gd name="connsiteY20" fmla="*/ 304532 h 492352"/>
                <a:gd name="connsiteX21" fmla="*/ 47317 w 308400"/>
                <a:gd name="connsiteY21" fmla="*/ 344757 h 492352"/>
                <a:gd name="connsiteX22" fmla="*/ 14218 w 308400"/>
                <a:gd name="connsiteY22" fmla="*/ 377897 h 492352"/>
                <a:gd name="connsiteX23" fmla="*/ 14218 w 308400"/>
                <a:gd name="connsiteY23" fmla="*/ 408302 h 492352"/>
                <a:gd name="connsiteX24" fmla="*/ 14218 w 308400"/>
                <a:gd name="connsiteY24" fmla="*/ 450891 h 492352"/>
                <a:gd name="connsiteX25" fmla="*/ 55671 w 308400"/>
                <a:gd name="connsiteY25" fmla="*/ 492352 h 492352"/>
                <a:gd name="connsiteX26" fmla="*/ 129839 w 308400"/>
                <a:gd name="connsiteY26" fmla="*/ 492352 h 492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08400" h="492352">
                  <a:moveTo>
                    <a:pt x="175295" y="446905"/>
                  </a:moveTo>
                  <a:lnTo>
                    <a:pt x="216532" y="446905"/>
                  </a:lnTo>
                  <a:lnTo>
                    <a:pt x="245266" y="418171"/>
                  </a:lnTo>
                  <a:lnTo>
                    <a:pt x="245266" y="384512"/>
                  </a:lnTo>
                  <a:lnTo>
                    <a:pt x="272598" y="384538"/>
                  </a:lnTo>
                  <a:lnTo>
                    <a:pt x="272598" y="339690"/>
                  </a:lnTo>
                  <a:lnTo>
                    <a:pt x="233700" y="300784"/>
                  </a:lnTo>
                  <a:lnTo>
                    <a:pt x="278776" y="255715"/>
                  </a:lnTo>
                  <a:lnTo>
                    <a:pt x="308400" y="226059"/>
                  </a:lnTo>
                  <a:lnTo>
                    <a:pt x="308400" y="87253"/>
                  </a:lnTo>
                  <a:lnTo>
                    <a:pt x="250571" y="87253"/>
                  </a:lnTo>
                  <a:lnTo>
                    <a:pt x="163300" y="0"/>
                  </a:lnTo>
                  <a:lnTo>
                    <a:pt x="57276" y="0"/>
                  </a:lnTo>
                  <a:lnTo>
                    <a:pt x="30718" y="0"/>
                  </a:lnTo>
                  <a:lnTo>
                    <a:pt x="30949" y="62746"/>
                  </a:lnTo>
                  <a:lnTo>
                    <a:pt x="45110" y="76899"/>
                  </a:lnTo>
                  <a:lnTo>
                    <a:pt x="45110" y="116374"/>
                  </a:lnTo>
                  <a:lnTo>
                    <a:pt x="45110" y="222666"/>
                  </a:lnTo>
                  <a:lnTo>
                    <a:pt x="0" y="222666"/>
                  </a:lnTo>
                  <a:lnTo>
                    <a:pt x="0" y="257198"/>
                  </a:lnTo>
                  <a:lnTo>
                    <a:pt x="47317" y="304532"/>
                  </a:lnTo>
                  <a:lnTo>
                    <a:pt x="47317" y="344757"/>
                  </a:lnTo>
                  <a:lnTo>
                    <a:pt x="14218" y="377897"/>
                  </a:lnTo>
                  <a:lnTo>
                    <a:pt x="14218" y="408302"/>
                  </a:lnTo>
                  <a:lnTo>
                    <a:pt x="14218" y="450891"/>
                  </a:lnTo>
                  <a:lnTo>
                    <a:pt x="55671" y="492352"/>
                  </a:lnTo>
                  <a:lnTo>
                    <a:pt x="129839" y="492352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0" name="Freeform: Shape 749">
              <a:extLst>
                <a:ext uri="{FF2B5EF4-FFF2-40B4-BE49-F238E27FC236}">
                  <a16:creationId xmlns:a16="http://schemas.microsoft.com/office/drawing/2014/main" id="{23669E54-A875-D0D2-2719-D5520205FA9E}"/>
                </a:ext>
              </a:extLst>
            </p:cNvPr>
            <p:cNvSpPr/>
            <p:nvPr/>
          </p:nvSpPr>
          <p:spPr>
            <a:xfrm>
              <a:off x="5621997" y="4239393"/>
              <a:ext cx="233410" cy="144464"/>
            </a:xfrm>
            <a:custGeom>
              <a:avLst/>
              <a:gdLst>
                <a:gd name="connsiteX0" fmla="*/ 216854 w 233410"/>
                <a:gd name="connsiteY0" fmla="*/ 114867 h 144464"/>
                <a:gd name="connsiteX1" fmla="*/ 233411 w 233410"/>
                <a:gd name="connsiteY1" fmla="*/ 98403 h 144464"/>
                <a:gd name="connsiteX2" fmla="*/ 208159 w 233410"/>
                <a:gd name="connsiteY2" fmla="*/ 73151 h 144464"/>
                <a:gd name="connsiteX3" fmla="*/ 208159 w 233410"/>
                <a:gd name="connsiteY3" fmla="*/ 44624 h 144464"/>
                <a:gd name="connsiteX4" fmla="*/ 146895 w 233410"/>
                <a:gd name="connsiteY4" fmla="*/ 0 h 144464"/>
                <a:gd name="connsiteX5" fmla="*/ 126078 w 233410"/>
                <a:gd name="connsiteY5" fmla="*/ 20833 h 144464"/>
                <a:gd name="connsiteX6" fmla="*/ 74766 w 233410"/>
                <a:gd name="connsiteY6" fmla="*/ 20833 h 144464"/>
                <a:gd name="connsiteX7" fmla="*/ 44303 w 233410"/>
                <a:gd name="connsiteY7" fmla="*/ 51297 h 144464"/>
                <a:gd name="connsiteX8" fmla="*/ 44303 w 233410"/>
                <a:gd name="connsiteY8" fmla="*/ 82048 h 144464"/>
                <a:gd name="connsiteX9" fmla="*/ 18304 w 233410"/>
                <a:gd name="connsiteY9" fmla="*/ 108046 h 144464"/>
                <a:gd name="connsiteX10" fmla="*/ 0 w 233410"/>
                <a:gd name="connsiteY10" fmla="*/ 126342 h 144464"/>
                <a:gd name="connsiteX11" fmla="*/ 0 w 233410"/>
                <a:gd name="connsiteY11" fmla="*/ 144465 h 144464"/>
                <a:gd name="connsiteX12" fmla="*/ 66544 w 233410"/>
                <a:gd name="connsiteY12" fmla="*/ 144465 h 144464"/>
                <a:gd name="connsiteX13" fmla="*/ 96084 w 233410"/>
                <a:gd name="connsiteY13" fmla="*/ 114941 h 144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3410" h="144464">
                  <a:moveTo>
                    <a:pt x="216854" y="114867"/>
                  </a:moveTo>
                  <a:lnTo>
                    <a:pt x="233411" y="98403"/>
                  </a:lnTo>
                  <a:lnTo>
                    <a:pt x="208159" y="73151"/>
                  </a:lnTo>
                  <a:lnTo>
                    <a:pt x="208159" y="44624"/>
                  </a:lnTo>
                  <a:lnTo>
                    <a:pt x="146895" y="0"/>
                  </a:lnTo>
                  <a:lnTo>
                    <a:pt x="126078" y="20833"/>
                  </a:lnTo>
                  <a:lnTo>
                    <a:pt x="74766" y="20833"/>
                  </a:lnTo>
                  <a:lnTo>
                    <a:pt x="44303" y="51297"/>
                  </a:lnTo>
                  <a:lnTo>
                    <a:pt x="44303" y="82048"/>
                  </a:lnTo>
                  <a:lnTo>
                    <a:pt x="18304" y="108046"/>
                  </a:lnTo>
                  <a:lnTo>
                    <a:pt x="0" y="126342"/>
                  </a:lnTo>
                  <a:lnTo>
                    <a:pt x="0" y="144465"/>
                  </a:lnTo>
                  <a:lnTo>
                    <a:pt x="66544" y="144465"/>
                  </a:lnTo>
                  <a:lnTo>
                    <a:pt x="96084" y="114941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1" name="Freeform: Shape 750">
              <a:extLst>
                <a:ext uri="{FF2B5EF4-FFF2-40B4-BE49-F238E27FC236}">
                  <a16:creationId xmlns:a16="http://schemas.microsoft.com/office/drawing/2014/main" id="{19010352-AB60-0514-E863-7F54196B0158}"/>
                </a:ext>
              </a:extLst>
            </p:cNvPr>
            <p:cNvSpPr/>
            <p:nvPr/>
          </p:nvSpPr>
          <p:spPr>
            <a:xfrm>
              <a:off x="5255353" y="4183393"/>
              <a:ext cx="166912" cy="153889"/>
            </a:xfrm>
            <a:custGeom>
              <a:avLst/>
              <a:gdLst>
                <a:gd name="connsiteX0" fmla="*/ 140773 w 166912"/>
                <a:gd name="connsiteY0" fmla="*/ 50827 h 153889"/>
                <a:gd name="connsiteX1" fmla="*/ 89947 w 166912"/>
                <a:gd name="connsiteY1" fmla="*/ 0 h 153889"/>
                <a:gd name="connsiteX2" fmla="*/ 32143 w 166912"/>
                <a:gd name="connsiteY2" fmla="*/ 0 h 153889"/>
                <a:gd name="connsiteX3" fmla="*/ 32143 w 166912"/>
                <a:gd name="connsiteY3" fmla="*/ 25612 h 153889"/>
                <a:gd name="connsiteX4" fmla="*/ 0 w 166912"/>
                <a:gd name="connsiteY4" fmla="*/ 57739 h 153889"/>
                <a:gd name="connsiteX5" fmla="*/ 0 w 166912"/>
                <a:gd name="connsiteY5" fmla="*/ 70169 h 153889"/>
                <a:gd name="connsiteX6" fmla="*/ 101220 w 166912"/>
                <a:gd name="connsiteY6" fmla="*/ 70169 h 153889"/>
                <a:gd name="connsiteX7" fmla="*/ 101220 w 166912"/>
                <a:gd name="connsiteY7" fmla="*/ 89149 h 153889"/>
                <a:gd name="connsiteX8" fmla="*/ 0 w 166912"/>
                <a:gd name="connsiteY8" fmla="*/ 89149 h 153889"/>
                <a:gd name="connsiteX9" fmla="*/ 0 w 166912"/>
                <a:gd name="connsiteY9" fmla="*/ 124225 h 153889"/>
                <a:gd name="connsiteX10" fmla="*/ 29671 w 166912"/>
                <a:gd name="connsiteY10" fmla="*/ 153889 h 153889"/>
                <a:gd name="connsiteX11" fmla="*/ 59278 w 166912"/>
                <a:gd name="connsiteY11" fmla="*/ 124291 h 153889"/>
                <a:gd name="connsiteX12" fmla="*/ 87847 w 166912"/>
                <a:gd name="connsiteY12" fmla="*/ 124291 h 153889"/>
                <a:gd name="connsiteX13" fmla="*/ 103581 w 166912"/>
                <a:gd name="connsiteY13" fmla="*/ 108573 h 153889"/>
                <a:gd name="connsiteX14" fmla="*/ 123309 w 166912"/>
                <a:gd name="connsiteY14" fmla="*/ 128327 h 153889"/>
                <a:gd name="connsiteX15" fmla="*/ 166912 w 166912"/>
                <a:gd name="connsiteY15" fmla="*/ 128327 h 153889"/>
                <a:gd name="connsiteX16" fmla="*/ 166912 w 166912"/>
                <a:gd name="connsiteY16" fmla="*/ 50827 h 15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6912" h="153889">
                  <a:moveTo>
                    <a:pt x="140773" y="50827"/>
                  </a:moveTo>
                  <a:lnTo>
                    <a:pt x="89947" y="0"/>
                  </a:lnTo>
                  <a:lnTo>
                    <a:pt x="32143" y="0"/>
                  </a:lnTo>
                  <a:lnTo>
                    <a:pt x="32143" y="25612"/>
                  </a:lnTo>
                  <a:lnTo>
                    <a:pt x="0" y="57739"/>
                  </a:lnTo>
                  <a:lnTo>
                    <a:pt x="0" y="70169"/>
                  </a:lnTo>
                  <a:lnTo>
                    <a:pt x="101220" y="70169"/>
                  </a:lnTo>
                  <a:lnTo>
                    <a:pt x="101220" y="89149"/>
                  </a:lnTo>
                  <a:lnTo>
                    <a:pt x="0" y="89149"/>
                  </a:lnTo>
                  <a:lnTo>
                    <a:pt x="0" y="124225"/>
                  </a:lnTo>
                  <a:lnTo>
                    <a:pt x="29671" y="153889"/>
                  </a:lnTo>
                  <a:lnTo>
                    <a:pt x="59278" y="124291"/>
                  </a:lnTo>
                  <a:lnTo>
                    <a:pt x="87847" y="124291"/>
                  </a:lnTo>
                  <a:lnTo>
                    <a:pt x="103581" y="108573"/>
                  </a:lnTo>
                  <a:lnTo>
                    <a:pt x="123309" y="128327"/>
                  </a:lnTo>
                  <a:lnTo>
                    <a:pt x="166912" y="128327"/>
                  </a:lnTo>
                  <a:lnTo>
                    <a:pt x="166912" y="50827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2" name="Freeform: Shape 751">
              <a:extLst>
                <a:ext uri="{FF2B5EF4-FFF2-40B4-BE49-F238E27FC236}">
                  <a16:creationId xmlns:a16="http://schemas.microsoft.com/office/drawing/2014/main" id="{B9E34D2F-B20A-CE64-3F47-73D9C51AE253}"/>
                </a:ext>
              </a:extLst>
            </p:cNvPr>
            <p:cNvSpPr/>
            <p:nvPr/>
          </p:nvSpPr>
          <p:spPr>
            <a:xfrm>
              <a:off x="5255349" y="4253562"/>
              <a:ext cx="4" cy="18979"/>
            </a:xfrm>
            <a:custGeom>
              <a:avLst/>
              <a:gdLst>
                <a:gd name="connsiteX0" fmla="*/ 0 w 4"/>
                <a:gd name="connsiteY0" fmla="*/ 0 h 18979"/>
                <a:gd name="connsiteX1" fmla="*/ 4 w 4"/>
                <a:gd name="connsiteY1" fmla="*/ 0 h 18979"/>
                <a:gd name="connsiteX2" fmla="*/ 4 w 4"/>
                <a:gd name="connsiteY2" fmla="*/ 18980 h 18979"/>
                <a:gd name="connsiteX3" fmla="*/ 0 w 4"/>
                <a:gd name="connsiteY3" fmla="*/ 18980 h 18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" h="18979">
                  <a:moveTo>
                    <a:pt x="0" y="0"/>
                  </a:moveTo>
                  <a:lnTo>
                    <a:pt x="4" y="0"/>
                  </a:lnTo>
                  <a:lnTo>
                    <a:pt x="4" y="18980"/>
                  </a:lnTo>
                  <a:lnTo>
                    <a:pt x="0" y="1898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3" name="Freeform: Shape 752">
              <a:extLst>
                <a:ext uri="{FF2B5EF4-FFF2-40B4-BE49-F238E27FC236}">
                  <a16:creationId xmlns:a16="http://schemas.microsoft.com/office/drawing/2014/main" id="{CE50D744-7D15-CD83-D1A9-5AE831E635CC}"/>
                </a:ext>
              </a:extLst>
            </p:cNvPr>
            <p:cNvSpPr/>
            <p:nvPr/>
          </p:nvSpPr>
          <p:spPr>
            <a:xfrm>
              <a:off x="5255353" y="4253562"/>
              <a:ext cx="101220" cy="18979"/>
            </a:xfrm>
            <a:custGeom>
              <a:avLst/>
              <a:gdLst>
                <a:gd name="connsiteX0" fmla="*/ 0 w 101220"/>
                <a:gd name="connsiteY0" fmla="*/ 0 h 18979"/>
                <a:gd name="connsiteX1" fmla="*/ 101221 w 101220"/>
                <a:gd name="connsiteY1" fmla="*/ 0 h 18979"/>
                <a:gd name="connsiteX2" fmla="*/ 101221 w 101220"/>
                <a:gd name="connsiteY2" fmla="*/ 18980 h 18979"/>
                <a:gd name="connsiteX3" fmla="*/ 0 w 101220"/>
                <a:gd name="connsiteY3" fmla="*/ 18980 h 18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220" h="18979">
                  <a:moveTo>
                    <a:pt x="0" y="0"/>
                  </a:moveTo>
                  <a:lnTo>
                    <a:pt x="101221" y="0"/>
                  </a:lnTo>
                  <a:lnTo>
                    <a:pt x="101221" y="18980"/>
                  </a:lnTo>
                  <a:lnTo>
                    <a:pt x="0" y="1898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4" name="Freeform: Shape 753">
              <a:extLst>
                <a:ext uri="{FF2B5EF4-FFF2-40B4-BE49-F238E27FC236}">
                  <a16:creationId xmlns:a16="http://schemas.microsoft.com/office/drawing/2014/main" id="{E3885FA4-A745-FD0A-157C-404F368FBF35}"/>
                </a:ext>
              </a:extLst>
            </p:cNvPr>
            <p:cNvSpPr/>
            <p:nvPr/>
          </p:nvSpPr>
          <p:spPr>
            <a:xfrm>
              <a:off x="6633388" y="4364623"/>
              <a:ext cx="42704" cy="33420"/>
            </a:xfrm>
            <a:custGeom>
              <a:avLst/>
              <a:gdLst>
                <a:gd name="connsiteX0" fmla="*/ 0 w 42704"/>
                <a:gd name="connsiteY0" fmla="*/ 0 h 33420"/>
                <a:gd name="connsiteX1" fmla="*/ 0 w 42704"/>
                <a:gd name="connsiteY1" fmla="*/ 16789 h 33420"/>
                <a:gd name="connsiteX2" fmla="*/ 0 w 42704"/>
                <a:gd name="connsiteY2" fmla="*/ 33420 h 33420"/>
                <a:gd name="connsiteX3" fmla="*/ 26475 w 42704"/>
                <a:gd name="connsiteY3" fmla="*/ 33420 h 33420"/>
                <a:gd name="connsiteX4" fmla="*/ 42704 w 42704"/>
                <a:gd name="connsiteY4" fmla="*/ 17002 h 33420"/>
                <a:gd name="connsiteX5" fmla="*/ 42704 w 42704"/>
                <a:gd name="connsiteY5" fmla="*/ 16789 h 33420"/>
                <a:gd name="connsiteX6" fmla="*/ 42704 w 42704"/>
                <a:gd name="connsiteY6" fmla="*/ 0 h 33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04" h="33420">
                  <a:moveTo>
                    <a:pt x="0" y="0"/>
                  </a:moveTo>
                  <a:lnTo>
                    <a:pt x="0" y="16789"/>
                  </a:lnTo>
                  <a:lnTo>
                    <a:pt x="0" y="33420"/>
                  </a:lnTo>
                  <a:lnTo>
                    <a:pt x="26475" y="33420"/>
                  </a:lnTo>
                  <a:lnTo>
                    <a:pt x="42704" y="17002"/>
                  </a:lnTo>
                  <a:lnTo>
                    <a:pt x="42704" y="16789"/>
                  </a:lnTo>
                  <a:lnTo>
                    <a:pt x="42704" y="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5" name="Freeform: Shape 754">
              <a:extLst>
                <a:ext uri="{FF2B5EF4-FFF2-40B4-BE49-F238E27FC236}">
                  <a16:creationId xmlns:a16="http://schemas.microsoft.com/office/drawing/2014/main" id="{866F3872-D8BE-2857-E979-5B829EB12D9F}"/>
                </a:ext>
              </a:extLst>
            </p:cNvPr>
            <p:cNvSpPr/>
            <p:nvPr/>
          </p:nvSpPr>
          <p:spPr>
            <a:xfrm>
              <a:off x="6633388" y="4364623"/>
              <a:ext cx="42704" cy="33420"/>
            </a:xfrm>
            <a:custGeom>
              <a:avLst/>
              <a:gdLst>
                <a:gd name="connsiteX0" fmla="*/ 26475 w 42704"/>
                <a:gd name="connsiteY0" fmla="*/ 33420 h 33420"/>
                <a:gd name="connsiteX1" fmla="*/ 42704 w 42704"/>
                <a:gd name="connsiteY1" fmla="*/ 17002 h 33420"/>
                <a:gd name="connsiteX2" fmla="*/ 42704 w 42704"/>
                <a:gd name="connsiteY2" fmla="*/ 16789 h 33420"/>
                <a:gd name="connsiteX3" fmla="*/ 42704 w 42704"/>
                <a:gd name="connsiteY3" fmla="*/ 0 h 33420"/>
                <a:gd name="connsiteX4" fmla="*/ 0 w 42704"/>
                <a:gd name="connsiteY4" fmla="*/ 0 h 33420"/>
                <a:gd name="connsiteX5" fmla="*/ 0 w 42704"/>
                <a:gd name="connsiteY5" fmla="*/ 16789 h 33420"/>
                <a:gd name="connsiteX6" fmla="*/ 0 w 42704"/>
                <a:gd name="connsiteY6" fmla="*/ 33420 h 33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04" h="33420">
                  <a:moveTo>
                    <a:pt x="26475" y="33420"/>
                  </a:moveTo>
                  <a:lnTo>
                    <a:pt x="42704" y="17002"/>
                  </a:lnTo>
                  <a:lnTo>
                    <a:pt x="42704" y="16789"/>
                  </a:lnTo>
                  <a:lnTo>
                    <a:pt x="42704" y="0"/>
                  </a:lnTo>
                  <a:lnTo>
                    <a:pt x="0" y="0"/>
                  </a:lnTo>
                  <a:lnTo>
                    <a:pt x="0" y="16789"/>
                  </a:lnTo>
                  <a:lnTo>
                    <a:pt x="0" y="3342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6" name="Freeform: Shape 755">
              <a:extLst>
                <a:ext uri="{FF2B5EF4-FFF2-40B4-BE49-F238E27FC236}">
                  <a16:creationId xmlns:a16="http://schemas.microsoft.com/office/drawing/2014/main" id="{E0A5A402-2723-466C-9A81-701EFE7C3617}"/>
                </a:ext>
              </a:extLst>
            </p:cNvPr>
            <p:cNvSpPr/>
            <p:nvPr/>
          </p:nvSpPr>
          <p:spPr>
            <a:xfrm>
              <a:off x="6226143" y="4364145"/>
              <a:ext cx="391831" cy="250443"/>
            </a:xfrm>
            <a:custGeom>
              <a:avLst/>
              <a:gdLst>
                <a:gd name="connsiteX0" fmla="*/ 280539 w 391831"/>
                <a:gd name="connsiteY0" fmla="*/ 22790 h 250443"/>
                <a:gd name="connsiteX1" fmla="*/ 256897 w 391831"/>
                <a:gd name="connsiteY1" fmla="*/ 27 h 250443"/>
                <a:gd name="connsiteX2" fmla="*/ 229565 w 391831"/>
                <a:gd name="connsiteY2" fmla="*/ 0 h 250443"/>
                <a:gd name="connsiteX3" fmla="*/ 229565 w 391831"/>
                <a:gd name="connsiteY3" fmla="*/ 33659 h 250443"/>
                <a:gd name="connsiteX4" fmla="*/ 200831 w 391831"/>
                <a:gd name="connsiteY4" fmla="*/ 62393 h 250443"/>
                <a:gd name="connsiteX5" fmla="*/ 159594 w 391831"/>
                <a:gd name="connsiteY5" fmla="*/ 62393 h 250443"/>
                <a:gd name="connsiteX6" fmla="*/ 114138 w 391831"/>
                <a:gd name="connsiteY6" fmla="*/ 107840 h 250443"/>
                <a:gd name="connsiteX7" fmla="*/ 39969 w 391831"/>
                <a:gd name="connsiteY7" fmla="*/ 107840 h 250443"/>
                <a:gd name="connsiteX8" fmla="*/ 0 w 391831"/>
                <a:gd name="connsiteY8" fmla="*/ 147793 h 250443"/>
                <a:gd name="connsiteX9" fmla="*/ 0 w 391831"/>
                <a:gd name="connsiteY9" fmla="*/ 200103 h 250443"/>
                <a:gd name="connsiteX10" fmla="*/ 15157 w 391831"/>
                <a:gd name="connsiteY10" fmla="*/ 215276 h 250443"/>
                <a:gd name="connsiteX11" fmla="*/ 35892 w 391831"/>
                <a:gd name="connsiteY11" fmla="*/ 236011 h 250443"/>
                <a:gd name="connsiteX12" fmla="*/ 71932 w 391831"/>
                <a:gd name="connsiteY12" fmla="*/ 199954 h 250443"/>
                <a:gd name="connsiteX13" fmla="*/ 134666 w 391831"/>
                <a:gd name="connsiteY13" fmla="*/ 250443 h 250443"/>
                <a:gd name="connsiteX14" fmla="*/ 145902 w 391831"/>
                <a:gd name="connsiteY14" fmla="*/ 239207 h 250443"/>
                <a:gd name="connsiteX15" fmla="*/ 185509 w 391831"/>
                <a:gd name="connsiteY15" fmla="*/ 199592 h 250443"/>
                <a:gd name="connsiteX16" fmla="*/ 207422 w 391831"/>
                <a:gd name="connsiteY16" fmla="*/ 221496 h 250443"/>
                <a:gd name="connsiteX17" fmla="*/ 226417 w 391831"/>
                <a:gd name="connsiteY17" fmla="*/ 202499 h 250443"/>
                <a:gd name="connsiteX18" fmla="*/ 255316 w 391831"/>
                <a:gd name="connsiteY18" fmla="*/ 202499 h 250443"/>
                <a:gd name="connsiteX19" fmla="*/ 276174 w 391831"/>
                <a:gd name="connsiteY19" fmla="*/ 181625 h 250443"/>
                <a:gd name="connsiteX20" fmla="*/ 353970 w 391831"/>
                <a:gd name="connsiteY20" fmla="*/ 181625 h 250443"/>
                <a:gd name="connsiteX21" fmla="*/ 391831 w 391831"/>
                <a:gd name="connsiteY21" fmla="*/ 176798 h 250443"/>
                <a:gd name="connsiteX22" fmla="*/ 280539 w 391831"/>
                <a:gd name="connsiteY22" fmla="*/ 65506 h 250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91831" h="250443">
                  <a:moveTo>
                    <a:pt x="280539" y="22790"/>
                  </a:moveTo>
                  <a:lnTo>
                    <a:pt x="256897" y="27"/>
                  </a:lnTo>
                  <a:lnTo>
                    <a:pt x="229565" y="0"/>
                  </a:lnTo>
                  <a:lnTo>
                    <a:pt x="229565" y="33659"/>
                  </a:lnTo>
                  <a:lnTo>
                    <a:pt x="200831" y="62393"/>
                  </a:lnTo>
                  <a:lnTo>
                    <a:pt x="159594" y="62393"/>
                  </a:lnTo>
                  <a:lnTo>
                    <a:pt x="114138" y="107840"/>
                  </a:lnTo>
                  <a:lnTo>
                    <a:pt x="39969" y="107840"/>
                  </a:lnTo>
                  <a:lnTo>
                    <a:pt x="0" y="147793"/>
                  </a:lnTo>
                  <a:lnTo>
                    <a:pt x="0" y="200103"/>
                  </a:lnTo>
                  <a:lnTo>
                    <a:pt x="15157" y="215276"/>
                  </a:lnTo>
                  <a:lnTo>
                    <a:pt x="35892" y="236011"/>
                  </a:lnTo>
                  <a:lnTo>
                    <a:pt x="71932" y="199954"/>
                  </a:lnTo>
                  <a:lnTo>
                    <a:pt x="134666" y="250443"/>
                  </a:lnTo>
                  <a:lnTo>
                    <a:pt x="145902" y="239207"/>
                  </a:lnTo>
                  <a:lnTo>
                    <a:pt x="185509" y="199592"/>
                  </a:lnTo>
                  <a:lnTo>
                    <a:pt x="207422" y="221496"/>
                  </a:lnTo>
                  <a:lnTo>
                    <a:pt x="226417" y="202499"/>
                  </a:lnTo>
                  <a:lnTo>
                    <a:pt x="255316" y="202499"/>
                  </a:lnTo>
                  <a:lnTo>
                    <a:pt x="276174" y="181625"/>
                  </a:lnTo>
                  <a:lnTo>
                    <a:pt x="353970" y="181625"/>
                  </a:lnTo>
                  <a:lnTo>
                    <a:pt x="391831" y="176798"/>
                  </a:lnTo>
                  <a:lnTo>
                    <a:pt x="280539" y="65506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7" name="Freeform: Shape 756">
              <a:extLst>
                <a:ext uri="{FF2B5EF4-FFF2-40B4-BE49-F238E27FC236}">
                  <a16:creationId xmlns:a16="http://schemas.microsoft.com/office/drawing/2014/main" id="{88A43E73-93BE-9AF5-DA4E-6F6DCCE9A87A}"/>
                </a:ext>
              </a:extLst>
            </p:cNvPr>
            <p:cNvSpPr/>
            <p:nvPr/>
          </p:nvSpPr>
          <p:spPr>
            <a:xfrm>
              <a:off x="6444142" y="3968422"/>
              <a:ext cx="510623" cy="418513"/>
            </a:xfrm>
            <a:custGeom>
              <a:avLst/>
              <a:gdLst>
                <a:gd name="connsiteX0" fmla="*/ 488596 w 510623"/>
                <a:gd name="connsiteY0" fmla="*/ 135807 h 418513"/>
                <a:gd name="connsiteX1" fmla="*/ 488596 w 510623"/>
                <a:gd name="connsiteY1" fmla="*/ 66223 h 418513"/>
                <a:gd name="connsiteX2" fmla="*/ 422364 w 510623"/>
                <a:gd name="connsiteY2" fmla="*/ 0 h 418513"/>
                <a:gd name="connsiteX3" fmla="*/ 371916 w 510623"/>
                <a:gd name="connsiteY3" fmla="*/ 50473 h 418513"/>
                <a:gd name="connsiteX4" fmla="*/ 356150 w 510623"/>
                <a:gd name="connsiteY4" fmla="*/ 34705 h 418513"/>
                <a:gd name="connsiteX5" fmla="*/ 115229 w 510623"/>
                <a:gd name="connsiteY5" fmla="*/ 34705 h 418513"/>
                <a:gd name="connsiteX6" fmla="*/ 115229 w 510623"/>
                <a:gd name="connsiteY6" fmla="*/ 98465 h 418513"/>
                <a:gd name="connsiteX7" fmla="*/ 74700 w 510623"/>
                <a:gd name="connsiteY7" fmla="*/ 98465 h 418513"/>
                <a:gd name="connsiteX8" fmla="*/ 74700 w 510623"/>
                <a:gd name="connsiteY8" fmla="*/ 237271 h 418513"/>
                <a:gd name="connsiteX9" fmla="*/ 45076 w 510623"/>
                <a:gd name="connsiteY9" fmla="*/ 266926 h 418513"/>
                <a:gd name="connsiteX10" fmla="*/ 0 w 510623"/>
                <a:gd name="connsiteY10" fmla="*/ 311995 h 418513"/>
                <a:gd name="connsiteX11" fmla="*/ 38899 w 510623"/>
                <a:gd name="connsiteY11" fmla="*/ 350902 h 418513"/>
                <a:gd name="connsiteX12" fmla="*/ 38899 w 510623"/>
                <a:gd name="connsiteY12" fmla="*/ 395750 h 418513"/>
                <a:gd name="connsiteX13" fmla="*/ 62540 w 510623"/>
                <a:gd name="connsiteY13" fmla="*/ 418513 h 418513"/>
                <a:gd name="connsiteX14" fmla="*/ 73173 w 510623"/>
                <a:gd name="connsiteY14" fmla="*/ 418454 h 418513"/>
                <a:gd name="connsiteX15" fmla="*/ 96299 w 510623"/>
                <a:gd name="connsiteY15" fmla="*/ 395328 h 418513"/>
                <a:gd name="connsiteX16" fmla="*/ 131622 w 510623"/>
                <a:gd name="connsiteY16" fmla="*/ 395328 h 418513"/>
                <a:gd name="connsiteX17" fmla="*/ 149284 w 510623"/>
                <a:gd name="connsiteY17" fmla="*/ 412990 h 418513"/>
                <a:gd name="connsiteX18" fmla="*/ 189246 w 510623"/>
                <a:gd name="connsiteY18" fmla="*/ 412990 h 418513"/>
                <a:gd name="connsiteX19" fmla="*/ 189246 w 510623"/>
                <a:gd name="connsiteY19" fmla="*/ 396201 h 418513"/>
                <a:gd name="connsiteX20" fmla="*/ 231950 w 510623"/>
                <a:gd name="connsiteY20" fmla="*/ 396201 h 418513"/>
                <a:gd name="connsiteX21" fmla="*/ 231950 w 510623"/>
                <a:gd name="connsiteY21" fmla="*/ 412990 h 418513"/>
                <a:gd name="connsiteX22" fmla="*/ 298222 w 510623"/>
                <a:gd name="connsiteY22" fmla="*/ 412990 h 418513"/>
                <a:gd name="connsiteX23" fmla="*/ 327877 w 510623"/>
                <a:gd name="connsiteY23" fmla="*/ 383334 h 418513"/>
                <a:gd name="connsiteX24" fmla="*/ 327877 w 510623"/>
                <a:gd name="connsiteY24" fmla="*/ 344188 h 418513"/>
                <a:gd name="connsiteX25" fmla="*/ 353052 w 510623"/>
                <a:gd name="connsiteY25" fmla="*/ 344188 h 418513"/>
                <a:gd name="connsiteX26" fmla="*/ 353052 w 510623"/>
                <a:gd name="connsiteY26" fmla="*/ 371603 h 418513"/>
                <a:gd name="connsiteX27" fmla="*/ 384422 w 510623"/>
                <a:gd name="connsiteY27" fmla="*/ 402973 h 418513"/>
                <a:gd name="connsiteX28" fmla="*/ 384422 w 510623"/>
                <a:gd name="connsiteY28" fmla="*/ 400641 h 418513"/>
                <a:gd name="connsiteX29" fmla="*/ 447572 w 510623"/>
                <a:gd name="connsiteY29" fmla="*/ 337491 h 418513"/>
                <a:gd name="connsiteX30" fmla="*/ 459797 w 510623"/>
                <a:gd name="connsiteY30" fmla="*/ 325266 h 418513"/>
                <a:gd name="connsiteX31" fmla="*/ 456749 w 510623"/>
                <a:gd name="connsiteY31" fmla="*/ 278278 h 418513"/>
                <a:gd name="connsiteX32" fmla="*/ 456749 w 510623"/>
                <a:gd name="connsiteY32" fmla="*/ 205728 h 418513"/>
                <a:gd name="connsiteX33" fmla="*/ 481462 w 510623"/>
                <a:gd name="connsiteY33" fmla="*/ 181023 h 418513"/>
                <a:gd name="connsiteX34" fmla="*/ 510623 w 510623"/>
                <a:gd name="connsiteY34" fmla="*/ 181023 h 418513"/>
                <a:gd name="connsiteX35" fmla="*/ 510623 w 510623"/>
                <a:gd name="connsiteY35" fmla="*/ 157818 h 418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10623" h="418513">
                  <a:moveTo>
                    <a:pt x="488596" y="135807"/>
                  </a:moveTo>
                  <a:lnTo>
                    <a:pt x="488596" y="66223"/>
                  </a:lnTo>
                  <a:lnTo>
                    <a:pt x="422364" y="0"/>
                  </a:lnTo>
                  <a:lnTo>
                    <a:pt x="371916" y="50473"/>
                  </a:lnTo>
                  <a:lnTo>
                    <a:pt x="356150" y="34705"/>
                  </a:lnTo>
                  <a:lnTo>
                    <a:pt x="115229" y="34705"/>
                  </a:lnTo>
                  <a:lnTo>
                    <a:pt x="115229" y="98465"/>
                  </a:lnTo>
                  <a:lnTo>
                    <a:pt x="74700" y="98465"/>
                  </a:lnTo>
                  <a:lnTo>
                    <a:pt x="74700" y="237271"/>
                  </a:lnTo>
                  <a:lnTo>
                    <a:pt x="45076" y="266926"/>
                  </a:lnTo>
                  <a:lnTo>
                    <a:pt x="0" y="311995"/>
                  </a:lnTo>
                  <a:lnTo>
                    <a:pt x="38899" y="350902"/>
                  </a:lnTo>
                  <a:lnTo>
                    <a:pt x="38899" y="395750"/>
                  </a:lnTo>
                  <a:lnTo>
                    <a:pt x="62540" y="418513"/>
                  </a:lnTo>
                  <a:lnTo>
                    <a:pt x="73173" y="418454"/>
                  </a:lnTo>
                  <a:lnTo>
                    <a:pt x="96299" y="395328"/>
                  </a:lnTo>
                  <a:lnTo>
                    <a:pt x="131622" y="395328"/>
                  </a:lnTo>
                  <a:lnTo>
                    <a:pt x="149284" y="412990"/>
                  </a:lnTo>
                  <a:lnTo>
                    <a:pt x="189246" y="412990"/>
                  </a:lnTo>
                  <a:lnTo>
                    <a:pt x="189246" y="396201"/>
                  </a:lnTo>
                  <a:lnTo>
                    <a:pt x="231950" y="396201"/>
                  </a:lnTo>
                  <a:lnTo>
                    <a:pt x="231950" y="412990"/>
                  </a:lnTo>
                  <a:lnTo>
                    <a:pt x="298222" y="412990"/>
                  </a:lnTo>
                  <a:lnTo>
                    <a:pt x="327877" y="383334"/>
                  </a:lnTo>
                  <a:lnTo>
                    <a:pt x="327877" y="344188"/>
                  </a:lnTo>
                  <a:lnTo>
                    <a:pt x="353052" y="344188"/>
                  </a:lnTo>
                  <a:lnTo>
                    <a:pt x="353052" y="371603"/>
                  </a:lnTo>
                  <a:lnTo>
                    <a:pt x="384422" y="402973"/>
                  </a:lnTo>
                  <a:lnTo>
                    <a:pt x="384422" y="400641"/>
                  </a:lnTo>
                  <a:lnTo>
                    <a:pt x="447572" y="337491"/>
                  </a:lnTo>
                  <a:lnTo>
                    <a:pt x="459797" y="325266"/>
                  </a:lnTo>
                  <a:lnTo>
                    <a:pt x="456749" y="278278"/>
                  </a:lnTo>
                  <a:lnTo>
                    <a:pt x="456749" y="205728"/>
                  </a:lnTo>
                  <a:lnTo>
                    <a:pt x="481462" y="181023"/>
                  </a:lnTo>
                  <a:lnTo>
                    <a:pt x="510623" y="181023"/>
                  </a:lnTo>
                  <a:lnTo>
                    <a:pt x="510623" y="157818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8" name="Freeform: Shape 757">
              <a:extLst>
                <a:ext uri="{FF2B5EF4-FFF2-40B4-BE49-F238E27FC236}">
                  <a16:creationId xmlns:a16="http://schemas.microsoft.com/office/drawing/2014/main" id="{213FEADF-BAE5-45A1-3D3D-AF9601005B4C}"/>
                </a:ext>
              </a:extLst>
            </p:cNvPr>
            <p:cNvSpPr/>
            <p:nvPr/>
          </p:nvSpPr>
          <p:spPr>
            <a:xfrm>
              <a:off x="5331514" y="4291966"/>
              <a:ext cx="227332" cy="170422"/>
            </a:xfrm>
            <a:custGeom>
              <a:avLst/>
              <a:gdLst>
                <a:gd name="connsiteX0" fmla="*/ 205732 w 227332"/>
                <a:gd name="connsiteY0" fmla="*/ 61082 h 170422"/>
                <a:gd name="connsiteX1" fmla="*/ 188730 w 227332"/>
                <a:gd name="connsiteY1" fmla="*/ 44089 h 170422"/>
                <a:gd name="connsiteX2" fmla="*/ 164380 w 227332"/>
                <a:gd name="connsiteY2" fmla="*/ 19754 h 170422"/>
                <a:gd name="connsiteX3" fmla="*/ 112334 w 227332"/>
                <a:gd name="connsiteY3" fmla="*/ 19754 h 170422"/>
                <a:gd name="connsiteX4" fmla="*/ 90751 w 227332"/>
                <a:gd name="connsiteY4" fmla="*/ 19754 h 170422"/>
                <a:gd name="connsiteX5" fmla="*/ 47148 w 227332"/>
                <a:gd name="connsiteY5" fmla="*/ 19754 h 170422"/>
                <a:gd name="connsiteX6" fmla="*/ 27420 w 227332"/>
                <a:gd name="connsiteY6" fmla="*/ 0 h 170422"/>
                <a:gd name="connsiteX7" fmla="*/ 27420 w 227332"/>
                <a:gd name="connsiteY7" fmla="*/ 47005 h 170422"/>
                <a:gd name="connsiteX8" fmla="*/ 0 w 227332"/>
                <a:gd name="connsiteY8" fmla="*/ 74428 h 170422"/>
                <a:gd name="connsiteX9" fmla="*/ 46448 w 227332"/>
                <a:gd name="connsiteY9" fmla="*/ 120872 h 170422"/>
                <a:gd name="connsiteX10" fmla="*/ 79564 w 227332"/>
                <a:gd name="connsiteY10" fmla="*/ 87757 h 170422"/>
                <a:gd name="connsiteX11" fmla="*/ 112334 w 227332"/>
                <a:gd name="connsiteY11" fmla="*/ 87757 h 170422"/>
                <a:gd name="connsiteX12" fmla="*/ 157023 w 227332"/>
                <a:gd name="connsiteY12" fmla="*/ 132463 h 170422"/>
                <a:gd name="connsiteX13" fmla="*/ 194999 w 227332"/>
                <a:gd name="connsiteY13" fmla="*/ 170423 h 170422"/>
                <a:gd name="connsiteX14" fmla="*/ 227332 w 227332"/>
                <a:gd name="connsiteY14" fmla="*/ 170423 h 170422"/>
                <a:gd name="connsiteX15" fmla="*/ 227332 w 227332"/>
                <a:gd name="connsiteY15" fmla="*/ 89149 h 170422"/>
                <a:gd name="connsiteX16" fmla="*/ 227332 w 227332"/>
                <a:gd name="connsiteY16" fmla="*/ 61082 h 170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7332" h="170422">
                  <a:moveTo>
                    <a:pt x="205732" y="61082"/>
                  </a:moveTo>
                  <a:lnTo>
                    <a:pt x="188730" y="44089"/>
                  </a:lnTo>
                  <a:lnTo>
                    <a:pt x="164380" y="19754"/>
                  </a:lnTo>
                  <a:lnTo>
                    <a:pt x="112334" y="19754"/>
                  </a:lnTo>
                  <a:lnTo>
                    <a:pt x="90751" y="19754"/>
                  </a:lnTo>
                  <a:lnTo>
                    <a:pt x="47148" y="19754"/>
                  </a:lnTo>
                  <a:lnTo>
                    <a:pt x="27420" y="0"/>
                  </a:lnTo>
                  <a:lnTo>
                    <a:pt x="27420" y="47005"/>
                  </a:lnTo>
                  <a:lnTo>
                    <a:pt x="0" y="74428"/>
                  </a:lnTo>
                  <a:lnTo>
                    <a:pt x="46448" y="120872"/>
                  </a:lnTo>
                  <a:lnTo>
                    <a:pt x="79564" y="87757"/>
                  </a:lnTo>
                  <a:lnTo>
                    <a:pt x="112334" y="87757"/>
                  </a:lnTo>
                  <a:lnTo>
                    <a:pt x="157023" y="132463"/>
                  </a:lnTo>
                  <a:lnTo>
                    <a:pt x="194999" y="170423"/>
                  </a:lnTo>
                  <a:lnTo>
                    <a:pt x="227332" y="170423"/>
                  </a:lnTo>
                  <a:lnTo>
                    <a:pt x="227332" y="89149"/>
                  </a:lnTo>
                  <a:lnTo>
                    <a:pt x="227332" y="61082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9" name="Freeform: Shape 758">
              <a:extLst>
                <a:ext uri="{FF2B5EF4-FFF2-40B4-BE49-F238E27FC236}">
                  <a16:creationId xmlns:a16="http://schemas.microsoft.com/office/drawing/2014/main" id="{25EDD2A4-8FBC-2B73-D87D-703101118BDE}"/>
                </a:ext>
              </a:extLst>
            </p:cNvPr>
            <p:cNvSpPr/>
            <p:nvPr/>
          </p:nvSpPr>
          <p:spPr>
            <a:xfrm>
              <a:off x="5285024" y="4291966"/>
              <a:ext cx="73909" cy="74428"/>
            </a:xfrm>
            <a:custGeom>
              <a:avLst/>
              <a:gdLst>
                <a:gd name="connsiteX0" fmla="*/ 73910 w 73909"/>
                <a:gd name="connsiteY0" fmla="*/ 0 h 74428"/>
                <a:gd name="connsiteX1" fmla="*/ 58175 w 73909"/>
                <a:gd name="connsiteY1" fmla="*/ 15718 h 74428"/>
                <a:gd name="connsiteX2" fmla="*/ 29607 w 73909"/>
                <a:gd name="connsiteY2" fmla="*/ 15718 h 74428"/>
                <a:gd name="connsiteX3" fmla="*/ 0 w 73909"/>
                <a:gd name="connsiteY3" fmla="*/ 45316 h 74428"/>
                <a:gd name="connsiteX4" fmla="*/ 10355 w 73909"/>
                <a:gd name="connsiteY4" fmla="*/ 55670 h 74428"/>
                <a:gd name="connsiteX5" fmla="*/ 10693 w 73909"/>
                <a:gd name="connsiteY5" fmla="*/ 55910 h 74428"/>
                <a:gd name="connsiteX6" fmla="*/ 27975 w 73909"/>
                <a:gd name="connsiteY6" fmla="*/ 55910 h 74428"/>
                <a:gd name="connsiteX7" fmla="*/ 46490 w 73909"/>
                <a:gd name="connsiteY7" fmla="*/ 74428 h 74428"/>
                <a:gd name="connsiteX8" fmla="*/ 73910 w 73909"/>
                <a:gd name="connsiteY8" fmla="*/ 47005 h 74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3909" h="74428">
                  <a:moveTo>
                    <a:pt x="73910" y="0"/>
                  </a:moveTo>
                  <a:lnTo>
                    <a:pt x="58175" y="15718"/>
                  </a:lnTo>
                  <a:lnTo>
                    <a:pt x="29607" y="15718"/>
                  </a:lnTo>
                  <a:lnTo>
                    <a:pt x="0" y="45316"/>
                  </a:lnTo>
                  <a:lnTo>
                    <a:pt x="10355" y="55670"/>
                  </a:lnTo>
                  <a:lnTo>
                    <a:pt x="10693" y="55910"/>
                  </a:lnTo>
                  <a:lnTo>
                    <a:pt x="27975" y="55910"/>
                  </a:lnTo>
                  <a:lnTo>
                    <a:pt x="46490" y="74428"/>
                  </a:lnTo>
                  <a:lnTo>
                    <a:pt x="73910" y="47005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0" name="Freeform: Shape 759">
              <a:extLst>
                <a:ext uri="{FF2B5EF4-FFF2-40B4-BE49-F238E27FC236}">
                  <a16:creationId xmlns:a16="http://schemas.microsoft.com/office/drawing/2014/main" id="{E88A6711-706F-3552-4711-5D7B654D7AA8}"/>
                </a:ext>
              </a:extLst>
            </p:cNvPr>
            <p:cNvSpPr/>
            <p:nvPr/>
          </p:nvSpPr>
          <p:spPr>
            <a:xfrm>
              <a:off x="6059642" y="4631229"/>
              <a:ext cx="154729" cy="223827"/>
            </a:xfrm>
            <a:custGeom>
              <a:avLst/>
              <a:gdLst>
                <a:gd name="connsiteX0" fmla="*/ 121424 w 154729"/>
                <a:gd name="connsiteY0" fmla="*/ 0 h 223827"/>
                <a:gd name="connsiteX1" fmla="*/ 73996 w 154729"/>
                <a:gd name="connsiteY1" fmla="*/ 0 h 223827"/>
                <a:gd name="connsiteX2" fmla="*/ 73996 w 154729"/>
                <a:gd name="connsiteY2" fmla="*/ 28708 h 223827"/>
                <a:gd name="connsiteX3" fmla="*/ 28182 w 154729"/>
                <a:gd name="connsiteY3" fmla="*/ 28708 h 223827"/>
                <a:gd name="connsiteX4" fmla="*/ 28182 w 154729"/>
                <a:gd name="connsiteY4" fmla="*/ 56741 h 223827"/>
                <a:gd name="connsiteX5" fmla="*/ 0 w 154729"/>
                <a:gd name="connsiteY5" fmla="*/ 84947 h 223827"/>
                <a:gd name="connsiteX6" fmla="*/ 0 w 154729"/>
                <a:gd name="connsiteY6" fmla="*/ 116646 h 223827"/>
                <a:gd name="connsiteX7" fmla="*/ 76578 w 154729"/>
                <a:gd name="connsiteY7" fmla="*/ 193265 h 223827"/>
                <a:gd name="connsiteX8" fmla="*/ 76578 w 154729"/>
                <a:gd name="connsiteY8" fmla="*/ 223828 h 223827"/>
                <a:gd name="connsiteX9" fmla="*/ 112157 w 154729"/>
                <a:gd name="connsiteY9" fmla="*/ 188257 h 223827"/>
                <a:gd name="connsiteX10" fmla="*/ 81628 w 154729"/>
                <a:gd name="connsiteY10" fmla="*/ 157728 h 223827"/>
                <a:gd name="connsiteX11" fmla="*/ 108236 w 154729"/>
                <a:gd name="connsiteY11" fmla="*/ 131120 h 223827"/>
                <a:gd name="connsiteX12" fmla="*/ 136252 w 154729"/>
                <a:gd name="connsiteY12" fmla="*/ 131120 h 223827"/>
                <a:gd name="connsiteX13" fmla="*/ 154730 w 154729"/>
                <a:gd name="connsiteY13" fmla="*/ 112610 h 223827"/>
                <a:gd name="connsiteX14" fmla="*/ 154730 w 154729"/>
                <a:gd name="connsiteY14" fmla="*/ 33330 h 223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4729" h="223827">
                  <a:moveTo>
                    <a:pt x="121424" y="0"/>
                  </a:moveTo>
                  <a:lnTo>
                    <a:pt x="73996" y="0"/>
                  </a:lnTo>
                  <a:lnTo>
                    <a:pt x="73996" y="28708"/>
                  </a:lnTo>
                  <a:lnTo>
                    <a:pt x="28182" y="28708"/>
                  </a:lnTo>
                  <a:lnTo>
                    <a:pt x="28182" y="56741"/>
                  </a:lnTo>
                  <a:lnTo>
                    <a:pt x="0" y="84947"/>
                  </a:lnTo>
                  <a:lnTo>
                    <a:pt x="0" y="116646"/>
                  </a:lnTo>
                  <a:lnTo>
                    <a:pt x="76578" y="193265"/>
                  </a:lnTo>
                  <a:lnTo>
                    <a:pt x="76578" y="223828"/>
                  </a:lnTo>
                  <a:lnTo>
                    <a:pt x="112157" y="188257"/>
                  </a:lnTo>
                  <a:lnTo>
                    <a:pt x="81628" y="157728"/>
                  </a:lnTo>
                  <a:lnTo>
                    <a:pt x="108236" y="131120"/>
                  </a:lnTo>
                  <a:lnTo>
                    <a:pt x="136252" y="131120"/>
                  </a:lnTo>
                  <a:lnTo>
                    <a:pt x="154730" y="112610"/>
                  </a:lnTo>
                  <a:lnTo>
                    <a:pt x="154730" y="3333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1" name="Freeform: Shape 760">
              <a:extLst>
                <a:ext uri="{FF2B5EF4-FFF2-40B4-BE49-F238E27FC236}">
                  <a16:creationId xmlns:a16="http://schemas.microsoft.com/office/drawing/2014/main" id="{303B96C5-023D-4EE6-EED2-21BF4C9F5A68}"/>
                </a:ext>
              </a:extLst>
            </p:cNvPr>
            <p:cNvSpPr/>
            <p:nvPr/>
          </p:nvSpPr>
          <p:spPr>
            <a:xfrm>
              <a:off x="6087824" y="4631229"/>
              <a:ext cx="45813" cy="28708"/>
            </a:xfrm>
            <a:custGeom>
              <a:avLst/>
              <a:gdLst>
                <a:gd name="connsiteX0" fmla="*/ 0 w 45813"/>
                <a:gd name="connsiteY0" fmla="*/ 0 h 28708"/>
                <a:gd name="connsiteX1" fmla="*/ 45814 w 45813"/>
                <a:gd name="connsiteY1" fmla="*/ 0 h 28708"/>
                <a:gd name="connsiteX2" fmla="*/ 45814 w 45813"/>
                <a:gd name="connsiteY2" fmla="*/ 28708 h 28708"/>
                <a:gd name="connsiteX3" fmla="*/ 0 w 45813"/>
                <a:gd name="connsiteY3" fmla="*/ 28708 h 28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813" h="28708">
                  <a:moveTo>
                    <a:pt x="0" y="0"/>
                  </a:moveTo>
                  <a:lnTo>
                    <a:pt x="45814" y="0"/>
                  </a:lnTo>
                  <a:lnTo>
                    <a:pt x="45814" y="28708"/>
                  </a:lnTo>
                  <a:lnTo>
                    <a:pt x="0" y="28708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2" name="Freeform: Shape 761">
              <a:extLst>
                <a:ext uri="{FF2B5EF4-FFF2-40B4-BE49-F238E27FC236}">
                  <a16:creationId xmlns:a16="http://schemas.microsoft.com/office/drawing/2014/main" id="{AAEFD2E6-2CB0-050A-09CE-B8B856612537}"/>
                </a:ext>
              </a:extLst>
            </p:cNvPr>
            <p:cNvSpPr/>
            <p:nvPr/>
          </p:nvSpPr>
          <p:spPr>
            <a:xfrm>
              <a:off x="6687764" y="5003013"/>
              <a:ext cx="346560" cy="544859"/>
            </a:xfrm>
            <a:custGeom>
              <a:avLst/>
              <a:gdLst>
                <a:gd name="connsiteX0" fmla="*/ 325192 w 346560"/>
                <a:gd name="connsiteY0" fmla="*/ 0 h 544859"/>
                <a:gd name="connsiteX1" fmla="*/ 302588 w 346560"/>
                <a:gd name="connsiteY1" fmla="*/ 22620 h 544859"/>
                <a:gd name="connsiteX2" fmla="*/ 252174 w 346560"/>
                <a:gd name="connsiteY2" fmla="*/ 22620 h 544859"/>
                <a:gd name="connsiteX3" fmla="*/ 231595 w 346560"/>
                <a:gd name="connsiteY3" fmla="*/ 43182 h 544859"/>
                <a:gd name="connsiteX4" fmla="*/ 163057 w 346560"/>
                <a:gd name="connsiteY4" fmla="*/ 43182 h 544859"/>
                <a:gd name="connsiteX5" fmla="*/ 147036 w 346560"/>
                <a:gd name="connsiteY5" fmla="*/ 59196 h 544859"/>
                <a:gd name="connsiteX6" fmla="*/ 147036 w 346560"/>
                <a:gd name="connsiteY6" fmla="*/ 110847 h 544859"/>
                <a:gd name="connsiteX7" fmla="*/ 176024 w 346560"/>
                <a:gd name="connsiteY7" fmla="*/ 139844 h 544859"/>
                <a:gd name="connsiteX8" fmla="*/ 176024 w 346560"/>
                <a:gd name="connsiteY8" fmla="*/ 192153 h 544859"/>
                <a:gd name="connsiteX9" fmla="*/ 152744 w 346560"/>
                <a:gd name="connsiteY9" fmla="*/ 215433 h 544859"/>
                <a:gd name="connsiteX10" fmla="*/ 124192 w 346560"/>
                <a:gd name="connsiteY10" fmla="*/ 186881 h 544859"/>
                <a:gd name="connsiteX11" fmla="*/ 124192 w 346560"/>
                <a:gd name="connsiteY11" fmla="*/ 152085 h 544859"/>
                <a:gd name="connsiteX12" fmla="*/ 106588 w 346560"/>
                <a:gd name="connsiteY12" fmla="*/ 134481 h 544859"/>
                <a:gd name="connsiteX13" fmla="*/ 32358 w 346560"/>
                <a:gd name="connsiteY13" fmla="*/ 134481 h 544859"/>
                <a:gd name="connsiteX14" fmla="*/ 0 w 346560"/>
                <a:gd name="connsiteY14" fmla="*/ 166847 h 544859"/>
                <a:gd name="connsiteX15" fmla="*/ 0 w 346560"/>
                <a:gd name="connsiteY15" fmla="*/ 183067 h 544859"/>
                <a:gd name="connsiteX16" fmla="*/ 40217 w 346560"/>
                <a:gd name="connsiteY16" fmla="*/ 183067 h 544859"/>
                <a:gd name="connsiteX17" fmla="*/ 80104 w 346560"/>
                <a:gd name="connsiteY17" fmla="*/ 222937 h 544859"/>
                <a:gd name="connsiteX18" fmla="*/ 80104 w 346560"/>
                <a:gd name="connsiteY18" fmla="*/ 328553 h 544859"/>
                <a:gd name="connsiteX19" fmla="*/ 65952 w 346560"/>
                <a:gd name="connsiteY19" fmla="*/ 342713 h 544859"/>
                <a:gd name="connsiteX20" fmla="*/ 65952 w 346560"/>
                <a:gd name="connsiteY20" fmla="*/ 374462 h 544859"/>
                <a:gd name="connsiteX21" fmla="*/ 45852 w 346560"/>
                <a:gd name="connsiteY21" fmla="*/ 394553 h 544859"/>
                <a:gd name="connsiteX22" fmla="*/ 75903 w 346560"/>
                <a:gd name="connsiteY22" fmla="*/ 424630 h 544859"/>
                <a:gd name="connsiteX23" fmla="*/ 75903 w 346560"/>
                <a:gd name="connsiteY23" fmla="*/ 464261 h 544859"/>
                <a:gd name="connsiteX24" fmla="*/ 51947 w 346560"/>
                <a:gd name="connsiteY24" fmla="*/ 488241 h 544859"/>
                <a:gd name="connsiteX25" fmla="*/ 51947 w 346560"/>
                <a:gd name="connsiteY25" fmla="*/ 544859 h 544859"/>
                <a:gd name="connsiteX26" fmla="*/ 92312 w 346560"/>
                <a:gd name="connsiteY26" fmla="*/ 544859 h 544859"/>
                <a:gd name="connsiteX27" fmla="*/ 92312 w 346560"/>
                <a:gd name="connsiteY27" fmla="*/ 523226 h 544859"/>
                <a:gd name="connsiteX28" fmla="*/ 77995 w 346560"/>
                <a:gd name="connsiteY28" fmla="*/ 523226 h 544859"/>
                <a:gd name="connsiteX29" fmla="*/ 140503 w 346560"/>
                <a:gd name="connsiteY29" fmla="*/ 460702 h 544859"/>
                <a:gd name="connsiteX30" fmla="*/ 171345 w 346560"/>
                <a:gd name="connsiteY30" fmla="*/ 460702 h 544859"/>
                <a:gd name="connsiteX31" fmla="*/ 171345 w 346560"/>
                <a:gd name="connsiteY31" fmla="*/ 327754 h 544859"/>
                <a:gd name="connsiteX32" fmla="*/ 156385 w 346560"/>
                <a:gd name="connsiteY32" fmla="*/ 312778 h 544859"/>
                <a:gd name="connsiteX33" fmla="*/ 186074 w 346560"/>
                <a:gd name="connsiteY33" fmla="*/ 283081 h 544859"/>
                <a:gd name="connsiteX34" fmla="*/ 250575 w 346560"/>
                <a:gd name="connsiteY34" fmla="*/ 218555 h 544859"/>
                <a:gd name="connsiteX35" fmla="*/ 292835 w 346560"/>
                <a:gd name="connsiteY35" fmla="*/ 218555 h 544859"/>
                <a:gd name="connsiteX36" fmla="*/ 346561 w 346560"/>
                <a:gd name="connsiteY36" fmla="*/ 164853 h 544859"/>
                <a:gd name="connsiteX37" fmla="*/ 346561 w 346560"/>
                <a:gd name="connsiteY37" fmla="*/ 21327 h 544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46560" h="544859">
                  <a:moveTo>
                    <a:pt x="325192" y="0"/>
                  </a:moveTo>
                  <a:lnTo>
                    <a:pt x="302588" y="22620"/>
                  </a:lnTo>
                  <a:lnTo>
                    <a:pt x="252174" y="22620"/>
                  </a:lnTo>
                  <a:lnTo>
                    <a:pt x="231595" y="43182"/>
                  </a:lnTo>
                  <a:lnTo>
                    <a:pt x="163057" y="43182"/>
                  </a:lnTo>
                  <a:lnTo>
                    <a:pt x="147036" y="59196"/>
                  </a:lnTo>
                  <a:lnTo>
                    <a:pt x="147036" y="110847"/>
                  </a:lnTo>
                  <a:lnTo>
                    <a:pt x="176024" y="139844"/>
                  </a:lnTo>
                  <a:lnTo>
                    <a:pt x="176024" y="192153"/>
                  </a:lnTo>
                  <a:lnTo>
                    <a:pt x="152744" y="215433"/>
                  </a:lnTo>
                  <a:lnTo>
                    <a:pt x="124192" y="186881"/>
                  </a:lnTo>
                  <a:lnTo>
                    <a:pt x="124192" y="152085"/>
                  </a:lnTo>
                  <a:lnTo>
                    <a:pt x="106588" y="134481"/>
                  </a:lnTo>
                  <a:lnTo>
                    <a:pt x="32358" y="134481"/>
                  </a:lnTo>
                  <a:lnTo>
                    <a:pt x="0" y="166847"/>
                  </a:lnTo>
                  <a:lnTo>
                    <a:pt x="0" y="183067"/>
                  </a:lnTo>
                  <a:lnTo>
                    <a:pt x="40217" y="183067"/>
                  </a:lnTo>
                  <a:lnTo>
                    <a:pt x="80104" y="222937"/>
                  </a:lnTo>
                  <a:lnTo>
                    <a:pt x="80104" y="328553"/>
                  </a:lnTo>
                  <a:lnTo>
                    <a:pt x="65952" y="342713"/>
                  </a:lnTo>
                  <a:lnTo>
                    <a:pt x="65952" y="374462"/>
                  </a:lnTo>
                  <a:lnTo>
                    <a:pt x="45852" y="394553"/>
                  </a:lnTo>
                  <a:lnTo>
                    <a:pt x="75903" y="424630"/>
                  </a:lnTo>
                  <a:lnTo>
                    <a:pt x="75903" y="464261"/>
                  </a:lnTo>
                  <a:lnTo>
                    <a:pt x="51947" y="488241"/>
                  </a:lnTo>
                  <a:lnTo>
                    <a:pt x="51947" y="544859"/>
                  </a:lnTo>
                  <a:lnTo>
                    <a:pt x="92312" y="544859"/>
                  </a:lnTo>
                  <a:lnTo>
                    <a:pt x="92312" y="523226"/>
                  </a:lnTo>
                  <a:lnTo>
                    <a:pt x="77995" y="523226"/>
                  </a:lnTo>
                  <a:lnTo>
                    <a:pt x="140503" y="460702"/>
                  </a:lnTo>
                  <a:lnTo>
                    <a:pt x="171345" y="460702"/>
                  </a:lnTo>
                  <a:lnTo>
                    <a:pt x="171345" y="327754"/>
                  </a:lnTo>
                  <a:lnTo>
                    <a:pt x="156385" y="312778"/>
                  </a:lnTo>
                  <a:lnTo>
                    <a:pt x="186074" y="283081"/>
                  </a:lnTo>
                  <a:lnTo>
                    <a:pt x="250575" y="218555"/>
                  </a:lnTo>
                  <a:lnTo>
                    <a:pt x="292835" y="218555"/>
                  </a:lnTo>
                  <a:lnTo>
                    <a:pt x="346561" y="164853"/>
                  </a:lnTo>
                  <a:lnTo>
                    <a:pt x="346561" y="21327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3" name="Freeform: Shape 762">
              <a:extLst>
                <a:ext uri="{FF2B5EF4-FFF2-40B4-BE49-F238E27FC236}">
                  <a16:creationId xmlns:a16="http://schemas.microsoft.com/office/drawing/2014/main" id="{7BA7F031-F880-16C4-03E0-F372939A891D}"/>
                </a:ext>
              </a:extLst>
            </p:cNvPr>
            <p:cNvSpPr/>
            <p:nvPr/>
          </p:nvSpPr>
          <p:spPr>
            <a:xfrm>
              <a:off x="6794352" y="4973901"/>
              <a:ext cx="69435" cy="244545"/>
            </a:xfrm>
            <a:custGeom>
              <a:avLst/>
              <a:gdLst>
                <a:gd name="connsiteX0" fmla="*/ 40447 w 69435"/>
                <a:gd name="connsiteY0" fmla="*/ 139959 h 244545"/>
                <a:gd name="connsiteX1" fmla="*/ 40447 w 69435"/>
                <a:gd name="connsiteY1" fmla="*/ 88309 h 244545"/>
                <a:gd name="connsiteX2" fmla="*/ 40447 w 69435"/>
                <a:gd name="connsiteY2" fmla="*/ 18824 h 244545"/>
                <a:gd name="connsiteX3" fmla="*/ 21624 w 69435"/>
                <a:gd name="connsiteY3" fmla="*/ 0 h 244545"/>
                <a:gd name="connsiteX4" fmla="*/ 21624 w 69435"/>
                <a:gd name="connsiteY4" fmla="*/ 37647 h 244545"/>
                <a:gd name="connsiteX5" fmla="*/ 1689 w 69435"/>
                <a:gd name="connsiteY5" fmla="*/ 57574 h 244545"/>
                <a:gd name="connsiteX6" fmla="*/ 1689 w 69435"/>
                <a:gd name="connsiteY6" fmla="*/ 97164 h 244545"/>
                <a:gd name="connsiteX7" fmla="*/ 1689 w 69435"/>
                <a:gd name="connsiteY7" fmla="*/ 163593 h 244545"/>
                <a:gd name="connsiteX8" fmla="*/ 0 w 69435"/>
                <a:gd name="connsiteY8" fmla="*/ 163593 h 244545"/>
                <a:gd name="connsiteX9" fmla="*/ 17604 w 69435"/>
                <a:gd name="connsiteY9" fmla="*/ 181197 h 244545"/>
                <a:gd name="connsiteX10" fmla="*/ 17604 w 69435"/>
                <a:gd name="connsiteY10" fmla="*/ 215994 h 244545"/>
                <a:gd name="connsiteX11" fmla="*/ 46156 w 69435"/>
                <a:gd name="connsiteY11" fmla="*/ 244546 h 244545"/>
                <a:gd name="connsiteX12" fmla="*/ 69435 w 69435"/>
                <a:gd name="connsiteY12" fmla="*/ 221266 h 244545"/>
                <a:gd name="connsiteX13" fmla="*/ 69435 w 69435"/>
                <a:gd name="connsiteY13" fmla="*/ 168956 h 244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9435" h="244545">
                  <a:moveTo>
                    <a:pt x="40447" y="139959"/>
                  </a:moveTo>
                  <a:lnTo>
                    <a:pt x="40447" y="88309"/>
                  </a:lnTo>
                  <a:lnTo>
                    <a:pt x="40447" y="18824"/>
                  </a:lnTo>
                  <a:lnTo>
                    <a:pt x="21624" y="0"/>
                  </a:lnTo>
                  <a:lnTo>
                    <a:pt x="21624" y="37647"/>
                  </a:lnTo>
                  <a:lnTo>
                    <a:pt x="1689" y="57574"/>
                  </a:lnTo>
                  <a:lnTo>
                    <a:pt x="1689" y="97164"/>
                  </a:lnTo>
                  <a:lnTo>
                    <a:pt x="1689" y="163593"/>
                  </a:lnTo>
                  <a:lnTo>
                    <a:pt x="0" y="163593"/>
                  </a:lnTo>
                  <a:lnTo>
                    <a:pt x="17604" y="181197"/>
                  </a:lnTo>
                  <a:lnTo>
                    <a:pt x="17604" y="215994"/>
                  </a:lnTo>
                  <a:lnTo>
                    <a:pt x="46156" y="244546"/>
                  </a:lnTo>
                  <a:lnTo>
                    <a:pt x="69435" y="221266"/>
                  </a:lnTo>
                  <a:lnTo>
                    <a:pt x="69435" y="168956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4" name="Freeform: Shape 763">
              <a:extLst>
                <a:ext uri="{FF2B5EF4-FFF2-40B4-BE49-F238E27FC236}">
                  <a16:creationId xmlns:a16="http://schemas.microsoft.com/office/drawing/2014/main" id="{096863E6-DC6F-F26E-60E3-CCADDADF46B2}"/>
                </a:ext>
              </a:extLst>
            </p:cNvPr>
            <p:cNvSpPr/>
            <p:nvPr/>
          </p:nvSpPr>
          <p:spPr>
            <a:xfrm>
              <a:off x="6272423" y="5397567"/>
              <a:ext cx="507653" cy="439491"/>
            </a:xfrm>
            <a:custGeom>
              <a:avLst/>
              <a:gdLst>
                <a:gd name="connsiteX0" fmla="*/ 467288 w 507653"/>
                <a:gd name="connsiteY0" fmla="*/ 150306 h 439491"/>
                <a:gd name="connsiteX1" fmla="*/ 467288 w 507653"/>
                <a:gd name="connsiteY1" fmla="*/ 93688 h 439491"/>
                <a:gd name="connsiteX2" fmla="*/ 491244 w 507653"/>
                <a:gd name="connsiteY2" fmla="*/ 69708 h 439491"/>
                <a:gd name="connsiteX3" fmla="*/ 491244 w 507653"/>
                <a:gd name="connsiteY3" fmla="*/ 30076 h 439491"/>
                <a:gd name="connsiteX4" fmla="*/ 461192 w 507653"/>
                <a:gd name="connsiteY4" fmla="*/ 0 h 439491"/>
                <a:gd name="connsiteX5" fmla="*/ 393050 w 507653"/>
                <a:gd name="connsiteY5" fmla="*/ 0 h 439491"/>
                <a:gd name="connsiteX6" fmla="*/ 372439 w 507653"/>
                <a:gd name="connsiteY6" fmla="*/ 20652 h 439491"/>
                <a:gd name="connsiteX7" fmla="*/ 344316 w 507653"/>
                <a:gd name="connsiteY7" fmla="*/ 48760 h 439491"/>
                <a:gd name="connsiteX8" fmla="*/ 318153 w 507653"/>
                <a:gd name="connsiteY8" fmla="*/ 48760 h 439491"/>
                <a:gd name="connsiteX9" fmla="*/ 267902 w 507653"/>
                <a:gd name="connsiteY9" fmla="*/ 98985 h 439491"/>
                <a:gd name="connsiteX10" fmla="*/ 231640 w 507653"/>
                <a:gd name="connsiteY10" fmla="*/ 98985 h 439491"/>
                <a:gd name="connsiteX11" fmla="*/ 180319 w 507653"/>
                <a:gd name="connsiteY11" fmla="*/ 150306 h 439491"/>
                <a:gd name="connsiteX12" fmla="*/ 148357 w 507653"/>
                <a:gd name="connsiteY12" fmla="*/ 150306 h 439491"/>
                <a:gd name="connsiteX13" fmla="*/ 148357 w 507653"/>
                <a:gd name="connsiteY13" fmla="*/ 109076 h 439491"/>
                <a:gd name="connsiteX14" fmla="*/ 123940 w 507653"/>
                <a:gd name="connsiteY14" fmla="*/ 84643 h 439491"/>
                <a:gd name="connsiteX15" fmla="*/ 123940 w 507653"/>
                <a:gd name="connsiteY15" fmla="*/ 212542 h 439491"/>
                <a:gd name="connsiteX16" fmla="*/ 103527 w 507653"/>
                <a:gd name="connsiteY16" fmla="*/ 212542 h 439491"/>
                <a:gd name="connsiteX17" fmla="*/ 91845 w 507653"/>
                <a:gd name="connsiteY17" fmla="*/ 224223 h 439491"/>
                <a:gd name="connsiteX18" fmla="*/ 50641 w 507653"/>
                <a:gd name="connsiteY18" fmla="*/ 224223 h 439491"/>
                <a:gd name="connsiteX19" fmla="*/ 0 w 507653"/>
                <a:gd name="connsiteY19" fmla="*/ 224223 h 439491"/>
                <a:gd name="connsiteX20" fmla="*/ 84431 w 507653"/>
                <a:gd name="connsiteY20" fmla="*/ 308651 h 439491"/>
                <a:gd name="connsiteX21" fmla="*/ 53096 w 507653"/>
                <a:gd name="connsiteY21" fmla="*/ 339996 h 439491"/>
                <a:gd name="connsiteX22" fmla="*/ 53096 w 507653"/>
                <a:gd name="connsiteY22" fmla="*/ 376934 h 439491"/>
                <a:gd name="connsiteX23" fmla="*/ 115636 w 507653"/>
                <a:gd name="connsiteY23" fmla="*/ 439491 h 439491"/>
                <a:gd name="connsiteX24" fmla="*/ 130579 w 507653"/>
                <a:gd name="connsiteY24" fmla="*/ 424514 h 439491"/>
                <a:gd name="connsiteX25" fmla="*/ 262647 w 507653"/>
                <a:gd name="connsiteY25" fmla="*/ 424514 h 439491"/>
                <a:gd name="connsiteX26" fmla="*/ 281148 w 507653"/>
                <a:gd name="connsiteY26" fmla="*/ 406038 h 439491"/>
                <a:gd name="connsiteX27" fmla="*/ 329537 w 507653"/>
                <a:gd name="connsiteY27" fmla="*/ 406038 h 439491"/>
                <a:gd name="connsiteX28" fmla="*/ 432130 w 507653"/>
                <a:gd name="connsiteY28" fmla="*/ 303437 h 439491"/>
                <a:gd name="connsiteX29" fmla="*/ 432130 w 507653"/>
                <a:gd name="connsiteY29" fmla="*/ 280108 h 439491"/>
                <a:gd name="connsiteX30" fmla="*/ 507653 w 507653"/>
                <a:gd name="connsiteY30" fmla="*/ 204642 h 439491"/>
                <a:gd name="connsiteX31" fmla="*/ 507653 w 507653"/>
                <a:gd name="connsiteY31" fmla="*/ 150306 h 439491"/>
                <a:gd name="connsiteX32" fmla="*/ 467288 w 507653"/>
                <a:gd name="connsiteY32" fmla="*/ 150306 h 439491"/>
                <a:gd name="connsiteX33" fmla="*/ 426033 w 507653"/>
                <a:gd name="connsiteY33" fmla="*/ 208052 h 439491"/>
                <a:gd name="connsiteX34" fmla="*/ 409855 w 507653"/>
                <a:gd name="connsiteY34" fmla="*/ 224223 h 439491"/>
                <a:gd name="connsiteX35" fmla="*/ 409855 w 507653"/>
                <a:gd name="connsiteY35" fmla="*/ 235682 h 439491"/>
                <a:gd name="connsiteX36" fmla="*/ 379210 w 507653"/>
                <a:gd name="connsiteY36" fmla="*/ 266359 h 439491"/>
                <a:gd name="connsiteX37" fmla="*/ 352520 w 507653"/>
                <a:gd name="connsiteY37" fmla="*/ 266359 h 439491"/>
                <a:gd name="connsiteX38" fmla="*/ 327313 w 507653"/>
                <a:gd name="connsiteY38" fmla="*/ 241160 h 439491"/>
                <a:gd name="connsiteX39" fmla="*/ 343013 w 507653"/>
                <a:gd name="connsiteY39" fmla="*/ 218803 h 439491"/>
                <a:gd name="connsiteX40" fmla="*/ 375421 w 507653"/>
                <a:gd name="connsiteY40" fmla="*/ 218803 h 439491"/>
                <a:gd name="connsiteX41" fmla="*/ 391040 w 507653"/>
                <a:gd name="connsiteY41" fmla="*/ 203192 h 439491"/>
                <a:gd name="connsiteX42" fmla="*/ 391040 w 507653"/>
                <a:gd name="connsiteY42" fmla="*/ 179640 h 439491"/>
                <a:gd name="connsiteX43" fmla="*/ 426033 w 507653"/>
                <a:gd name="connsiteY43" fmla="*/ 179640 h 439491"/>
                <a:gd name="connsiteX44" fmla="*/ 426033 w 507653"/>
                <a:gd name="connsiteY44" fmla="*/ 208052 h 439491"/>
                <a:gd name="connsiteX45" fmla="*/ 467206 w 507653"/>
                <a:gd name="connsiteY45" fmla="*/ 166625 h 439491"/>
                <a:gd name="connsiteX46" fmla="*/ 455171 w 507653"/>
                <a:gd name="connsiteY46" fmla="*/ 166625 h 439491"/>
                <a:gd name="connsiteX47" fmla="*/ 436100 w 507653"/>
                <a:gd name="connsiteY47" fmla="*/ 147555 h 439491"/>
                <a:gd name="connsiteX48" fmla="*/ 453836 w 507653"/>
                <a:gd name="connsiteY48" fmla="*/ 129819 h 439491"/>
                <a:gd name="connsiteX49" fmla="*/ 467215 w 507653"/>
                <a:gd name="connsiteY49" fmla="*/ 129819 h 439491"/>
                <a:gd name="connsiteX50" fmla="*/ 467206 w 507653"/>
                <a:gd name="connsiteY50" fmla="*/ 166625 h 439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507653" h="439491">
                  <a:moveTo>
                    <a:pt x="467288" y="150306"/>
                  </a:moveTo>
                  <a:lnTo>
                    <a:pt x="467288" y="93688"/>
                  </a:lnTo>
                  <a:lnTo>
                    <a:pt x="491244" y="69708"/>
                  </a:lnTo>
                  <a:lnTo>
                    <a:pt x="491244" y="30076"/>
                  </a:lnTo>
                  <a:lnTo>
                    <a:pt x="461192" y="0"/>
                  </a:lnTo>
                  <a:lnTo>
                    <a:pt x="393050" y="0"/>
                  </a:lnTo>
                  <a:lnTo>
                    <a:pt x="372439" y="20652"/>
                  </a:lnTo>
                  <a:lnTo>
                    <a:pt x="344316" y="48760"/>
                  </a:lnTo>
                  <a:lnTo>
                    <a:pt x="318153" y="48760"/>
                  </a:lnTo>
                  <a:lnTo>
                    <a:pt x="267902" y="98985"/>
                  </a:lnTo>
                  <a:lnTo>
                    <a:pt x="231640" y="98985"/>
                  </a:lnTo>
                  <a:lnTo>
                    <a:pt x="180319" y="150306"/>
                  </a:lnTo>
                  <a:lnTo>
                    <a:pt x="148357" y="150306"/>
                  </a:lnTo>
                  <a:lnTo>
                    <a:pt x="148357" y="109076"/>
                  </a:lnTo>
                  <a:lnTo>
                    <a:pt x="123940" y="84643"/>
                  </a:lnTo>
                  <a:lnTo>
                    <a:pt x="123940" y="212542"/>
                  </a:lnTo>
                  <a:lnTo>
                    <a:pt x="103527" y="212542"/>
                  </a:lnTo>
                  <a:lnTo>
                    <a:pt x="91845" y="224223"/>
                  </a:lnTo>
                  <a:lnTo>
                    <a:pt x="50641" y="224223"/>
                  </a:lnTo>
                  <a:lnTo>
                    <a:pt x="0" y="224223"/>
                  </a:lnTo>
                  <a:lnTo>
                    <a:pt x="84431" y="308651"/>
                  </a:lnTo>
                  <a:lnTo>
                    <a:pt x="53096" y="339996"/>
                  </a:lnTo>
                  <a:lnTo>
                    <a:pt x="53096" y="376934"/>
                  </a:lnTo>
                  <a:lnTo>
                    <a:pt x="115636" y="439491"/>
                  </a:lnTo>
                  <a:lnTo>
                    <a:pt x="130579" y="424514"/>
                  </a:lnTo>
                  <a:lnTo>
                    <a:pt x="262647" y="424514"/>
                  </a:lnTo>
                  <a:lnTo>
                    <a:pt x="281148" y="406038"/>
                  </a:lnTo>
                  <a:lnTo>
                    <a:pt x="329537" y="406038"/>
                  </a:lnTo>
                  <a:lnTo>
                    <a:pt x="432130" y="303437"/>
                  </a:lnTo>
                  <a:lnTo>
                    <a:pt x="432130" y="280108"/>
                  </a:lnTo>
                  <a:lnTo>
                    <a:pt x="507653" y="204642"/>
                  </a:lnTo>
                  <a:lnTo>
                    <a:pt x="507653" y="150306"/>
                  </a:lnTo>
                  <a:lnTo>
                    <a:pt x="467288" y="150306"/>
                  </a:lnTo>
                  <a:close/>
                  <a:moveTo>
                    <a:pt x="426033" y="208052"/>
                  </a:moveTo>
                  <a:lnTo>
                    <a:pt x="409855" y="224223"/>
                  </a:lnTo>
                  <a:lnTo>
                    <a:pt x="409855" y="235682"/>
                  </a:lnTo>
                  <a:lnTo>
                    <a:pt x="379210" y="266359"/>
                  </a:lnTo>
                  <a:lnTo>
                    <a:pt x="352520" y="266359"/>
                  </a:lnTo>
                  <a:lnTo>
                    <a:pt x="327313" y="241160"/>
                  </a:lnTo>
                  <a:lnTo>
                    <a:pt x="343013" y="218803"/>
                  </a:lnTo>
                  <a:lnTo>
                    <a:pt x="375421" y="218803"/>
                  </a:lnTo>
                  <a:lnTo>
                    <a:pt x="391040" y="203192"/>
                  </a:lnTo>
                  <a:lnTo>
                    <a:pt x="391040" y="179640"/>
                  </a:lnTo>
                  <a:lnTo>
                    <a:pt x="426033" y="179640"/>
                  </a:lnTo>
                  <a:lnTo>
                    <a:pt x="426033" y="208052"/>
                  </a:lnTo>
                  <a:close/>
                  <a:moveTo>
                    <a:pt x="467206" y="166625"/>
                  </a:moveTo>
                  <a:lnTo>
                    <a:pt x="455171" y="166625"/>
                  </a:lnTo>
                  <a:lnTo>
                    <a:pt x="436100" y="147555"/>
                  </a:lnTo>
                  <a:lnTo>
                    <a:pt x="453836" y="129819"/>
                  </a:lnTo>
                  <a:lnTo>
                    <a:pt x="467215" y="129819"/>
                  </a:lnTo>
                  <a:lnTo>
                    <a:pt x="467206" y="166625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5" name="Freeform: Shape 764">
              <a:extLst>
                <a:ext uri="{FF2B5EF4-FFF2-40B4-BE49-F238E27FC236}">
                  <a16:creationId xmlns:a16="http://schemas.microsoft.com/office/drawing/2014/main" id="{3146FA02-5F6C-34D6-6865-054833CB6020}"/>
                </a:ext>
              </a:extLst>
            </p:cNvPr>
            <p:cNvSpPr/>
            <p:nvPr/>
          </p:nvSpPr>
          <p:spPr>
            <a:xfrm>
              <a:off x="6708523" y="5527385"/>
              <a:ext cx="31114" cy="36806"/>
            </a:xfrm>
            <a:custGeom>
              <a:avLst/>
              <a:gdLst>
                <a:gd name="connsiteX0" fmla="*/ 0 w 31114"/>
                <a:gd name="connsiteY0" fmla="*/ 17736 h 36806"/>
                <a:gd name="connsiteX1" fmla="*/ 19070 w 31114"/>
                <a:gd name="connsiteY1" fmla="*/ 36806 h 36806"/>
                <a:gd name="connsiteX2" fmla="*/ 31106 w 31114"/>
                <a:gd name="connsiteY2" fmla="*/ 36806 h 36806"/>
                <a:gd name="connsiteX3" fmla="*/ 31114 w 31114"/>
                <a:gd name="connsiteY3" fmla="*/ 0 h 36806"/>
                <a:gd name="connsiteX4" fmla="*/ 17736 w 31114"/>
                <a:gd name="connsiteY4" fmla="*/ 0 h 36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14" h="36806">
                  <a:moveTo>
                    <a:pt x="0" y="17736"/>
                  </a:moveTo>
                  <a:lnTo>
                    <a:pt x="19070" y="36806"/>
                  </a:lnTo>
                  <a:lnTo>
                    <a:pt x="31106" y="36806"/>
                  </a:lnTo>
                  <a:lnTo>
                    <a:pt x="31114" y="0"/>
                  </a:lnTo>
                  <a:lnTo>
                    <a:pt x="17736" y="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6" name="Freeform: Shape 765">
              <a:extLst>
                <a:ext uri="{FF2B5EF4-FFF2-40B4-BE49-F238E27FC236}">
                  <a16:creationId xmlns:a16="http://schemas.microsoft.com/office/drawing/2014/main" id="{EA1B04E4-99CF-298C-E8D0-302785A258DA}"/>
                </a:ext>
              </a:extLst>
            </p:cNvPr>
            <p:cNvSpPr/>
            <p:nvPr/>
          </p:nvSpPr>
          <p:spPr>
            <a:xfrm rot="18900000">
              <a:off x="6818219" y="4564222"/>
              <a:ext cx="0" cy="5"/>
            </a:xfrm>
            <a:custGeom>
              <a:avLst/>
              <a:gdLst>
                <a:gd name="connsiteX0" fmla="*/ 0 w 0"/>
                <a:gd name="connsiteY0" fmla="*/ 0 h 5"/>
                <a:gd name="connsiteX1" fmla="*/ 1 w 0"/>
                <a:gd name="connsiteY1" fmla="*/ 0 h 5"/>
                <a:gd name="connsiteX2" fmla="*/ 1 w 0"/>
                <a:gd name="connsiteY2" fmla="*/ 6 h 5"/>
                <a:gd name="connsiteX3" fmla="*/ 0 w 0"/>
                <a:gd name="connsiteY3" fmla="*/ 6 h 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5">
                  <a:moveTo>
                    <a:pt x="0" y="0"/>
                  </a:moveTo>
                  <a:lnTo>
                    <a:pt x="1" y="0"/>
                  </a:lnTo>
                  <a:lnTo>
                    <a:pt x="1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7" name="Freeform: Shape 766">
              <a:extLst>
                <a:ext uri="{FF2B5EF4-FFF2-40B4-BE49-F238E27FC236}">
                  <a16:creationId xmlns:a16="http://schemas.microsoft.com/office/drawing/2014/main" id="{7B03D0D6-8B5C-429F-00CE-C1C4170837F5}"/>
                </a:ext>
              </a:extLst>
            </p:cNvPr>
            <p:cNvSpPr/>
            <p:nvPr/>
          </p:nvSpPr>
          <p:spPr>
            <a:xfrm>
              <a:off x="6682789" y="4564227"/>
              <a:ext cx="166786" cy="165804"/>
            </a:xfrm>
            <a:custGeom>
              <a:avLst/>
              <a:gdLst>
                <a:gd name="connsiteX0" fmla="*/ 148133 w 166786"/>
                <a:gd name="connsiteY0" fmla="*/ 29617 h 165804"/>
                <a:gd name="connsiteX1" fmla="*/ 148133 w 166786"/>
                <a:gd name="connsiteY1" fmla="*/ 12701 h 165804"/>
                <a:gd name="connsiteX2" fmla="*/ 135432 w 166786"/>
                <a:gd name="connsiteY2" fmla="*/ 0 h 165804"/>
                <a:gd name="connsiteX3" fmla="*/ 120649 w 166786"/>
                <a:gd name="connsiteY3" fmla="*/ 14783 h 165804"/>
                <a:gd name="connsiteX4" fmla="*/ 37849 w 166786"/>
                <a:gd name="connsiteY4" fmla="*/ 14783 h 165804"/>
                <a:gd name="connsiteX5" fmla="*/ 37828 w 166786"/>
                <a:gd name="connsiteY5" fmla="*/ 14890 h 165804"/>
                <a:gd name="connsiteX6" fmla="*/ 37828 w 166786"/>
                <a:gd name="connsiteY6" fmla="*/ 46918 h 165804"/>
                <a:gd name="connsiteX7" fmla="*/ 51535 w 166786"/>
                <a:gd name="connsiteY7" fmla="*/ 60625 h 165804"/>
                <a:gd name="connsiteX8" fmla="*/ 0 w 166786"/>
                <a:gd name="connsiteY8" fmla="*/ 112161 h 165804"/>
                <a:gd name="connsiteX9" fmla="*/ 0 w 166786"/>
                <a:gd name="connsiteY9" fmla="*/ 165805 h 165804"/>
                <a:gd name="connsiteX10" fmla="*/ 16475 w 166786"/>
                <a:gd name="connsiteY10" fmla="*/ 165805 h 165804"/>
                <a:gd name="connsiteX11" fmla="*/ 26888 w 166786"/>
                <a:gd name="connsiteY11" fmla="*/ 155392 h 165804"/>
                <a:gd name="connsiteX12" fmla="*/ 42946 w 166786"/>
                <a:gd name="connsiteY12" fmla="*/ 155392 h 165804"/>
                <a:gd name="connsiteX13" fmla="*/ 134665 w 166786"/>
                <a:gd name="connsiteY13" fmla="*/ 155392 h 165804"/>
                <a:gd name="connsiteX14" fmla="*/ 134665 w 166786"/>
                <a:gd name="connsiteY14" fmla="*/ 116603 h 165804"/>
                <a:gd name="connsiteX15" fmla="*/ 166787 w 166786"/>
                <a:gd name="connsiteY15" fmla="*/ 84482 h 165804"/>
                <a:gd name="connsiteX16" fmla="*/ 166787 w 166786"/>
                <a:gd name="connsiteY16" fmla="*/ 84429 h 165804"/>
                <a:gd name="connsiteX17" fmla="*/ 166787 w 166786"/>
                <a:gd name="connsiteY17" fmla="*/ 48269 h 165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6786" h="165804">
                  <a:moveTo>
                    <a:pt x="148133" y="29617"/>
                  </a:moveTo>
                  <a:lnTo>
                    <a:pt x="148133" y="12701"/>
                  </a:lnTo>
                  <a:lnTo>
                    <a:pt x="135432" y="0"/>
                  </a:lnTo>
                  <a:lnTo>
                    <a:pt x="120649" y="14783"/>
                  </a:lnTo>
                  <a:lnTo>
                    <a:pt x="37849" y="14783"/>
                  </a:lnTo>
                  <a:lnTo>
                    <a:pt x="37828" y="14890"/>
                  </a:lnTo>
                  <a:lnTo>
                    <a:pt x="37828" y="46918"/>
                  </a:lnTo>
                  <a:lnTo>
                    <a:pt x="51535" y="60625"/>
                  </a:lnTo>
                  <a:lnTo>
                    <a:pt x="0" y="112161"/>
                  </a:lnTo>
                  <a:lnTo>
                    <a:pt x="0" y="165805"/>
                  </a:lnTo>
                  <a:lnTo>
                    <a:pt x="16475" y="165805"/>
                  </a:lnTo>
                  <a:lnTo>
                    <a:pt x="26888" y="155392"/>
                  </a:lnTo>
                  <a:lnTo>
                    <a:pt x="42946" y="155392"/>
                  </a:lnTo>
                  <a:lnTo>
                    <a:pt x="134665" y="155392"/>
                  </a:lnTo>
                  <a:lnTo>
                    <a:pt x="134665" y="116603"/>
                  </a:lnTo>
                  <a:lnTo>
                    <a:pt x="166787" y="84482"/>
                  </a:lnTo>
                  <a:lnTo>
                    <a:pt x="166787" y="84429"/>
                  </a:lnTo>
                  <a:lnTo>
                    <a:pt x="166787" y="48269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5744113C-1355-6D25-810D-EE1121145A2D}"/>
                </a:ext>
              </a:extLst>
            </p:cNvPr>
            <p:cNvSpPr/>
            <p:nvPr/>
          </p:nvSpPr>
          <p:spPr>
            <a:xfrm>
              <a:off x="6803438" y="4564223"/>
              <a:ext cx="14783" cy="14786"/>
            </a:xfrm>
            <a:custGeom>
              <a:avLst/>
              <a:gdLst>
                <a:gd name="connsiteX0" fmla="*/ 0 w 14783"/>
                <a:gd name="connsiteY0" fmla="*/ 14787 h 14786"/>
                <a:gd name="connsiteX1" fmla="*/ 14783 w 14783"/>
                <a:gd name="connsiteY1" fmla="*/ 4 h 14786"/>
                <a:gd name="connsiteX2" fmla="*/ 14779 w 14783"/>
                <a:gd name="connsiteY2" fmla="*/ 0 h 14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83" h="14786">
                  <a:moveTo>
                    <a:pt x="0" y="14787"/>
                  </a:moveTo>
                  <a:lnTo>
                    <a:pt x="14783" y="4"/>
                  </a:lnTo>
                  <a:lnTo>
                    <a:pt x="14779" y="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2A5F62C3-65B9-8B93-CC6E-48B826ED039B}"/>
                </a:ext>
              </a:extLst>
            </p:cNvPr>
            <p:cNvSpPr/>
            <p:nvPr/>
          </p:nvSpPr>
          <p:spPr>
            <a:xfrm>
              <a:off x="6817441" y="4552897"/>
              <a:ext cx="243788" cy="296606"/>
            </a:xfrm>
            <a:custGeom>
              <a:avLst/>
              <a:gdLst>
                <a:gd name="connsiteX0" fmla="*/ 211397 w 243788"/>
                <a:gd name="connsiteY0" fmla="*/ 63529 h 296606"/>
                <a:gd name="connsiteX1" fmla="*/ 243789 w 243788"/>
                <a:gd name="connsiteY1" fmla="*/ 31146 h 296606"/>
                <a:gd name="connsiteX2" fmla="*/ 215418 w 243788"/>
                <a:gd name="connsiteY2" fmla="*/ 2792 h 296606"/>
                <a:gd name="connsiteX3" fmla="*/ 188925 w 243788"/>
                <a:gd name="connsiteY3" fmla="*/ 29309 h 296606"/>
                <a:gd name="connsiteX4" fmla="*/ 130932 w 243788"/>
                <a:gd name="connsiteY4" fmla="*/ 29309 h 296606"/>
                <a:gd name="connsiteX5" fmla="*/ 101622 w 243788"/>
                <a:gd name="connsiteY5" fmla="*/ 0 h 296606"/>
                <a:gd name="connsiteX6" fmla="*/ 75590 w 243788"/>
                <a:gd name="connsiteY6" fmla="*/ 0 h 296606"/>
                <a:gd name="connsiteX7" fmla="*/ 12110 w 243788"/>
                <a:gd name="connsiteY7" fmla="*/ 0 h 296606"/>
                <a:gd name="connsiteX8" fmla="*/ 776 w 243788"/>
                <a:gd name="connsiteY8" fmla="*/ 11326 h 296606"/>
                <a:gd name="connsiteX9" fmla="*/ 780 w 243788"/>
                <a:gd name="connsiteY9" fmla="*/ 11330 h 296606"/>
                <a:gd name="connsiteX10" fmla="*/ 780 w 243788"/>
                <a:gd name="connsiteY10" fmla="*/ 11330 h 296606"/>
                <a:gd name="connsiteX11" fmla="*/ 13481 w 243788"/>
                <a:gd name="connsiteY11" fmla="*/ 24031 h 296606"/>
                <a:gd name="connsiteX12" fmla="*/ 13481 w 243788"/>
                <a:gd name="connsiteY12" fmla="*/ 40947 h 296606"/>
                <a:gd name="connsiteX13" fmla="*/ 32134 w 243788"/>
                <a:gd name="connsiteY13" fmla="*/ 59600 h 296606"/>
                <a:gd name="connsiteX14" fmla="*/ 32134 w 243788"/>
                <a:gd name="connsiteY14" fmla="*/ 95759 h 296606"/>
                <a:gd name="connsiteX15" fmla="*/ 32134 w 243788"/>
                <a:gd name="connsiteY15" fmla="*/ 95812 h 296606"/>
                <a:gd name="connsiteX16" fmla="*/ 12 w 243788"/>
                <a:gd name="connsiteY16" fmla="*/ 127934 h 296606"/>
                <a:gd name="connsiteX17" fmla="*/ 12 w 243788"/>
                <a:gd name="connsiteY17" fmla="*/ 166723 h 296606"/>
                <a:gd name="connsiteX18" fmla="*/ 0 w 243788"/>
                <a:gd name="connsiteY18" fmla="*/ 166723 h 296606"/>
                <a:gd name="connsiteX19" fmla="*/ 38648 w 243788"/>
                <a:gd name="connsiteY19" fmla="*/ 205382 h 296606"/>
                <a:gd name="connsiteX20" fmla="*/ 69132 w 243788"/>
                <a:gd name="connsiteY20" fmla="*/ 205382 h 296606"/>
                <a:gd name="connsiteX21" fmla="*/ 109398 w 243788"/>
                <a:gd name="connsiteY21" fmla="*/ 245656 h 296606"/>
                <a:gd name="connsiteX22" fmla="*/ 160373 w 243788"/>
                <a:gd name="connsiteY22" fmla="*/ 296607 h 296606"/>
                <a:gd name="connsiteX23" fmla="*/ 190523 w 243788"/>
                <a:gd name="connsiteY23" fmla="*/ 266423 h 296606"/>
                <a:gd name="connsiteX24" fmla="*/ 190523 w 243788"/>
                <a:gd name="connsiteY24" fmla="*/ 226652 h 296606"/>
                <a:gd name="connsiteX25" fmla="*/ 238203 w 243788"/>
                <a:gd name="connsiteY25" fmla="*/ 179005 h 296606"/>
                <a:gd name="connsiteX26" fmla="*/ 211397 w 243788"/>
                <a:gd name="connsiteY26" fmla="*/ 152208 h 296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43788" h="296606">
                  <a:moveTo>
                    <a:pt x="211397" y="63529"/>
                  </a:moveTo>
                  <a:lnTo>
                    <a:pt x="243789" y="31146"/>
                  </a:lnTo>
                  <a:lnTo>
                    <a:pt x="215418" y="2792"/>
                  </a:lnTo>
                  <a:lnTo>
                    <a:pt x="188925" y="29309"/>
                  </a:lnTo>
                  <a:lnTo>
                    <a:pt x="130932" y="29309"/>
                  </a:lnTo>
                  <a:lnTo>
                    <a:pt x="101622" y="0"/>
                  </a:lnTo>
                  <a:lnTo>
                    <a:pt x="75590" y="0"/>
                  </a:lnTo>
                  <a:lnTo>
                    <a:pt x="12110" y="0"/>
                  </a:lnTo>
                  <a:lnTo>
                    <a:pt x="776" y="11326"/>
                  </a:lnTo>
                  <a:lnTo>
                    <a:pt x="780" y="11330"/>
                  </a:lnTo>
                  <a:lnTo>
                    <a:pt x="780" y="11330"/>
                  </a:lnTo>
                  <a:lnTo>
                    <a:pt x="13481" y="24031"/>
                  </a:lnTo>
                  <a:lnTo>
                    <a:pt x="13481" y="40947"/>
                  </a:lnTo>
                  <a:lnTo>
                    <a:pt x="32134" y="59600"/>
                  </a:lnTo>
                  <a:lnTo>
                    <a:pt x="32134" y="95759"/>
                  </a:lnTo>
                  <a:lnTo>
                    <a:pt x="32134" y="95812"/>
                  </a:lnTo>
                  <a:lnTo>
                    <a:pt x="12" y="127934"/>
                  </a:lnTo>
                  <a:lnTo>
                    <a:pt x="12" y="166723"/>
                  </a:lnTo>
                  <a:lnTo>
                    <a:pt x="0" y="166723"/>
                  </a:lnTo>
                  <a:lnTo>
                    <a:pt x="38648" y="205382"/>
                  </a:lnTo>
                  <a:lnTo>
                    <a:pt x="69132" y="205382"/>
                  </a:lnTo>
                  <a:lnTo>
                    <a:pt x="109398" y="245656"/>
                  </a:lnTo>
                  <a:lnTo>
                    <a:pt x="160373" y="296607"/>
                  </a:lnTo>
                  <a:lnTo>
                    <a:pt x="190523" y="266423"/>
                  </a:lnTo>
                  <a:lnTo>
                    <a:pt x="190523" y="226652"/>
                  </a:lnTo>
                  <a:lnTo>
                    <a:pt x="238203" y="179005"/>
                  </a:lnTo>
                  <a:lnTo>
                    <a:pt x="211397" y="152208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01A7AFA9-B9A8-1721-5EF0-E0D899D8C930}"/>
                </a:ext>
              </a:extLst>
            </p:cNvPr>
            <p:cNvSpPr/>
            <p:nvPr/>
          </p:nvSpPr>
          <p:spPr>
            <a:xfrm>
              <a:off x="6136220" y="4540943"/>
              <a:ext cx="598103" cy="541803"/>
            </a:xfrm>
            <a:custGeom>
              <a:avLst/>
              <a:gdLst>
                <a:gd name="connsiteX0" fmla="*/ 529253 w 598103"/>
                <a:gd name="connsiteY0" fmla="*/ 284119 h 541803"/>
                <a:gd name="connsiteX1" fmla="*/ 529253 w 598103"/>
                <a:gd name="connsiteY1" fmla="*/ 279835 h 541803"/>
                <a:gd name="connsiteX2" fmla="*/ 529253 w 598103"/>
                <a:gd name="connsiteY2" fmla="*/ 239042 h 541803"/>
                <a:gd name="connsiteX3" fmla="*/ 521369 w 598103"/>
                <a:gd name="connsiteY3" fmla="*/ 231159 h 541803"/>
                <a:gd name="connsiteX4" fmla="*/ 521369 w 598103"/>
                <a:gd name="connsiteY4" fmla="*/ 214478 h 541803"/>
                <a:gd name="connsiteX5" fmla="*/ 546663 w 598103"/>
                <a:gd name="connsiteY5" fmla="*/ 189183 h 541803"/>
                <a:gd name="connsiteX6" fmla="*/ 563044 w 598103"/>
                <a:gd name="connsiteY6" fmla="*/ 189089 h 541803"/>
                <a:gd name="connsiteX7" fmla="*/ 546569 w 598103"/>
                <a:gd name="connsiteY7" fmla="*/ 189089 h 541803"/>
                <a:gd name="connsiteX8" fmla="*/ 546569 w 598103"/>
                <a:gd name="connsiteY8" fmla="*/ 135445 h 541803"/>
                <a:gd name="connsiteX9" fmla="*/ 598104 w 598103"/>
                <a:gd name="connsiteY9" fmla="*/ 83909 h 541803"/>
                <a:gd name="connsiteX10" fmla="*/ 584396 w 598103"/>
                <a:gd name="connsiteY10" fmla="*/ 70202 h 541803"/>
                <a:gd name="connsiteX11" fmla="*/ 584396 w 598103"/>
                <a:gd name="connsiteY11" fmla="*/ 38174 h 541803"/>
                <a:gd name="connsiteX12" fmla="*/ 584418 w 598103"/>
                <a:gd name="connsiteY12" fmla="*/ 38067 h 541803"/>
                <a:gd name="connsiteX13" fmla="*/ 584396 w 598103"/>
                <a:gd name="connsiteY13" fmla="*/ 38067 h 541803"/>
                <a:gd name="connsiteX14" fmla="*/ 546337 w 598103"/>
                <a:gd name="connsiteY14" fmla="*/ 0 h 541803"/>
                <a:gd name="connsiteX15" fmla="*/ 481754 w 598103"/>
                <a:gd name="connsiteY15" fmla="*/ 0 h 541803"/>
                <a:gd name="connsiteX16" fmla="*/ 443893 w 598103"/>
                <a:gd name="connsiteY16" fmla="*/ 4827 h 541803"/>
                <a:gd name="connsiteX17" fmla="*/ 366097 w 598103"/>
                <a:gd name="connsiteY17" fmla="*/ 4827 h 541803"/>
                <a:gd name="connsiteX18" fmla="*/ 345239 w 598103"/>
                <a:gd name="connsiteY18" fmla="*/ 25701 h 541803"/>
                <a:gd name="connsiteX19" fmla="*/ 316340 w 598103"/>
                <a:gd name="connsiteY19" fmla="*/ 25701 h 541803"/>
                <a:gd name="connsiteX20" fmla="*/ 297345 w 598103"/>
                <a:gd name="connsiteY20" fmla="*/ 44698 h 541803"/>
                <a:gd name="connsiteX21" fmla="*/ 275432 w 598103"/>
                <a:gd name="connsiteY21" fmla="*/ 22794 h 541803"/>
                <a:gd name="connsiteX22" fmla="*/ 235825 w 598103"/>
                <a:gd name="connsiteY22" fmla="*/ 62409 h 541803"/>
                <a:gd name="connsiteX23" fmla="*/ 224589 w 598103"/>
                <a:gd name="connsiteY23" fmla="*/ 73645 h 541803"/>
                <a:gd name="connsiteX24" fmla="*/ 179331 w 598103"/>
                <a:gd name="connsiteY24" fmla="*/ 118887 h 541803"/>
                <a:gd name="connsiteX25" fmla="*/ 179331 w 598103"/>
                <a:gd name="connsiteY25" fmla="*/ 171328 h 541803"/>
                <a:gd name="connsiteX26" fmla="*/ 157233 w 598103"/>
                <a:gd name="connsiteY26" fmla="*/ 193429 h 541803"/>
                <a:gd name="connsiteX27" fmla="*/ 157233 w 598103"/>
                <a:gd name="connsiteY27" fmla="*/ 240014 h 541803"/>
                <a:gd name="connsiteX28" fmla="*/ 118714 w 598103"/>
                <a:gd name="connsiteY28" fmla="*/ 278542 h 541803"/>
                <a:gd name="connsiteX29" fmla="*/ 35578 w 598103"/>
                <a:gd name="connsiteY29" fmla="*/ 278542 h 541803"/>
                <a:gd name="connsiteX30" fmla="*/ 0 w 598103"/>
                <a:gd name="connsiteY30" fmla="*/ 314112 h 541803"/>
                <a:gd name="connsiteX31" fmla="*/ 0 w 598103"/>
                <a:gd name="connsiteY31" fmla="*/ 331955 h 541803"/>
                <a:gd name="connsiteX32" fmla="*/ 25570 w 598103"/>
                <a:gd name="connsiteY32" fmla="*/ 331955 h 541803"/>
                <a:gd name="connsiteX33" fmla="*/ 25570 w 598103"/>
                <a:gd name="connsiteY33" fmla="*/ 363645 h 541803"/>
                <a:gd name="connsiteX34" fmla="*/ 28601 w 598103"/>
                <a:gd name="connsiteY34" fmla="*/ 366686 h 541803"/>
                <a:gd name="connsiteX35" fmla="*/ 63067 w 598103"/>
                <a:gd name="connsiteY35" fmla="*/ 332227 h 541803"/>
                <a:gd name="connsiteX36" fmla="*/ 79313 w 598103"/>
                <a:gd name="connsiteY36" fmla="*/ 332227 h 541803"/>
                <a:gd name="connsiteX37" fmla="*/ 152917 w 598103"/>
                <a:gd name="connsiteY37" fmla="*/ 332227 h 541803"/>
                <a:gd name="connsiteX38" fmla="*/ 152917 w 598103"/>
                <a:gd name="connsiteY38" fmla="*/ 364552 h 541803"/>
                <a:gd name="connsiteX39" fmla="*/ 180846 w 598103"/>
                <a:gd name="connsiteY39" fmla="*/ 392469 h 541803"/>
                <a:gd name="connsiteX40" fmla="*/ 216269 w 598103"/>
                <a:gd name="connsiteY40" fmla="*/ 392469 h 541803"/>
                <a:gd name="connsiteX41" fmla="*/ 256700 w 598103"/>
                <a:gd name="connsiteY41" fmla="*/ 352047 h 541803"/>
                <a:gd name="connsiteX42" fmla="*/ 282384 w 598103"/>
                <a:gd name="connsiteY42" fmla="*/ 377707 h 541803"/>
                <a:gd name="connsiteX43" fmla="*/ 304923 w 598103"/>
                <a:gd name="connsiteY43" fmla="*/ 400229 h 541803"/>
                <a:gd name="connsiteX44" fmla="*/ 304923 w 598103"/>
                <a:gd name="connsiteY44" fmla="*/ 452959 h 541803"/>
                <a:gd name="connsiteX45" fmla="*/ 326457 w 598103"/>
                <a:gd name="connsiteY45" fmla="*/ 474509 h 541803"/>
                <a:gd name="connsiteX46" fmla="*/ 349655 w 598103"/>
                <a:gd name="connsiteY46" fmla="*/ 497715 h 541803"/>
                <a:gd name="connsiteX47" fmla="*/ 373214 w 598103"/>
                <a:gd name="connsiteY47" fmla="*/ 497715 h 541803"/>
                <a:gd name="connsiteX48" fmla="*/ 409230 w 598103"/>
                <a:gd name="connsiteY48" fmla="*/ 497715 h 541803"/>
                <a:gd name="connsiteX49" fmla="*/ 436727 w 598103"/>
                <a:gd name="connsiteY49" fmla="*/ 525196 h 541803"/>
                <a:gd name="connsiteX50" fmla="*/ 469578 w 598103"/>
                <a:gd name="connsiteY50" fmla="*/ 525196 h 541803"/>
                <a:gd name="connsiteX51" fmla="*/ 525003 w 598103"/>
                <a:gd name="connsiteY51" fmla="*/ 525196 h 541803"/>
                <a:gd name="connsiteX52" fmla="*/ 541642 w 598103"/>
                <a:gd name="connsiteY52" fmla="*/ 541804 h 541803"/>
                <a:gd name="connsiteX53" fmla="*/ 554888 w 598103"/>
                <a:gd name="connsiteY53" fmla="*/ 528540 h 541803"/>
                <a:gd name="connsiteX54" fmla="*/ 554888 w 598103"/>
                <a:gd name="connsiteY54" fmla="*/ 514107 h 541803"/>
                <a:gd name="connsiteX55" fmla="*/ 527243 w 598103"/>
                <a:gd name="connsiteY55" fmla="*/ 514107 h 541803"/>
                <a:gd name="connsiteX56" fmla="*/ 527243 w 598103"/>
                <a:gd name="connsiteY56" fmla="*/ 478768 h 541803"/>
                <a:gd name="connsiteX57" fmla="*/ 503040 w 598103"/>
                <a:gd name="connsiteY57" fmla="*/ 454566 h 541803"/>
                <a:gd name="connsiteX58" fmla="*/ 503040 w 598103"/>
                <a:gd name="connsiteY58" fmla="*/ 425115 h 541803"/>
                <a:gd name="connsiteX59" fmla="*/ 546271 w 598103"/>
                <a:gd name="connsiteY59" fmla="*/ 369841 h 541803"/>
                <a:gd name="connsiteX60" fmla="*/ 529253 w 598103"/>
                <a:gd name="connsiteY60" fmla="*/ 352830 h 541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598103" h="541803">
                  <a:moveTo>
                    <a:pt x="529253" y="284119"/>
                  </a:moveTo>
                  <a:lnTo>
                    <a:pt x="529253" y="279835"/>
                  </a:lnTo>
                  <a:lnTo>
                    <a:pt x="529253" y="239042"/>
                  </a:lnTo>
                  <a:lnTo>
                    <a:pt x="521369" y="231159"/>
                  </a:lnTo>
                  <a:lnTo>
                    <a:pt x="521369" y="214478"/>
                  </a:lnTo>
                  <a:lnTo>
                    <a:pt x="546663" y="189183"/>
                  </a:lnTo>
                  <a:lnTo>
                    <a:pt x="563044" y="189089"/>
                  </a:lnTo>
                  <a:lnTo>
                    <a:pt x="546569" y="189089"/>
                  </a:lnTo>
                  <a:lnTo>
                    <a:pt x="546569" y="135445"/>
                  </a:lnTo>
                  <a:lnTo>
                    <a:pt x="598104" y="83909"/>
                  </a:lnTo>
                  <a:lnTo>
                    <a:pt x="584396" y="70202"/>
                  </a:lnTo>
                  <a:lnTo>
                    <a:pt x="584396" y="38174"/>
                  </a:lnTo>
                  <a:lnTo>
                    <a:pt x="584418" y="38067"/>
                  </a:lnTo>
                  <a:lnTo>
                    <a:pt x="584396" y="38067"/>
                  </a:lnTo>
                  <a:lnTo>
                    <a:pt x="546337" y="0"/>
                  </a:lnTo>
                  <a:lnTo>
                    <a:pt x="481754" y="0"/>
                  </a:lnTo>
                  <a:lnTo>
                    <a:pt x="443893" y="4827"/>
                  </a:lnTo>
                  <a:lnTo>
                    <a:pt x="366097" y="4827"/>
                  </a:lnTo>
                  <a:lnTo>
                    <a:pt x="345239" y="25701"/>
                  </a:lnTo>
                  <a:lnTo>
                    <a:pt x="316340" y="25701"/>
                  </a:lnTo>
                  <a:lnTo>
                    <a:pt x="297345" y="44698"/>
                  </a:lnTo>
                  <a:lnTo>
                    <a:pt x="275432" y="22794"/>
                  </a:lnTo>
                  <a:lnTo>
                    <a:pt x="235825" y="62409"/>
                  </a:lnTo>
                  <a:lnTo>
                    <a:pt x="224589" y="73645"/>
                  </a:lnTo>
                  <a:lnTo>
                    <a:pt x="179331" y="118887"/>
                  </a:lnTo>
                  <a:lnTo>
                    <a:pt x="179331" y="171328"/>
                  </a:lnTo>
                  <a:lnTo>
                    <a:pt x="157233" y="193429"/>
                  </a:lnTo>
                  <a:lnTo>
                    <a:pt x="157233" y="240014"/>
                  </a:lnTo>
                  <a:lnTo>
                    <a:pt x="118714" y="278542"/>
                  </a:lnTo>
                  <a:lnTo>
                    <a:pt x="35578" y="278542"/>
                  </a:lnTo>
                  <a:lnTo>
                    <a:pt x="0" y="314112"/>
                  </a:lnTo>
                  <a:lnTo>
                    <a:pt x="0" y="331955"/>
                  </a:lnTo>
                  <a:lnTo>
                    <a:pt x="25570" y="331955"/>
                  </a:lnTo>
                  <a:lnTo>
                    <a:pt x="25570" y="363645"/>
                  </a:lnTo>
                  <a:lnTo>
                    <a:pt x="28601" y="366686"/>
                  </a:lnTo>
                  <a:lnTo>
                    <a:pt x="63067" y="332227"/>
                  </a:lnTo>
                  <a:lnTo>
                    <a:pt x="79313" y="332227"/>
                  </a:lnTo>
                  <a:lnTo>
                    <a:pt x="152917" y="332227"/>
                  </a:lnTo>
                  <a:lnTo>
                    <a:pt x="152917" y="364552"/>
                  </a:lnTo>
                  <a:lnTo>
                    <a:pt x="180846" y="392469"/>
                  </a:lnTo>
                  <a:lnTo>
                    <a:pt x="216269" y="392469"/>
                  </a:lnTo>
                  <a:lnTo>
                    <a:pt x="256700" y="352047"/>
                  </a:lnTo>
                  <a:lnTo>
                    <a:pt x="282384" y="377707"/>
                  </a:lnTo>
                  <a:lnTo>
                    <a:pt x="304923" y="400229"/>
                  </a:lnTo>
                  <a:lnTo>
                    <a:pt x="304923" y="452959"/>
                  </a:lnTo>
                  <a:lnTo>
                    <a:pt x="326457" y="474509"/>
                  </a:lnTo>
                  <a:lnTo>
                    <a:pt x="349655" y="497715"/>
                  </a:lnTo>
                  <a:lnTo>
                    <a:pt x="373214" y="497715"/>
                  </a:lnTo>
                  <a:lnTo>
                    <a:pt x="409230" y="497715"/>
                  </a:lnTo>
                  <a:lnTo>
                    <a:pt x="436727" y="525196"/>
                  </a:lnTo>
                  <a:lnTo>
                    <a:pt x="469578" y="525196"/>
                  </a:lnTo>
                  <a:lnTo>
                    <a:pt x="525003" y="525196"/>
                  </a:lnTo>
                  <a:lnTo>
                    <a:pt x="541642" y="541804"/>
                  </a:lnTo>
                  <a:lnTo>
                    <a:pt x="554888" y="528540"/>
                  </a:lnTo>
                  <a:lnTo>
                    <a:pt x="554888" y="514107"/>
                  </a:lnTo>
                  <a:lnTo>
                    <a:pt x="527243" y="514107"/>
                  </a:lnTo>
                  <a:lnTo>
                    <a:pt x="527243" y="478768"/>
                  </a:lnTo>
                  <a:lnTo>
                    <a:pt x="503040" y="454566"/>
                  </a:lnTo>
                  <a:lnTo>
                    <a:pt x="503040" y="425115"/>
                  </a:lnTo>
                  <a:lnTo>
                    <a:pt x="546271" y="369841"/>
                  </a:lnTo>
                  <a:lnTo>
                    <a:pt x="529253" y="35283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919CAE92-76C9-6B67-C6D4-E2442BA339FB}"/>
                </a:ext>
              </a:extLst>
            </p:cNvPr>
            <p:cNvSpPr/>
            <p:nvPr/>
          </p:nvSpPr>
          <p:spPr>
            <a:xfrm>
              <a:off x="6665473" y="4719619"/>
              <a:ext cx="347482" cy="342590"/>
            </a:xfrm>
            <a:custGeom>
              <a:avLst/>
              <a:gdLst>
                <a:gd name="connsiteX0" fmla="*/ 341981 w 347482"/>
                <a:gd name="connsiteY0" fmla="*/ 277883 h 342590"/>
                <a:gd name="connsiteX1" fmla="*/ 341981 w 347482"/>
                <a:gd name="connsiteY1" fmla="*/ 200827 h 342590"/>
                <a:gd name="connsiteX2" fmla="*/ 310084 w 347482"/>
                <a:gd name="connsiteY2" fmla="*/ 168931 h 342590"/>
                <a:gd name="connsiteX3" fmla="*/ 310084 w 347482"/>
                <a:gd name="connsiteY3" fmla="*/ 132166 h 342590"/>
                <a:gd name="connsiteX4" fmla="*/ 312341 w 347482"/>
                <a:gd name="connsiteY4" fmla="*/ 129884 h 342590"/>
                <a:gd name="connsiteX5" fmla="*/ 261366 w 347482"/>
                <a:gd name="connsiteY5" fmla="*/ 78933 h 342590"/>
                <a:gd name="connsiteX6" fmla="*/ 221100 w 347482"/>
                <a:gd name="connsiteY6" fmla="*/ 38660 h 342590"/>
                <a:gd name="connsiteX7" fmla="*/ 190616 w 347482"/>
                <a:gd name="connsiteY7" fmla="*/ 38660 h 342590"/>
                <a:gd name="connsiteX8" fmla="*/ 151968 w 347482"/>
                <a:gd name="connsiteY8" fmla="*/ 0 h 342590"/>
                <a:gd name="connsiteX9" fmla="*/ 60261 w 347482"/>
                <a:gd name="connsiteY9" fmla="*/ 0 h 342590"/>
                <a:gd name="connsiteX10" fmla="*/ 44204 w 347482"/>
                <a:gd name="connsiteY10" fmla="*/ 0 h 342590"/>
                <a:gd name="connsiteX11" fmla="*/ 53891 w 347482"/>
                <a:gd name="connsiteY11" fmla="*/ 9819 h 342590"/>
                <a:gd name="connsiteX12" fmla="*/ 53891 w 347482"/>
                <a:gd name="connsiteY12" fmla="*/ 41386 h 342590"/>
                <a:gd name="connsiteX13" fmla="*/ 45653 w 347482"/>
                <a:gd name="connsiteY13" fmla="*/ 41386 h 342590"/>
                <a:gd name="connsiteX14" fmla="*/ 45653 w 347482"/>
                <a:gd name="connsiteY14" fmla="*/ 56280 h 342590"/>
                <a:gd name="connsiteX15" fmla="*/ 58966 w 347482"/>
                <a:gd name="connsiteY15" fmla="*/ 56280 h 342590"/>
                <a:gd name="connsiteX16" fmla="*/ 58966 w 347482"/>
                <a:gd name="connsiteY16" fmla="*/ 73942 h 342590"/>
                <a:gd name="connsiteX17" fmla="*/ 27465 w 347482"/>
                <a:gd name="connsiteY17" fmla="*/ 105443 h 342590"/>
                <a:gd name="connsiteX18" fmla="*/ 0 w 347482"/>
                <a:gd name="connsiteY18" fmla="*/ 105443 h 342590"/>
                <a:gd name="connsiteX19" fmla="*/ 0 w 347482"/>
                <a:gd name="connsiteY19" fmla="*/ 174154 h 342590"/>
                <a:gd name="connsiteX20" fmla="*/ 17019 w 347482"/>
                <a:gd name="connsiteY20" fmla="*/ 191165 h 342590"/>
                <a:gd name="connsiteX21" fmla="*/ 47417 w 347482"/>
                <a:gd name="connsiteY21" fmla="*/ 221553 h 342590"/>
                <a:gd name="connsiteX22" fmla="*/ 47417 w 347482"/>
                <a:gd name="connsiteY22" fmla="*/ 254281 h 342590"/>
                <a:gd name="connsiteX23" fmla="*/ 150503 w 347482"/>
                <a:gd name="connsiteY23" fmla="*/ 254281 h 342590"/>
                <a:gd name="connsiteX24" fmla="*/ 169326 w 347482"/>
                <a:gd name="connsiteY24" fmla="*/ 273105 h 342590"/>
                <a:gd name="connsiteX25" fmla="*/ 169326 w 347482"/>
                <a:gd name="connsiteY25" fmla="*/ 342590 h 342590"/>
                <a:gd name="connsiteX26" fmla="*/ 185348 w 347482"/>
                <a:gd name="connsiteY26" fmla="*/ 326576 h 342590"/>
                <a:gd name="connsiteX27" fmla="*/ 253886 w 347482"/>
                <a:gd name="connsiteY27" fmla="*/ 326576 h 342590"/>
                <a:gd name="connsiteX28" fmla="*/ 274464 w 347482"/>
                <a:gd name="connsiteY28" fmla="*/ 306014 h 342590"/>
                <a:gd name="connsiteX29" fmla="*/ 324879 w 347482"/>
                <a:gd name="connsiteY29" fmla="*/ 306014 h 342590"/>
                <a:gd name="connsiteX30" fmla="*/ 347483 w 347482"/>
                <a:gd name="connsiteY30" fmla="*/ 283394 h 342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47482" h="342590">
                  <a:moveTo>
                    <a:pt x="341981" y="277883"/>
                  </a:moveTo>
                  <a:lnTo>
                    <a:pt x="341981" y="200827"/>
                  </a:lnTo>
                  <a:lnTo>
                    <a:pt x="310084" y="168931"/>
                  </a:lnTo>
                  <a:lnTo>
                    <a:pt x="310084" y="132166"/>
                  </a:lnTo>
                  <a:lnTo>
                    <a:pt x="312341" y="129884"/>
                  </a:lnTo>
                  <a:lnTo>
                    <a:pt x="261366" y="78933"/>
                  </a:lnTo>
                  <a:lnTo>
                    <a:pt x="221100" y="38660"/>
                  </a:lnTo>
                  <a:lnTo>
                    <a:pt x="190616" y="38660"/>
                  </a:lnTo>
                  <a:lnTo>
                    <a:pt x="151968" y="0"/>
                  </a:lnTo>
                  <a:lnTo>
                    <a:pt x="60261" y="0"/>
                  </a:lnTo>
                  <a:lnTo>
                    <a:pt x="44204" y="0"/>
                  </a:lnTo>
                  <a:lnTo>
                    <a:pt x="53891" y="9819"/>
                  </a:lnTo>
                  <a:lnTo>
                    <a:pt x="53891" y="41386"/>
                  </a:lnTo>
                  <a:lnTo>
                    <a:pt x="45653" y="41386"/>
                  </a:lnTo>
                  <a:lnTo>
                    <a:pt x="45653" y="56280"/>
                  </a:lnTo>
                  <a:lnTo>
                    <a:pt x="58966" y="56280"/>
                  </a:lnTo>
                  <a:lnTo>
                    <a:pt x="58966" y="73942"/>
                  </a:lnTo>
                  <a:lnTo>
                    <a:pt x="27465" y="105443"/>
                  </a:lnTo>
                  <a:lnTo>
                    <a:pt x="0" y="105443"/>
                  </a:lnTo>
                  <a:lnTo>
                    <a:pt x="0" y="174154"/>
                  </a:lnTo>
                  <a:lnTo>
                    <a:pt x="17019" y="191165"/>
                  </a:lnTo>
                  <a:lnTo>
                    <a:pt x="47417" y="221553"/>
                  </a:lnTo>
                  <a:lnTo>
                    <a:pt x="47417" y="254281"/>
                  </a:lnTo>
                  <a:lnTo>
                    <a:pt x="150503" y="254281"/>
                  </a:lnTo>
                  <a:lnTo>
                    <a:pt x="169326" y="273105"/>
                  </a:lnTo>
                  <a:lnTo>
                    <a:pt x="169326" y="342590"/>
                  </a:lnTo>
                  <a:lnTo>
                    <a:pt x="185348" y="326576"/>
                  </a:lnTo>
                  <a:lnTo>
                    <a:pt x="253886" y="326576"/>
                  </a:lnTo>
                  <a:lnTo>
                    <a:pt x="274464" y="306014"/>
                  </a:lnTo>
                  <a:lnTo>
                    <a:pt x="324879" y="306014"/>
                  </a:lnTo>
                  <a:lnTo>
                    <a:pt x="347483" y="283394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D5C811AB-B33A-37F7-6428-E5DC54E9A813}"/>
                </a:ext>
              </a:extLst>
            </p:cNvPr>
            <p:cNvSpPr/>
            <p:nvPr/>
          </p:nvSpPr>
          <p:spPr>
            <a:xfrm>
              <a:off x="6665473" y="4785916"/>
              <a:ext cx="34893" cy="34862"/>
            </a:xfrm>
            <a:custGeom>
              <a:avLst/>
              <a:gdLst>
                <a:gd name="connsiteX0" fmla="*/ 34893 w 34893"/>
                <a:gd name="connsiteY0" fmla="*/ 0 h 34862"/>
                <a:gd name="connsiteX1" fmla="*/ 0 w 34893"/>
                <a:gd name="connsiteY1" fmla="*/ 34863 h 34862"/>
                <a:gd name="connsiteX2" fmla="*/ 34893 w 34893"/>
                <a:gd name="connsiteY2" fmla="*/ 2 h 34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893" h="34862">
                  <a:moveTo>
                    <a:pt x="34893" y="0"/>
                  </a:moveTo>
                  <a:lnTo>
                    <a:pt x="0" y="34863"/>
                  </a:lnTo>
                  <a:lnTo>
                    <a:pt x="34893" y="2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177B7A08-DEAA-051F-529D-E660AFD1953C}"/>
                </a:ext>
              </a:extLst>
            </p:cNvPr>
            <p:cNvSpPr/>
            <p:nvPr/>
          </p:nvSpPr>
          <p:spPr>
            <a:xfrm>
              <a:off x="6657590" y="4719619"/>
              <a:ext cx="61774" cy="54387"/>
            </a:xfrm>
            <a:custGeom>
              <a:avLst/>
              <a:gdLst>
                <a:gd name="connsiteX0" fmla="*/ 20264 w 61774"/>
                <a:gd name="connsiteY0" fmla="*/ 54387 h 54387"/>
                <a:gd name="connsiteX1" fmla="*/ 35588 w 61774"/>
                <a:gd name="connsiteY1" fmla="*/ 54387 h 54387"/>
                <a:gd name="connsiteX2" fmla="*/ 35588 w 61774"/>
                <a:gd name="connsiteY2" fmla="*/ 41386 h 54387"/>
                <a:gd name="connsiteX3" fmla="*/ 53537 w 61774"/>
                <a:gd name="connsiteY3" fmla="*/ 41386 h 54387"/>
                <a:gd name="connsiteX4" fmla="*/ 61775 w 61774"/>
                <a:gd name="connsiteY4" fmla="*/ 41386 h 54387"/>
                <a:gd name="connsiteX5" fmla="*/ 61775 w 61774"/>
                <a:gd name="connsiteY5" fmla="*/ 9819 h 54387"/>
                <a:gd name="connsiteX6" fmla="*/ 52087 w 61774"/>
                <a:gd name="connsiteY6" fmla="*/ 0 h 54387"/>
                <a:gd name="connsiteX7" fmla="*/ 41675 w 61774"/>
                <a:gd name="connsiteY7" fmla="*/ 10412 h 54387"/>
                <a:gd name="connsiteX8" fmla="*/ 25294 w 61774"/>
                <a:gd name="connsiteY8" fmla="*/ 10507 h 54387"/>
                <a:gd name="connsiteX9" fmla="*/ 0 w 61774"/>
                <a:gd name="connsiteY9" fmla="*/ 35802 h 54387"/>
                <a:gd name="connsiteX10" fmla="*/ 0 w 61774"/>
                <a:gd name="connsiteY10" fmla="*/ 52115 h 54387"/>
                <a:gd name="connsiteX11" fmla="*/ 8996 w 61774"/>
                <a:gd name="connsiteY11" fmla="*/ 43119 h 54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774" h="54387">
                  <a:moveTo>
                    <a:pt x="20264" y="54387"/>
                  </a:moveTo>
                  <a:lnTo>
                    <a:pt x="35588" y="54387"/>
                  </a:lnTo>
                  <a:lnTo>
                    <a:pt x="35588" y="41386"/>
                  </a:lnTo>
                  <a:lnTo>
                    <a:pt x="53537" y="41386"/>
                  </a:lnTo>
                  <a:lnTo>
                    <a:pt x="61775" y="41386"/>
                  </a:lnTo>
                  <a:lnTo>
                    <a:pt x="61775" y="9819"/>
                  </a:lnTo>
                  <a:lnTo>
                    <a:pt x="52087" y="0"/>
                  </a:lnTo>
                  <a:lnTo>
                    <a:pt x="41675" y="10412"/>
                  </a:lnTo>
                  <a:lnTo>
                    <a:pt x="25294" y="10507"/>
                  </a:lnTo>
                  <a:lnTo>
                    <a:pt x="0" y="35802"/>
                  </a:lnTo>
                  <a:lnTo>
                    <a:pt x="0" y="52115"/>
                  </a:lnTo>
                  <a:lnTo>
                    <a:pt x="8996" y="43119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65007E7C-AEE8-EB0B-5955-738E370E3C7F}"/>
                </a:ext>
              </a:extLst>
            </p:cNvPr>
            <p:cNvSpPr/>
            <p:nvPr/>
          </p:nvSpPr>
          <p:spPr>
            <a:xfrm>
              <a:off x="6657590" y="4761006"/>
              <a:ext cx="66849" cy="64056"/>
            </a:xfrm>
            <a:custGeom>
              <a:avLst/>
              <a:gdLst>
                <a:gd name="connsiteX0" fmla="*/ 7883 w 66849"/>
                <a:gd name="connsiteY0" fmla="*/ 18980 h 64056"/>
                <a:gd name="connsiteX1" fmla="*/ 7883 w 66849"/>
                <a:gd name="connsiteY1" fmla="*/ 59773 h 64056"/>
                <a:gd name="connsiteX2" fmla="*/ 7883 w 66849"/>
                <a:gd name="connsiteY2" fmla="*/ 64057 h 64056"/>
                <a:gd name="connsiteX3" fmla="*/ 35348 w 66849"/>
                <a:gd name="connsiteY3" fmla="*/ 64057 h 64056"/>
                <a:gd name="connsiteX4" fmla="*/ 66849 w 66849"/>
                <a:gd name="connsiteY4" fmla="*/ 32555 h 64056"/>
                <a:gd name="connsiteX5" fmla="*/ 66849 w 66849"/>
                <a:gd name="connsiteY5" fmla="*/ 14894 h 64056"/>
                <a:gd name="connsiteX6" fmla="*/ 53537 w 66849"/>
                <a:gd name="connsiteY6" fmla="*/ 14894 h 64056"/>
                <a:gd name="connsiteX7" fmla="*/ 53537 w 66849"/>
                <a:gd name="connsiteY7" fmla="*/ 0 h 64056"/>
                <a:gd name="connsiteX8" fmla="*/ 35588 w 66849"/>
                <a:gd name="connsiteY8" fmla="*/ 0 h 64056"/>
                <a:gd name="connsiteX9" fmla="*/ 35588 w 66849"/>
                <a:gd name="connsiteY9" fmla="*/ 13001 h 64056"/>
                <a:gd name="connsiteX10" fmla="*/ 20264 w 66849"/>
                <a:gd name="connsiteY10" fmla="*/ 13001 h 64056"/>
                <a:gd name="connsiteX11" fmla="*/ 8996 w 66849"/>
                <a:gd name="connsiteY11" fmla="*/ 1733 h 64056"/>
                <a:gd name="connsiteX12" fmla="*/ 0 w 66849"/>
                <a:gd name="connsiteY12" fmla="*/ 10729 h 64056"/>
                <a:gd name="connsiteX13" fmla="*/ 0 w 66849"/>
                <a:gd name="connsiteY13" fmla="*/ 11096 h 6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849" h="64056">
                  <a:moveTo>
                    <a:pt x="7883" y="18980"/>
                  </a:moveTo>
                  <a:lnTo>
                    <a:pt x="7883" y="59773"/>
                  </a:lnTo>
                  <a:lnTo>
                    <a:pt x="7883" y="64057"/>
                  </a:lnTo>
                  <a:lnTo>
                    <a:pt x="35348" y="64057"/>
                  </a:lnTo>
                  <a:lnTo>
                    <a:pt x="66849" y="32555"/>
                  </a:lnTo>
                  <a:lnTo>
                    <a:pt x="66849" y="14894"/>
                  </a:lnTo>
                  <a:lnTo>
                    <a:pt x="53537" y="14894"/>
                  </a:lnTo>
                  <a:lnTo>
                    <a:pt x="53537" y="0"/>
                  </a:lnTo>
                  <a:lnTo>
                    <a:pt x="35588" y="0"/>
                  </a:lnTo>
                  <a:lnTo>
                    <a:pt x="35588" y="13001"/>
                  </a:lnTo>
                  <a:lnTo>
                    <a:pt x="20264" y="13001"/>
                  </a:lnTo>
                  <a:lnTo>
                    <a:pt x="8996" y="1733"/>
                  </a:lnTo>
                  <a:lnTo>
                    <a:pt x="0" y="10729"/>
                  </a:lnTo>
                  <a:lnTo>
                    <a:pt x="0" y="11096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18B54BA6-93F9-88D1-4838-DF95728075FC}"/>
                </a:ext>
              </a:extLst>
            </p:cNvPr>
            <p:cNvSpPr/>
            <p:nvPr/>
          </p:nvSpPr>
          <p:spPr>
            <a:xfrm>
              <a:off x="6900891" y="4149445"/>
              <a:ext cx="215300" cy="172654"/>
            </a:xfrm>
            <a:custGeom>
              <a:avLst/>
              <a:gdLst>
                <a:gd name="connsiteX0" fmla="*/ 215301 w 215300"/>
                <a:gd name="connsiteY0" fmla="*/ 172268 h 172654"/>
                <a:gd name="connsiteX1" fmla="*/ 132545 w 215300"/>
                <a:gd name="connsiteY1" fmla="*/ 89495 h 172654"/>
                <a:gd name="connsiteX2" fmla="*/ 102592 w 215300"/>
                <a:gd name="connsiteY2" fmla="*/ 89495 h 172654"/>
                <a:gd name="connsiteX3" fmla="*/ 102592 w 215300"/>
                <a:gd name="connsiteY3" fmla="*/ 56643 h 172654"/>
                <a:gd name="connsiteX4" fmla="*/ 53874 w 215300"/>
                <a:gd name="connsiteY4" fmla="*/ 7950 h 172654"/>
                <a:gd name="connsiteX5" fmla="*/ 53874 w 215300"/>
                <a:gd name="connsiteY5" fmla="*/ 0 h 172654"/>
                <a:gd name="connsiteX6" fmla="*/ 24713 w 215300"/>
                <a:gd name="connsiteY6" fmla="*/ 0 h 172654"/>
                <a:gd name="connsiteX7" fmla="*/ 0 w 215300"/>
                <a:gd name="connsiteY7" fmla="*/ 24705 h 172654"/>
                <a:gd name="connsiteX8" fmla="*/ 0 w 215300"/>
                <a:gd name="connsiteY8" fmla="*/ 97255 h 172654"/>
                <a:gd name="connsiteX9" fmla="*/ 62194 w 215300"/>
                <a:gd name="connsiteY9" fmla="*/ 97255 h 172654"/>
                <a:gd name="connsiteX10" fmla="*/ 97996 w 215300"/>
                <a:gd name="connsiteY10" fmla="*/ 97255 h 172654"/>
                <a:gd name="connsiteX11" fmla="*/ 176131 w 215300"/>
                <a:gd name="connsiteY11" fmla="*/ 172655 h 172654"/>
                <a:gd name="connsiteX12" fmla="*/ 215301 w 215300"/>
                <a:gd name="connsiteY12" fmla="*/ 172655 h 17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5300" h="172654">
                  <a:moveTo>
                    <a:pt x="215301" y="172268"/>
                  </a:moveTo>
                  <a:lnTo>
                    <a:pt x="132545" y="89495"/>
                  </a:lnTo>
                  <a:lnTo>
                    <a:pt x="102592" y="89495"/>
                  </a:lnTo>
                  <a:lnTo>
                    <a:pt x="102592" y="56643"/>
                  </a:lnTo>
                  <a:lnTo>
                    <a:pt x="53874" y="7950"/>
                  </a:lnTo>
                  <a:lnTo>
                    <a:pt x="53874" y="0"/>
                  </a:lnTo>
                  <a:lnTo>
                    <a:pt x="24713" y="0"/>
                  </a:lnTo>
                  <a:lnTo>
                    <a:pt x="0" y="24705"/>
                  </a:lnTo>
                  <a:lnTo>
                    <a:pt x="0" y="97255"/>
                  </a:lnTo>
                  <a:lnTo>
                    <a:pt x="62194" y="97255"/>
                  </a:lnTo>
                  <a:lnTo>
                    <a:pt x="97996" y="97255"/>
                  </a:lnTo>
                  <a:lnTo>
                    <a:pt x="176131" y="172655"/>
                  </a:lnTo>
                  <a:lnTo>
                    <a:pt x="215301" y="172655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A9952C7A-933C-5F80-6277-DA5F95876903}"/>
                </a:ext>
              </a:extLst>
            </p:cNvPr>
            <p:cNvSpPr/>
            <p:nvPr/>
          </p:nvSpPr>
          <p:spPr>
            <a:xfrm>
              <a:off x="7028838" y="4332265"/>
              <a:ext cx="320958" cy="399636"/>
            </a:xfrm>
            <a:custGeom>
              <a:avLst/>
              <a:gdLst>
                <a:gd name="connsiteX0" fmla="*/ 277562 w 320958"/>
                <a:gd name="connsiteY0" fmla="*/ 0 h 399636"/>
                <a:gd name="connsiteX1" fmla="*/ 264348 w 320958"/>
                <a:gd name="connsiteY1" fmla="*/ 13222 h 399636"/>
                <a:gd name="connsiteX2" fmla="*/ 154277 w 320958"/>
                <a:gd name="connsiteY2" fmla="*/ 13222 h 399636"/>
                <a:gd name="connsiteX3" fmla="*/ 137076 w 320958"/>
                <a:gd name="connsiteY3" fmla="*/ 30380 h 399636"/>
                <a:gd name="connsiteX4" fmla="*/ 87353 w 320958"/>
                <a:gd name="connsiteY4" fmla="*/ 30380 h 399636"/>
                <a:gd name="connsiteX5" fmla="*/ 87353 w 320958"/>
                <a:gd name="connsiteY5" fmla="*/ 16195 h 399636"/>
                <a:gd name="connsiteX6" fmla="*/ 63867 w 320958"/>
                <a:gd name="connsiteY6" fmla="*/ 39156 h 399636"/>
                <a:gd name="connsiteX7" fmla="*/ 73366 w 320958"/>
                <a:gd name="connsiteY7" fmla="*/ 48660 h 399636"/>
                <a:gd name="connsiteX8" fmla="*/ 151986 w 320958"/>
                <a:gd name="connsiteY8" fmla="*/ 127240 h 399636"/>
                <a:gd name="connsiteX9" fmla="*/ 172926 w 320958"/>
                <a:gd name="connsiteY9" fmla="*/ 127240 h 399636"/>
                <a:gd name="connsiteX10" fmla="*/ 212797 w 320958"/>
                <a:gd name="connsiteY10" fmla="*/ 127240 h 399636"/>
                <a:gd name="connsiteX11" fmla="*/ 140190 w 320958"/>
                <a:gd name="connsiteY11" fmla="*/ 199830 h 399636"/>
                <a:gd name="connsiteX12" fmla="*/ 84321 w 320958"/>
                <a:gd name="connsiteY12" fmla="*/ 199830 h 399636"/>
                <a:gd name="connsiteX13" fmla="*/ 32391 w 320958"/>
                <a:gd name="connsiteY13" fmla="*/ 251777 h 399636"/>
                <a:gd name="connsiteX14" fmla="*/ 0 w 320958"/>
                <a:gd name="connsiteY14" fmla="*/ 284160 h 399636"/>
                <a:gd name="connsiteX15" fmla="*/ 0 w 320958"/>
                <a:gd name="connsiteY15" fmla="*/ 372839 h 399636"/>
                <a:gd name="connsiteX16" fmla="*/ 26806 w 320958"/>
                <a:gd name="connsiteY16" fmla="*/ 399636 h 399636"/>
                <a:gd name="connsiteX17" fmla="*/ 248088 w 320958"/>
                <a:gd name="connsiteY17" fmla="*/ 178363 h 399636"/>
                <a:gd name="connsiteX18" fmla="*/ 248088 w 320958"/>
                <a:gd name="connsiteY18" fmla="*/ 149696 h 399636"/>
                <a:gd name="connsiteX19" fmla="*/ 320959 w 320958"/>
                <a:gd name="connsiteY19" fmla="*/ 76849 h 399636"/>
                <a:gd name="connsiteX20" fmla="*/ 320959 w 320958"/>
                <a:gd name="connsiteY20" fmla="*/ 0 h 399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20958" h="399636">
                  <a:moveTo>
                    <a:pt x="277562" y="0"/>
                  </a:moveTo>
                  <a:lnTo>
                    <a:pt x="264348" y="13222"/>
                  </a:lnTo>
                  <a:lnTo>
                    <a:pt x="154277" y="13222"/>
                  </a:lnTo>
                  <a:lnTo>
                    <a:pt x="137076" y="30380"/>
                  </a:lnTo>
                  <a:lnTo>
                    <a:pt x="87353" y="30380"/>
                  </a:lnTo>
                  <a:lnTo>
                    <a:pt x="87353" y="16195"/>
                  </a:lnTo>
                  <a:lnTo>
                    <a:pt x="63867" y="39156"/>
                  </a:lnTo>
                  <a:lnTo>
                    <a:pt x="73366" y="48660"/>
                  </a:lnTo>
                  <a:lnTo>
                    <a:pt x="151986" y="127240"/>
                  </a:lnTo>
                  <a:lnTo>
                    <a:pt x="172926" y="127240"/>
                  </a:lnTo>
                  <a:lnTo>
                    <a:pt x="212797" y="127240"/>
                  </a:lnTo>
                  <a:lnTo>
                    <a:pt x="140190" y="199830"/>
                  </a:lnTo>
                  <a:lnTo>
                    <a:pt x="84321" y="199830"/>
                  </a:lnTo>
                  <a:lnTo>
                    <a:pt x="32391" y="251777"/>
                  </a:lnTo>
                  <a:lnTo>
                    <a:pt x="0" y="284160"/>
                  </a:lnTo>
                  <a:lnTo>
                    <a:pt x="0" y="372839"/>
                  </a:lnTo>
                  <a:lnTo>
                    <a:pt x="26806" y="399636"/>
                  </a:lnTo>
                  <a:lnTo>
                    <a:pt x="248088" y="178363"/>
                  </a:lnTo>
                  <a:lnTo>
                    <a:pt x="248088" y="149696"/>
                  </a:lnTo>
                  <a:lnTo>
                    <a:pt x="320959" y="76849"/>
                  </a:lnTo>
                  <a:lnTo>
                    <a:pt x="320959" y="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7" name="Freeform: Shape 386">
              <a:extLst>
                <a:ext uri="{FF2B5EF4-FFF2-40B4-BE49-F238E27FC236}">
                  <a16:creationId xmlns:a16="http://schemas.microsoft.com/office/drawing/2014/main" id="{1EC8A203-C04D-BAB3-DE95-86B2AFD18810}"/>
                </a:ext>
              </a:extLst>
            </p:cNvPr>
            <p:cNvSpPr/>
            <p:nvPr/>
          </p:nvSpPr>
          <p:spPr>
            <a:xfrm>
              <a:off x="6786814" y="4246700"/>
              <a:ext cx="454821" cy="337342"/>
            </a:xfrm>
            <a:custGeom>
              <a:avLst/>
              <a:gdLst>
                <a:gd name="connsiteX0" fmla="*/ 414950 w 454821"/>
                <a:gd name="connsiteY0" fmla="*/ 212806 h 337342"/>
                <a:gd name="connsiteX1" fmla="*/ 394011 w 454821"/>
                <a:gd name="connsiteY1" fmla="*/ 212806 h 337342"/>
                <a:gd name="connsiteX2" fmla="*/ 315390 w 454821"/>
                <a:gd name="connsiteY2" fmla="*/ 134225 h 337342"/>
                <a:gd name="connsiteX3" fmla="*/ 305891 w 454821"/>
                <a:gd name="connsiteY3" fmla="*/ 124722 h 337342"/>
                <a:gd name="connsiteX4" fmla="*/ 305891 w 454821"/>
                <a:gd name="connsiteY4" fmla="*/ 124722 h 337342"/>
                <a:gd name="connsiteX5" fmla="*/ 273926 w 454821"/>
                <a:gd name="connsiteY5" fmla="*/ 124745 h 337342"/>
                <a:gd name="connsiteX6" fmla="*/ 273926 w 454821"/>
                <a:gd name="connsiteY6" fmla="*/ 91682 h 337342"/>
                <a:gd name="connsiteX7" fmla="*/ 290208 w 454821"/>
                <a:gd name="connsiteY7" fmla="*/ 75400 h 337342"/>
                <a:gd name="connsiteX8" fmla="*/ 290208 w 454821"/>
                <a:gd name="connsiteY8" fmla="*/ 75400 h 337342"/>
                <a:gd name="connsiteX9" fmla="*/ 212073 w 454821"/>
                <a:gd name="connsiteY9" fmla="*/ 0 h 337342"/>
                <a:gd name="connsiteX10" fmla="*/ 176271 w 454821"/>
                <a:gd name="connsiteY10" fmla="*/ 0 h 337342"/>
                <a:gd name="connsiteX11" fmla="*/ 114077 w 454821"/>
                <a:gd name="connsiteY11" fmla="*/ 0 h 337342"/>
                <a:gd name="connsiteX12" fmla="*/ 117124 w 454821"/>
                <a:gd name="connsiteY12" fmla="*/ 46988 h 337342"/>
                <a:gd name="connsiteX13" fmla="*/ 104900 w 454821"/>
                <a:gd name="connsiteY13" fmla="*/ 59213 h 337342"/>
                <a:gd name="connsiteX14" fmla="*/ 41750 w 454821"/>
                <a:gd name="connsiteY14" fmla="*/ 122364 h 337342"/>
                <a:gd name="connsiteX15" fmla="*/ 41750 w 454821"/>
                <a:gd name="connsiteY15" fmla="*/ 182952 h 337342"/>
                <a:gd name="connsiteX16" fmla="*/ 0 w 454821"/>
                <a:gd name="connsiteY16" fmla="*/ 182952 h 337342"/>
                <a:gd name="connsiteX17" fmla="*/ 0 w 454821"/>
                <a:gd name="connsiteY17" fmla="*/ 209288 h 337342"/>
                <a:gd name="connsiteX18" fmla="*/ 96909 w 454821"/>
                <a:gd name="connsiteY18" fmla="*/ 306197 h 337342"/>
                <a:gd name="connsiteX19" fmla="*/ 106217 w 454821"/>
                <a:gd name="connsiteY19" fmla="*/ 306197 h 337342"/>
                <a:gd name="connsiteX20" fmla="*/ 132249 w 454821"/>
                <a:gd name="connsiteY20" fmla="*/ 306197 h 337342"/>
                <a:gd name="connsiteX21" fmla="*/ 161559 w 454821"/>
                <a:gd name="connsiteY21" fmla="*/ 335506 h 337342"/>
                <a:gd name="connsiteX22" fmla="*/ 219552 w 454821"/>
                <a:gd name="connsiteY22" fmla="*/ 335506 h 337342"/>
                <a:gd name="connsiteX23" fmla="*/ 246045 w 454821"/>
                <a:gd name="connsiteY23" fmla="*/ 308989 h 337342"/>
                <a:gd name="connsiteX24" fmla="*/ 274415 w 454821"/>
                <a:gd name="connsiteY24" fmla="*/ 337343 h 337342"/>
                <a:gd name="connsiteX25" fmla="*/ 326345 w 454821"/>
                <a:gd name="connsiteY25" fmla="*/ 285396 h 337342"/>
                <a:gd name="connsiteX26" fmla="*/ 382214 w 454821"/>
                <a:gd name="connsiteY26" fmla="*/ 285396 h 337342"/>
                <a:gd name="connsiteX27" fmla="*/ 454821 w 454821"/>
                <a:gd name="connsiteY27" fmla="*/ 212806 h 337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54821" h="337342">
                  <a:moveTo>
                    <a:pt x="414950" y="212806"/>
                  </a:moveTo>
                  <a:lnTo>
                    <a:pt x="394011" y="212806"/>
                  </a:lnTo>
                  <a:lnTo>
                    <a:pt x="315390" y="134225"/>
                  </a:lnTo>
                  <a:lnTo>
                    <a:pt x="305891" y="124722"/>
                  </a:lnTo>
                  <a:lnTo>
                    <a:pt x="305891" y="124722"/>
                  </a:lnTo>
                  <a:lnTo>
                    <a:pt x="273926" y="124745"/>
                  </a:lnTo>
                  <a:lnTo>
                    <a:pt x="273926" y="91682"/>
                  </a:lnTo>
                  <a:lnTo>
                    <a:pt x="290208" y="75400"/>
                  </a:lnTo>
                  <a:lnTo>
                    <a:pt x="290208" y="75400"/>
                  </a:lnTo>
                  <a:lnTo>
                    <a:pt x="212073" y="0"/>
                  </a:lnTo>
                  <a:lnTo>
                    <a:pt x="176271" y="0"/>
                  </a:lnTo>
                  <a:lnTo>
                    <a:pt x="114077" y="0"/>
                  </a:lnTo>
                  <a:lnTo>
                    <a:pt x="117124" y="46988"/>
                  </a:lnTo>
                  <a:lnTo>
                    <a:pt x="104900" y="59213"/>
                  </a:lnTo>
                  <a:lnTo>
                    <a:pt x="41750" y="122364"/>
                  </a:lnTo>
                  <a:lnTo>
                    <a:pt x="41750" y="182952"/>
                  </a:lnTo>
                  <a:lnTo>
                    <a:pt x="0" y="182952"/>
                  </a:lnTo>
                  <a:lnTo>
                    <a:pt x="0" y="209288"/>
                  </a:lnTo>
                  <a:lnTo>
                    <a:pt x="96909" y="306197"/>
                  </a:lnTo>
                  <a:lnTo>
                    <a:pt x="106217" y="306197"/>
                  </a:lnTo>
                  <a:lnTo>
                    <a:pt x="132249" y="306197"/>
                  </a:lnTo>
                  <a:lnTo>
                    <a:pt x="161559" y="335506"/>
                  </a:lnTo>
                  <a:lnTo>
                    <a:pt x="219552" y="335506"/>
                  </a:lnTo>
                  <a:lnTo>
                    <a:pt x="246045" y="308989"/>
                  </a:lnTo>
                  <a:lnTo>
                    <a:pt x="274415" y="337343"/>
                  </a:lnTo>
                  <a:lnTo>
                    <a:pt x="326345" y="285396"/>
                  </a:lnTo>
                  <a:lnTo>
                    <a:pt x="382214" y="285396"/>
                  </a:lnTo>
                  <a:lnTo>
                    <a:pt x="454821" y="212806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6FBE0F54-8058-712E-79D1-322CFDD43DC1}"/>
                </a:ext>
              </a:extLst>
            </p:cNvPr>
            <p:cNvSpPr/>
            <p:nvPr/>
          </p:nvSpPr>
          <p:spPr>
            <a:xfrm>
              <a:off x="6506682" y="4312610"/>
              <a:ext cx="377040" cy="266399"/>
            </a:xfrm>
            <a:custGeom>
              <a:avLst/>
              <a:gdLst>
                <a:gd name="connsiteX0" fmla="*/ 280132 w 377040"/>
                <a:gd name="connsiteY0" fmla="*/ 143378 h 266399"/>
                <a:gd name="connsiteX1" fmla="*/ 280132 w 377040"/>
                <a:gd name="connsiteY1" fmla="*/ 117042 h 266399"/>
                <a:gd name="connsiteX2" fmla="*/ 321882 w 377040"/>
                <a:gd name="connsiteY2" fmla="*/ 117042 h 266399"/>
                <a:gd name="connsiteX3" fmla="*/ 321882 w 377040"/>
                <a:gd name="connsiteY3" fmla="*/ 58785 h 266399"/>
                <a:gd name="connsiteX4" fmla="*/ 290512 w 377040"/>
                <a:gd name="connsiteY4" fmla="*/ 27415 h 266399"/>
                <a:gd name="connsiteX5" fmla="*/ 290512 w 377040"/>
                <a:gd name="connsiteY5" fmla="*/ 0 h 266399"/>
                <a:gd name="connsiteX6" fmla="*/ 265337 w 377040"/>
                <a:gd name="connsiteY6" fmla="*/ 0 h 266399"/>
                <a:gd name="connsiteX7" fmla="*/ 265337 w 377040"/>
                <a:gd name="connsiteY7" fmla="*/ 39145 h 266399"/>
                <a:gd name="connsiteX8" fmla="*/ 235682 w 377040"/>
                <a:gd name="connsiteY8" fmla="*/ 68802 h 266399"/>
                <a:gd name="connsiteX9" fmla="*/ 169410 w 377040"/>
                <a:gd name="connsiteY9" fmla="*/ 68802 h 266399"/>
                <a:gd name="connsiteX10" fmla="*/ 169410 w 377040"/>
                <a:gd name="connsiteY10" fmla="*/ 69015 h 266399"/>
                <a:gd name="connsiteX11" fmla="*/ 153180 w 377040"/>
                <a:gd name="connsiteY11" fmla="*/ 85433 h 266399"/>
                <a:gd name="connsiteX12" fmla="*/ 126705 w 377040"/>
                <a:gd name="connsiteY12" fmla="*/ 85433 h 266399"/>
                <a:gd name="connsiteX13" fmla="*/ 126705 w 377040"/>
                <a:gd name="connsiteY13" fmla="*/ 68802 h 266399"/>
                <a:gd name="connsiteX14" fmla="*/ 86744 w 377040"/>
                <a:gd name="connsiteY14" fmla="*/ 68802 h 266399"/>
                <a:gd name="connsiteX15" fmla="*/ 69082 w 377040"/>
                <a:gd name="connsiteY15" fmla="*/ 51140 h 266399"/>
                <a:gd name="connsiteX16" fmla="*/ 33759 w 377040"/>
                <a:gd name="connsiteY16" fmla="*/ 51140 h 266399"/>
                <a:gd name="connsiteX17" fmla="*/ 10693 w 377040"/>
                <a:gd name="connsiteY17" fmla="*/ 74325 h 266399"/>
                <a:gd name="connsiteX18" fmla="*/ 0 w 377040"/>
                <a:gd name="connsiteY18" fmla="*/ 74318 h 266399"/>
                <a:gd name="connsiteX19" fmla="*/ 0 w 377040"/>
                <a:gd name="connsiteY19" fmla="*/ 117042 h 266399"/>
                <a:gd name="connsiteX20" fmla="*/ 111292 w 377040"/>
                <a:gd name="connsiteY20" fmla="*/ 228333 h 266399"/>
                <a:gd name="connsiteX21" fmla="*/ 175875 w 377040"/>
                <a:gd name="connsiteY21" fmla="*/ 228333 h 266399"/>
                <a:gd name="connsiteX22" fmla="*/ 213934 w 377040"/>
                <a:gd name="connsiteY22" fmla="*/ 266400 h 266399"/>
                <a:gd name="connsiteX23" fmla="*/ 213956 w 377040"/>
                <a:gd name="connsiteY23" fmla="*/ 266400 h 266399"/>
                <a:gd name="connsiteX24" fmla="*/ 296756 w 377040"/>
                <a:gd name="connsiteY24" fmla="*/ 266400 h 266399"/>
                <a:gd name="connsiteX25" fmla="*/ 311535 w 377040"/>
                <a:gd name="connsiteY25" fmla="*/ 251613 h 266399"/>
                <a:gd name="connsiteX26" fmla="*/ 311535 w 377040"/>
                <a:gd name="connsiteY26" fmla="*/ 251612 h 266399"/>
                <a:gd name="connsiteX27" fmla="*/ 311539 w 377040"/>
                <a:gd name="connsiteY27" fmla="*/ 251617 h 266399"/>
                <a:gd name="connsiteX28" fmla="*/ 322869 w 377040"/>
                <a:gd name="connsiteY28" fmla="*/ 240287 h 266399"/>
                <a:gd name="connsiteX29" fmla="*/ 377041 w 377040"/>
                <a:gd name="connsiteY29" fmla="*/ 240287 h 266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77040" h="266399">
                  <a:moveTo>
                    <a:pt x="280132" y="143378"/>
                  </a:moveTo>
                  <a:lnTo>
                    <a:pt x="280132" y="117042"/>
                  </a:lnTo>
                  <a:lnTo>
                    <a:pt x="321882" y="117042"/>
                  </a:lnTo>
                  <a:lnTo>
                    <a:pt x="321882" y="58785"/>
                  </a:lnTo>
                  <a:lnTo>
                    <a:pt x="290512" y="27415"/>
                  </a:lnTo>
                  <a:lnTo>
                    <a:pt x="290512" y="0"/>
                  </a:lnTo>
                  <a:lnTo>
                    <a:pt x="265337" y="0"/>
                  </a:lnTo>
                  <a:lnTo>
                    <a:pt x="265337" y="39145"/>
                  </a:lnTo>
                  <a:lnTo>
                    <a:pt x="235682" y="68802"/>
                  </a:lnTo>
                  <a:lnTo>
                    <a:pt x="169410" y="68802"/>
                  </a:lnTo>
                  <a:lnTo>
                    <a:pt x="169410" y="69015"/>
                  </a:lnTo>
                  <a:lnTo>
                    <a:pt x="153180" y="85433"/>
                  </a:lnTo>
                  <a:lnTo>
                    <a:pt x="126705" y="85433"/>
                  </a:lnTo>
                  <a:lnTo>
                    <a:pt x="126705" y="68802"/>
                  </a:lnTo>
                  <a:lnTo>
                    <a:pt x="86744" y="68802"/>
                  </a:lnTo>
                  <a:lnTo>
                    <a:pt x="69082" y="51140"/>
                  </a:lnTo>
                  <a:lnTo>
                    <a:pt x="33759" y="51140"/>
                  </a:lnTo>
                  <a:lnTo>
                    <a:pt x="10693" y="74325"/>
                  </a:lnTo>
                  <a:lnTo>
                    <a:pt x="0" y="74318"/>
                  </a:lnTo>
                  <a:lnTo>
                    <a:pt x="0" y="117042"/>
                  </a:lnTo>
                  <a:lnTo>
                    <a:pt x="111292" y="228333"/>
                  </a:lnTo>
                  <a:lnTo>
                    <a:pt x="175875" y="228333"/>
                  </a:lnTo>
                  <a:lnTo>
                    <a:pt x="213934" y="266400"/>
                  </a:lnTo>
                  <a:lnTo>
                    <a:pt x="213956" y="266400"/>
                  </a:lnTo>
                  <a:lnTo>
                    <a:pt x="296756" y="266400"/>
                  </a:lnTo>
                  <a:lnTo>
                    <a:pt x="311535" y="251613"/>
                  </a:lnTo>
                  <a:lnTo>
                    <a:pt x="311535" y="251612"/>
                  </a:lnTo>
                  <a:lnTo>
                    <a:pt x="311539" y="251617"/>
                  </a:lnTo>
                  <a:lnTo>
                    <a:pt x="322869" y="240287"/>
                  </a:lnTo>
                  <a:lnTo>
                    <a:pt x="377041" y="240287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9" name="Freeform: Shape 388">
              <a:extLst>
                <a:ext uri="{FF2B5EF4-FFF2-40B4-BE49-F238E27FC236}">
                  <a16:creationId xmlns:a16="http://schemas.microsoft.com/office/drawing/2014/main" id="{9AE8B4C7-D613-F336-94B1-2E88016A11B6}"/>
                </a:ext>
              </a:extLst>
            </p:cNvPr>
            <p:cNvSpPr/>
            <p:nvPr/>
          </p:nvSpPr>
          <p:spPr>
            <a:xfrm>
              <a:off x="7060740" y="4322100"/>
              <a:ext cx="55451" cy="49344"/>
            </a:xfrm>
            <a:custGeom>
              <a:avLst/>
              <a:gdLst>
                <a:gd name="connsiteX0" fmla="*/ 55452 w 55451"/>
                <a:gd name="connsiteY0" fmla="*/ 0 h 49344"/>
                <a:gd name="connsiteX1" fmla="*/ 16282 w 55451"/>
                <a:gd name="connsiteY1" fmla="*/ 0 h 49344"/>
                <a:gd name="connsiteX2" fmla="*/ 16282 w 55451"/>
                <a:gd name="connsiteY2" fmla="*/ 0 h 49344"/>
                <a:gd name="connsiteX3" fmla="*/ 0 w 55451"/>
                <a:gd name="connsiteY3" fmla="*/ 16282 h 49344"/>
                <a:gd name="connsiteX4" fmla="*/ 0 w 55451"/>
                <a:gd name="connsiteY4" fmla="*/ 49345 h 49344"/>
                <a:gd name="connsiteX5" fmla="*/ 31965 w 55451"/>
                <a:gd name="connsiteY5" fmla="*/ 49322 h 49344"/>
                <a:gd name="connsiteX6" fmla="*/ 55452 w 55451"/>
                <a:gd name="connsiteY6" fmla="*/ 26361 h 49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451" h="49344">
                  <a:moveTo>
                    <a:pt x="55452" y="0"/>
                  </a:moveTo>
                  <a:lnTo>
                    <a:pt x="16282" y="0"/>
                  </a:lnTo>
                  <a:lnTo>
                    <a:pt x="16282" y="0"/>
                  </a:lnTo>
                  <a:lnTo>
                    <a:pt x="0" y="16282"/>
                  </a:lnTo>
                  <a:lnTo>
                    <a:pt x="0" y="49345"/>
                  </a:lnTo>
                  <a:lnTo>
                    <a:pt x="31965" y="49322"/>
                  </a:lnTo>
                  <a:lnTo>
                    <a:pt x="55452" y="26361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0" name="Freeform: Shape 389">
              <a:extLst>
                <a:ext uri="{FF2B5EF4-FFF2-40B4-BE49-F238E27FC236}">
                  <a16:creationId xmlns:a16="http://schemas.microsoft.com/office/drawing/2014/main" id="{3AB84F8D-440F-14F1-33C6-9A492FA17344}"/>
                </a:ext>
              </a:extLst>
            </p:cNvPr>
            <p:cNvSpPr/>
            <p:nvPr/>
          </p:nvSpPr>
          <p:spPr>
            <a:xfrm>
              <a:off x="5768892" y="3926434"/>
              <a:ext cx="486660" cy="411408"/>
            </a:xfrm>
            <a:custGeom>
              <a:avLst/>
              <a:gdLst>
                <a:gd name="connsiteX0" fmla="*/ 472499 w 486660"/>
                <a:gd name="connsiteY0" fmla="*/ 115946 h 411408"/>
                <a:gd name="connsiteX1" fmla="*/ 472268 w 486660"/>
                <a:gd name="connsiteY1" fmla="*/ 53200 h 411408"/>
                <a:gd name="connsiteX2" fmla="*/ 446262 w 486660"/>
                <a:gd name="connsiteY2" fmla="*/ 27201 h 411408"/>
                <a:gd name="connsiteX3" fmla="*/ 374001 w 486660"/>
                <a:gd name="connsiteY3" fmla="*/ 27201 h 411408"/>
                <a:gd name="connsiteX4" fmla="*/ 346816 w 486660"/>
                <a:gd name="connsiteY4" fmla="*/ 0 h 411408"/>
                <a:gd name="connsiteX5" fmla="*/ 218398 w 486660"/>
                <a:gd name="connsiteY5" fmla="*/ 145149 h 411408"/>
                <a:gd name="connsiteX6" fmla="*/ 192878 w 486660"/>
                <a:gd name="connsiteY6" fmla="*/ 145149 h 411408"/>
                <a:gd name="connsiteX7" fmla="*/ 169978 w 486660"/>
                <a:gd name="connsiteY7" fmla="*/ 168033 h 411408"/>
                <a:gd name="connsiteX8" fmla="*/ 151648 w 486660"/>
                <a:gd name="connsiteY8" fmla="*/ 168033 h 411408"/>
                <a:gd name="connsiteX9" fmla="*/ 151648 w 486660"/>
                <a:gd name="connsiteY9" fmla="*/ 275866 h 411408"/>
                <a:gd name="connsiteX10" fmla="*/ 127783 w 486660"/>
                <a:gd name="connsiteY10" fmla="*/ 299746 h 411408"/>
                <a:gd name="connsiteX11" fmla="*/ 78407 w 486660"/>
                <a:gd name="connsiteY11" fmla="*/ 299746 h 411408"/>
                <a:gd name="connsiteX12" fmla="*/ 43965 w 486660"/>
                <a:gd name="connsiteY12" fmla="*/ 299746 h 411408"/>
                <a:gd name="connsiteX13" fmla="*/ 28593 w 486660"/>
                <a:gd name="connsiteY13" fmla="*/ 284374 h 411408"/>
                <a:gd name="connsiteX14" fmla="*/ 0 w 486660"/>
                <a:gd name="connsiteY14" fmla="*/ 312960 h 411408"/>
                <a:gd name="connsiteX15" fmla="*/ 61264 w 486660"/>
                <a:gd name="connsiteY15" fmla="*/ 357584 h 411408"/>
                <a:gd name="connsiteX16" fmla="*/ 61264 w 486660"/>
                <a:gd name="connsiteY16" fmla="*/ 386111 h 411408"/>
                <a:gd name="connsiteX17" fmla="*/ 86562 w 486660"/>
                <a:gd name="connsiteY17" fmla="*/ 411409 h 411408"/>
                <a:gd name="connsiteX18" fmla="*/ 86698 w 486660"/>
                <a:gd name="connsiteY18" fmla="*/ 411396 h 411408"/>
                <a:gd name="connsiteX19" fmla="*/ 86698 w 486660"/>
                <a:gd name="connsiteY19" fmla="*/ 390393 h 411408"/>
                <a:gd name="connsiteX20" fmla="*/ 108490 w 486660"/>
                <a:gd name="connsiteY20" fmla="*/ 390393 h 411408"/>
                <a:gd name="connsiteX21" fmla="*/ 125963 w 486660"/>
                <a:gd name="connsiteY21" fmla="*/ 407866 h 411408"/>
                <a:gd name="connsiteX22" fmla="*/ 155586 w 486660"/>
                <a:gd name="connsiteY22" fmla="*/ 378251 h 411408"/>
                <a:gd name="connsiteX23" fmla="*/ 155586 w 486660"/>
                <a:gd name="connsiteY23" fmla="*/ 342344 h 411408"/>
                <a:gd name="connsiteX24" fmla="*/ 182498 w 486660"/>
                <a:gd name="connsiteY24" fmla="*/ 342344 h 411408"/>
                <a:gd name="connsiteX25" fmla="*/ 227106 w 486660"/>
                <a:gd name="connsiteY25" fmla="*/ 386968 h 411408"/>
                <a:gd name="connsiteX26" fmla="*/ 249800 w 486660"/>
                <a:gd name="connsiteY26" fmla="*/ 364264 h 411408"/>
                <a:gd name="connsiteX27" fmla="*/ 270107 w 486660"/>
                <a:gd name="connsiteY27" fmla="*/ 364264 h 411408"/>
                <a:gd name="connsiteX28" fmla="*/ 299515 w 486660"/>
                <a:gd name="connsiteY28" fmla="*/ 364264 h 411408"/>
                <a:gd name="connsiteX29" fmla="*/ 322054 w 486660"/>
                <a:gd name="connsiteY29" fmla="*/ 341726 h 411408"/>
                <a:gd name="connsiteX30" fmla="*/ 336123 w 486660"/>
                <a:gd name="connsiteY30" fmla="*/ 355779 h 411408"/>
                <a:gd name="connsiteX31" fmla="*/ 368037 w 486660"/>
                <a:gd name="connsiteY31" fmla="*/ 355779 h 411408"/>
                <a:gd name="connsiteX32" fmla="*/ 382090 w 486660"/>
                <a:gd name="connsiteY32" fmla="*/ 369857 h 411408"/>
                <a:gd name="connsiteX33" fmla="*/ 398557 w 486660"/>
                <a:gd name="connsiteY33" fmla="*/ 353390 h 411408"/>
                <a:gd name="connsiteX34" fmla="*/ 399249 w 486660"/>
                <a:gd name="connsiteY34" fmla="*/ 352706 h 411408"/>
                <a:gd name="connsiteX35" fmla="*/ 441550 w 486660"/>
                <a:gd name="connsiteY35" fmla="*/ 310398 h 411408"/>
                <a:gd name="connsiteX36" fmla="*/ 441550 w 486660"/>
                <a:gd name="connsiteY36" fmla="*/ 275866 h 411408"/>
                <a:gd name="connsiteX37" fmla="*/ 486660 w 486660"/>
                <a:gd name="connsiteY37" fmla="*/ 275866 h 411408"/>
                <a:gd name="connsiteX38" fmla="*/ 486660 w 486660"/>
                <a:gd name="connsiteY38" fmla="*/ 169574 h 411408"/>
                <a:gd name="connsiteX39" fmla="*/ 486660 w 486660"/>
                <a:gd name="connsiteY39" fmla="*/ 130099 h 411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86660" h="411408">
                  <a:moveTo>
                    <a:pt x="472499" y="115946"/>
                  </a:moveTo>
                  <a:lnTo>
                    <a:pt x="472268" y="53200"/>
                  </a:lnTo>
                  <a:lnTo>
                    <a:pt x="446262" y="27201"/>
                  </a:lnTo>
                  <a:lnTo>
                    <a:pt x="374001" y="27201"/>
                  </a:lnTo>
                  <a:lnTo>
                    <a:pt x="346816" y="0"/>
                  </a:lnTo>
                  <a:lnTo>
                    <a:pt x="218398" y="145149"/>
                  </a:lnTo>
                  <a:lnTo>
                    <a:pt x="192878" y="145149"/>
                  </a:lnTo>
                  <a:lnTo>
                    <a:pt x="169978" y="168033"/>
                  </a:lnTo>
                  <a:lnTo>
                    <a:pt x="151648" y="168033"/>
                  </a:lnTo>
                  <a:lnTo>
                    <a:pt x="151648" y="275866"/>
                  </a:lnTo>
                  <a:lnTo>
                    <a:pt x="127783" y="299746"/>
                  </a:lnTo>
                  <a:lnTo>
                    <a:pt x="78407" y="299746"/>
                  </a:lnTo>
                  <a:lnTo>
                    <a:pt x="43965" y="299746"/>
                  </a:lnTo>
                  <a:lnTo>
                    <a:pt x="28593" y="284374"/>
                  </a:lnTo>
                  <a:lnTo>
                    <a:pt x="0" y="312960"/>
                  </a:lnTo>
                  <a:lnTo>
                    <a:pt x="61264" y="357584"/>
                  </a:lnTo>
                  <a:lnTo>
                    <a:pt x="61264" y="386111"/>
                  </a:lnTo>
                  <a:lnTo>
                    <a:pt x="86562" y="411409"/>
                  </a:lnTo>
                  <a:lnTo>
                    <a:pt x="86698" y="411396"/>
                  </a:lnTo>
                  <a:lnTo>
                    <a:pt x="86698" y="390393"/>
                  </a:lnTo>
                  <a:lnTo>
                    <a:pt x="108490" y="390393"/>
                  </a:lnTo>
                  <a:lnTo>
                    <a:pt x="125963" y="407866"/>
                  </a:lnTo>
                  <a:lnTo>
                    <a:pt x="155586" y="378251"/>
                  </a:lnTo>
                  <a:lnTo>
                    <a:pt x="155586" y="342344"/>
                  </a:lnTo>
                  <a:lnTo>
                    <a:pt x="182498" y="342344"/>
                  </a:lnTo>
                  <a:lnTo>
                    <a:pt x="227106" y="386968"/>
                  </a:lnTo>
                  <a:lnTo>
                    <a:pt x="249800" y="364264"/>
                  </a:lnTo>
                  <a:lnTo>
                    <a:pt x="270107" y="364264"/>
                  </a:lnTo>
                  <a:lnTo>
                    <a:pt x="299515" y="364264"/>
                  </a:lnTo>
                  <a:lnTo>
                    <a:pt x="322054" y="341726"/>
                  </a:lnTo>
                  <a:lnTo>
                    <a:pt x="336123" y="355779"/>
                  </a:lnTo>
                  <a:lnTo>
                    <a:pt x="368037" y="355779"/>
                  </a:lnTo>
                  <a:lnTo>
                    <a:pt x="382090" y="369857"/>
                  </a:lnTo>
                  <a:lnTo>
                    <a:pt x="398557" y="353390"/>
                  </a:lnTo>
                  <a:lnTo>
                    <a:pt x="399249" y="352706"/>
                  </a:lnTo>
                  <a:lnTo>
                    <a:pt x="441550" y="310398"/>
                  </a:lnTo>
                  <a:lnTo>
                    <a:pt x="441550" y="275866"/>
                  </a:lnTo>
                  <a:lnTo>
                    <a:pt x="486660" y="275866"/>
                  </a:lnTo>
                  <a:lnTo>
                    <a:pt x="486660" y="169574"/>
                  </a:lnTo>
                  <a:lnTo>
                    <a:pt x="486660" y="130099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1" name="Freeform: Shape 390">
              <a:extLst>
                <a:ext uri="{FF2B5EF4-FFF2-40B4-BE49-F238E27FC236}">
                  <a16:creationId xmlns:a16="http://schemas.microsoft.com/office/drawing/2014/main" id="{BF34177B-A3E1-96C7-1D61-FDEA3F10FD60}"/>
                </a:ext>
              </a:extLst>
            </p:cNvPr>
            <p:cNvSpPr/>
            <p:nvPr/>
          </p:nvSpPr>
          <p:spPr>
            <a:xfrm>
              <a:off x="5808958" y="4316827"/>
              <a:ext cx="85897" cy="193752"/>
            </a:xfrm>
            <a:custGeom>
              <a:avLst/>
              <a:gdLst>
                <a:gd name="connsiteX0" fmla="*/ 68425 w 85897"/>
                <a:gd name="connsiteY0" fmla="*/ 0 h 193752"/>
                <a:gd name="connsiteX1" fmla="*/ 46632 w 85897"/>
                <a:gd name="connsiteY1" fmla="*/ 0 h 193752"/>
                <a:gd name="connsiteX2" fmla="*/ 46632 w 85897"/>
                <a:gd name="connsiteY2" fmla="*/ 21003 h 193752"/>
                <a:gd name="connsiteX3" fmla="*/ 29893 w 85897"/>
                <a:gd name="connsiteY3" fmla="*/ 37433 h 193752"/>
                <a:gd name="connsiteX4" fmla="*/ 0 w 85897"/>
                <a:gd name="connsiteY4" fmla="*/ 37452 h 193752"/>
                <a:gd name="connsiteX5" fmla="*/ 0 w 85897"/>
                <a:gd name="connsiteY5" fmla="*/ 66430 h 193752"/>
                <a:gd name="connsiteX6" fmla="*/ 12060 w 85897"/>
                <a:gd name="connsiteY6" fmla="*/ 78490 h 193752"/>
                <a:gd name="connsiteX7" fmla="*/ 12060 w 85897"/>
                <a:gd name="connsiteY7" fmla="*/ 92000 h 193752"/>
                <a:gd name="connsiteX8" fmla="*/ 21912 w 85897"/>
                <a:gd name="connsiteY8" fmla="*/ 101852 h 193752"/>
                <a:gd name="connsiteX9" fmla="*/ 21912 w 85897"/>
                <a:gd name="connsiteY9" fmla="*/ 186503 h 193752"/>
                <a:gd name="connsiteX10" fmla="*/ 29162 w 85897"/>
                <a:gd name="connsiteY10" fmla="*/ 193753 h 193752"/>
                <a:gd name="connsiteX11" fmla="*/ 53012 w 85897"/>
                <a:gd name="connsiteY11" fmla="*/ 193753 h 193752"/>
                <a:gd name="connsiteX12" fmla="*/ 53012 w 85897"/>
                <a:gd name="connsiteY12" fmla="*/ 102554 h 193752"/>
                <a:gd name="connsiteX13" fmla="*/ 85897 w 85897"/>
                <a:gd name="connsiteY13" fmla="*/ 69653 h 193752"/>
                <a:gd name="connsiteX14" fmla="*/ 85897 w 85897"/>
                <a:gd name="connsiteY14" fmla="*/ 17473 h 19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897" h="193752">
                  <a:moveTo>
                    <a:pt x="68425" y="0"/>
                  </a:moveTo>
                  <a:lnTo>
                    <a:pt x="46632" y="0"/>
                  </a:lnTo>
                  <a:lnTo>
                    <a:pt x="46632" y="21003"/>
                  </a:lnTo>
                  <a:lnTo>
                    <a:pt x="29893" y="37433"/>
                  </a:lnTo>
                  <a:lnTo>
                    <a:pt x="0" y="37452"/>
                  </a:lnTo>
                  <a:lnTo>
                    <a:pt x="0" y="66430"/>
                  </a:lnTo>
                  <a:lnTo>
                    <a:pt x="12060" y="78490"/>
                  </a:lnTo>
                  <a:lnTo>
                    <a:pt x="12060" y="92000"/>
                  </a:lnTo>
                  <a:lnTo>
                    <a:pt x="21912" y="101852"/>
                  </a:lnTo>
                  <a:lnTo>
                    <a:pt x="21912" y="186503"/>
                  </a:lnTo>
                  <a:lnTo>
                    <a:pt x="29162" y="193753"/>
                  </a:lnTo>
                  <a:lnTo>
                    <a:pt x="53012" y="193753"/>
                  </a:lnTo>
                  <a:lnTo>
                    <a:pt x="53012" y="102554"/>
                  </a:lnTo>
                  <a:lnTo>
                    <a:pt x="85897" y="69653"/>
                  </a:lnTo>
                  <a:lnTo>
                    <a:pt x="85897" y="17473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2" name="Freeform: Shape 391">
              <a:extLst>
                <a:ext uri="{FF2B5EF4-FFF2-40B4-BE49-F238E27FC236}">
                  <a16:creationId xmlns:a16="http://schemas.microsoft.com/office/drawing/2014/main" id="{AD7FC45E-A632-B594-7B77-0BAD5C2F31E8}"/>
                </a:ext>
              </a:extLst>
            </p:cNvPr>
            <p:cNvSpPr/>
            <p:nvPr/>
          </p:nvSpPr>
          <p:spPr>
            <a:xfrm>
              <a:off x="5688541" y="4354293"/>
              <a:ext cx="135372" cy="217022"/>
            </a:xfrm>
            <a:custGeom>
              <a:avLst/>
              <a:gdLst>
                <a:gd name="connsiteX0" fmla="*/ 115579 w 135372"/>
                <a:gd name="connsiteY0" fmla="*/ 59016 h 217022"/>
                <a:gd name="connsiteX1" fmla="*/ 107473 w 135372"/>
                <a:gd name="connsiteY1" fmla="*/ 59016 h 217022"/>
                <a:gd name="connsiteX2" fmla="*/ 107473 w 135372"/>
                <a:gd name="connsiteY2" fmla="*/ 27514 h 217022"/>
                <a:gd name="connsiteX3" fmla="*/ 97654 w 135372"/>
                <a:gd name="connsiteY3" fmla="*/ 17695 h 217022"/>
                <a:gd name="connsiteX4" fmla="*/ 97654 w 135372"/>
                <a:gd name="connsiteY4" fmla="*/ 0 h 217022"/>
                <a:gd name="connsiteX5" fmla="*/ 29540 w 135372"/>
                <a:gd name="connsiteY5" fmla="*/ 42 h 217022"/>
                <a:gd name="connsiteX6" fmla="*/ 0 w 135372"/>
                <a:gd name="connsiteY6" fmla="*/ 29566 h 217022"/>
                <a:gd name="connsiteX7" fmla="*/ 2505 w 135372"/>
                <a:gd name="connsiteY7" fmla="*/ 29566 h 217022"/>
                <a:gd name="connsiteX8" fmla="*/ 7521 w 135372"/>
                <a:gd name="connsiteY8" fmla="*/ 29566 h 217022"/>
                <a:gd name="connsiteX9" fmla="*/ 8221 w 135372"/>
                <a:gd name="connsiteY9" fmla="*/ 29566 h 217022"/>
                <a:gd name="connsiteX10" fmla="*/ 8221 w 135372"/>
                <a:gd name="connsiteY10" fmla="*/ 63126 h 217022"/>
                <a:gd name="connsiteX11" fmla="*/ 32078 w 135372"/>
                <a:gd name="connsiteY11" fmla="*/ 86991 h 217022"/>
                <a:gd name="connsiteX12" fmla="*/ 32078 w 135372"/>
                <a:gd name="connsiteY12" fmla="*/ 116462 h 217022"/>
                <a:gd name="connsiteX13" fmla="*/ 7521 w 135372"/>
                <a:gd name="connsiteY13" fmla="*/ 141035 h 217022"/>
                <a:gd name="connsiteX14" fmla="*/ 7521 w 135372"/>
                <a:gd name="connsiteY14" fmla="*/ 203439 h 217022"/>
                <a:gd name="connsiteX15" fmla="*/ 21105 w 135372"/>
                <a:gd name="connsiteY15" fmla="*/ 217023 h 217022"/>
                <a:gd name="connsiteX16" fmla="*/ 63835 w 135372"/>
                <a:gd name="connsiteY16" fmla="*/ 174344 h 217022"/>
                <a:gd name="connsiteX17" fmla="*/ 117536 w 135372"/>
                <a:gd name="connsiteY17" fmla="*/ 174344 h 217022"/>
                <a:gd name="connsiteX18" fmla="*/ 135373 w 135372"/>
                <a:gd name="connsiteY18" fmla="*/ 156507 h 217022"/>
                <a:gd name="connsiteX19" fmla="*/ 115579 w 135372"/>
                <a:gd name="connsiteY19" fmla="*/ 136714 h 217022"/>
                <a:gd name="connsiteX20" fmla="*/ 115579 w 135372"/>
                <a:gd name="connsiteY20" fmla="*/ 59016 h 217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5372" h="217022">
                  <a:moveTo>
                    <a:pt x="115579" y="59016"/>
                  </a:moveTo>
                  <a:lnTo>
                    <a:pt x="107473" y="59016"/>
                  </a:lnTo>
                  <a:cubicBezTo>
                    <a:pt x="107473" y="59016"/>
                    <a:pt x="106814" y="27514"/>
                    <a:pt x="107473" y="27514"/>
                  </a:cubicBezTo>
                  <a:cubicBezTo>
                    <a:pt x="108132" y="27514"/>
                    <a:pt x="97654" y="17695"/>
                    <a:pt x="97654" y="17695"/>
                  </a:cubicBezTo>
                  <a:lnTo>
                    <a:pt x="97654" y="0"/>
                  </a:lnTo>
                  <a:lnTo>
                    <a:pt x="29540" y="42"/>
                  </a:lnTo>
                  <a:lnTo>
                    <a:pt x="0" y="29566"/>
                  </a:lnTo>
                  <a:lnTo>
                    <a:pt x="2505" y="29566"/>
                  </a:lnTo>
                  <a:lnTo>
                    <a:pt x="7521" y="29566"/>
                  </a:lnTo>
                  <a:lnTo>
                    <a:pt x="8221" y="29566"/>
                  </a:lnTo>
                  <a:lnTo>
                    <a:pt x="8221" y="63126"/>
                  </a:lnTo>
                  <a:lnTo>
                    <a:pt x="32078" y="86991"/>
                  </a:lnTo>
                  <a:lnTo>
                    <a:pt x="32078" y="116462"/>
                  </a:lnTo>
                  <a:lnTo>
                    <a:pt x="7521" y="141035"/>
                  </a:lnTo>
                  <a:lnTo>
                    <a:pt x="7521" y="203439"/>
                  </a:lnTo>
                  <a:lnTo>
                    <a:pt x="21105" y="217023"/>
                  </a:lnTo>
                  <a:lnTo>
                    <a:pt x="63835" y="174344"/>
                  </a:lnTo>
                  <a:lnTo>
                    <a:pt x="117536" y="174344"/>
                  </a:lnTo>
                  <a:lnTo>
                    <a:pt x="135373" y="156507"/>
                  </a:lnTo>
                  <a:lnTo>
                    <a:pt x="115579" y="136714"/>
                  </a:lnTo>
                  <a:lnTo>
                    <a:pt x="115579" y="59016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3" name="Freeform: Shape 392">
              <a:extLst>
                <a:ext uri="{FF2B5EF4-FFF2-40B4-BE49-F238E27FC236}">
                  <a16:creationId xmlns:a16="http://schemas.microsoft.com/office/drawing/2014/main" id="{0926D456-D64E-574A-BC95-F31C4EC345E5}"/>
                </a:ext>
              </a:extLst>
            </p:cNvPr>
            <p:cNvSpPr/>
            <p:nvPr/>
          </p:nvSpPr>
          <p:spPr>
            <a:xfrm>
              <a:off x="5786195" y="4354279"/>
              <a:ext cx="51924" cy="156520"/>
            </a:xfrm>
            <a:custGeom>
              <a:avLst/>
              <a:gdLst>
                <a:gd name="connsiteX0" fmla="*/ 44675 w 51924"/>
                <a:gd name="connsiteY0" fmla="*/ 64400 h 156520"/>
                <a:gd name="connsiteX1" fmla="*/ 34822 w 51924"/>
                <a:gd name="connsiteY1" fmla="*/ 54548 h 156520"/>
                <a:gd name="connsiteX2" fmla="*/ 34822 w 51924"/>
                <a:gd name="connsiteY2" fmla="*/ 41038 h 156520"/>
                <a:gd name="connsiteX3" fmla="*/ 22762 w 51924"/>
                <a:gd name="connsiteY3" fmla="*/ 28978 h 156520"/>
                <a:gd name="connsiteX4" fmla="*/ 22762 w 51924"/>
                <a:gd name="connsiteY4" fmla="*/ 0 h 156520"/>
                <a:gd name="connsiteX5" fmla="*/ 0 w 51924"/>
                <a:gd name="connsiteY5" fmla="*/ 14 h 156520"/>
                <a:gd name="connsiteX6" fmla="*/ 0 w 51924"/>
                <a:gd name="connsiteY6" fmla="*/ 17709 h 156520"/>
                <a:gd name="connsiteX7" fmla="*/ 9819 w 51924"/>
                <a:gd name="connsiteY7" fmla="*/ 27528 h 156520"/>
                <a:gd name="connsiteX8" fmla="*/ 9819 w 51924"/>
                <a:gd name="connsiteY8" fmla="*/ 59029 h 156520"/>
                <a:gd name="connsiteX9" fmla="*/ 17925 w 51924"/>
                <a:gd name="connsiteY9" fmla="*/ 59029 h 156520"/>
                <a:gd name="connsiteX10" fmla="*/ 17925 w 51924"/>
                <a:gd name="connsiteY10" fmla="*/ 136728 h 156520"/>
                <a:gd name="connsiteX11" fmla="*/ 37718 w 51924"/>
                <a:gd name="connsiteY11" fmla="*/ 156521 h 156520"/>
                <a:gd name="connsiteX12" fmla="*/ 37939 w 51924"/>
                <a:gd name="connsiteY12" fmla="*/ 156301 h 156520"/>
                <a:gd name="connsiteX13" fmla="*/ 51924 w 51924"/>
                <a:gd name="connsiteY13" fmla="*/ 156301 h 156520"/>
                <a:gd name="connsiteX14" fmla="*/ 44675 w 51924"/>
                <a:gd name="connsiteY14" fmla="*/ 149051 h 156520"/>
                <a:gd name="connsiteX15" fmla="*/ 44675 w 51924"/>
                <a:gd name="connsiteY15" fmla="*/ 64400 h 156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1924" h="156520">
                  <a:moveTo>
                    <a:pt x="44675" y="64400"/>
                  </a:moveTo>
                  <a:lnTo>
                    <a:pt x="34822" y="54548"/>
                  </a:lnTo>
                  <a:lnTo>
                    <a:pt x="34822" y="41038"/>
                  </a:lnTo>
                  <a:lnTo>
                    <a:pt x="22762" y="28978"/>
                  </a:lnTo>
                  <a:lnTo>
                    <a:pt x="22762" y="0"/>
                  </a:lnTo>
                  <a:lnTo>
                    <a:pt x="0" y="14"/>
                  </a:lnTo>
                  <a:lnTo>
                    <a:pt x="0" y="17709"/>
                  </a:lnTo>
                  <a:cubicBezTo>
                    <a:pt x="0" y="17709"/>
                    <a:pt x="10478" y="27528"/>
                    <a:pt x="9819" y="27528"/>
                  </a:cubicBezTo>
                  <a:cubicBezTo>
                    <a:pt x="9160" y="27528"/>
                    <a:pt x="9819" y="59029"/>
                    <a:pt x="9819" y="59029"/>
                  </a:cubicBezTo>
                  <a:lnTo>
                    <a:pt x="17925" y="59029"/>
                  </a:lnTo>
                  <a:lnTo>
                    <a:pt x="17925" y="136728"/>
                  </a:lnTo>
                  <a:lnTo>
                    <a:pt x="37718" y="156521"/>
                  </a:lnTo>
                  <a:lnTo>
                    <a:pt x="37939" y="156301"/>
                  </a:lnTo>
                  <a:lnTo>
                    <a:pt x="51924" y="156301"/>
                  </a:lnTo>
                  <a:lnTo>
                    <a:pt x="44675" y="149051"/>
                  </a:lnTo>
                  <a:lnTo>
                    <a:pt x="44675" y="64400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4" name="Freeform: Shape 393">
              <a:extLst>
                <a:ext uri="{FF2B5EF4-FFF2-40B4-BE49-F238E27FC236}">
                  <a16:creationId xmlns:a16="http://schemas.microsoft.com/office/drawing/2014/main" id="{0D6D6F28-9B05-2A5F-529A-B8221DEAD974}"/>
                </a:ext>
              </a:extLst>
            </p:cNvPr>
            <p:cNvSpPr/>
            <p:nvPr/>
          </p:nvSpPr>
          <p:spPr>
            <a:xfrm>
              <a:off x="7874012" y="3549136"/>
              <a:ext cx="884994" cy="900005"/>
            </a:xfrm>
            <a:custGeom>
              <a:avLst/>
              <a:gdLst>
                <a:gd name="connsiteX0" fmla="*/ 846656 w 884994"/>
                <a:gd name="connsiteY0" fmla="*/ 225543 h 900005"/>
                <a:gd name="connsiteX1" fmla="*/ 820180 w 884994"/>
                <a:gd name="connsiteY1" fmla="*/ 199042 h 900005"/>
                <a:gd name="connsiteX2" fmla="*/ 767179 w 884994"/>
                <a:gd name="connsiteY2" fmla="*/ 252043 h 900005"/>
                <a:gd name="connsiteX3" fmla="*/ 736172 w 884994"/>
                <a:gd name="connsiteY3" fmla="*/ 283059 h 900005"/>
                <a:gd name="connsiteX4" fmla="*/ 736172 w 884994"/>
                <a:gd name="connsiteY4" fmla="*/ 299311 h 900005"/>
                <a:gd name="connsiteX5" fmla="*/ 736172 w 884994"/>
                <a:gd name="connsiteY5" fmla="*/ 323407 h 900005"/>
                <a:gd name="connsiteX6" fmla="*/ 697916 w 884994"/>
                <a:gd name="connsiteY6" fmla="*/ 323407 h 900005"/>
                <a:gd name="connsiteX7" fmla="*/ 678343 w 884994"/>
                <a:gd name="connsiteY7" fmla="*/ 303817 h 900005"/>
                <a:gd name="connsiteX8" fmla="*/ 651571 w 884994"/>
                <a:gd name="connsiteY8" fmla="*/ 303817 h 900005"/>
                <a:gd name="connsiteX9" fmla="*/ 651561 w 884994"/>
                <a:gd name="connsiteY9" fmla="*/ 282608 h 900005"/>
                <a:gd name="connsiteX10" fmla="*/ 628769 w 884994"/>
                <a:gd name="connsiteY10" fmla="*/ 259931 h 900005"/>
                <a:gd name="connsiteX11" fmla="*/ 607850 w 884994"/>
                <a:gd name="connsiteY11" fmla="*/ 259935 h 900005"/>
                <a:gd name="connsiteX12" fmla="*/ 607844 w 884994"/>
                <a:gd name="connsiteY12" fmla="*/ 292334 h 900005"/>
                <a:gd name="connsiteX13" fmla="*/ 621130 w 884994"/>
                <a:gd name="connsiteY13" fmla="*/ 305762 h 900005"/>
                <a:gd name="connsiteX14" fmla="*/ 621121 w 884994"/>
                <a:gd name="connsiteY14" fmla="*/ 326688 h 900005"/>
                <a:gd name="connsiteX15" fmla="*/ 536432 w 884994"/>
                <a:gd name="connsiteY15" fmla="*/ 326669 h 900005"/>
                <a:gd name="connsiteX16" fmla="*/ 494420 w 884994"/>
                <a:gd name="connsiteY16" fmla="*/ 284648 h 900005"/>
                <a:gd name="connsiteX17" fmla="*/ 426664 w 884994"/>
                <a:gd name="connsiteY17" fmla="*/ 284648 h 900005"/>
                <a:gd name="connsiteX18" fmla="*/ 398145 w 884994"/>
                <a:gd name="connsiteY18" fmla="*/ 256129 h 900005"/>
                <a:gd name="connsiteX19" fmla="*/ 365574 w 884994"/>
                <a:gd name="connsiteY19" fmla="*/ 256129 h 900005"/>
                <a:gd name="connsiteX20" fmla="*/ 338801 w 884994"/>
                <a:gd name="connsiteY20" fmla="*/ 229373 h 900005"/>
                <a:gd name="connsiteX21" fmla="*/ 375112 w 884994"/>
                <a:gd name="connsiteY21" fmla="*/ 193069 h 900005"/>
                <a:gd name="connsiteX22" fmla="*/ 350564 w 884994"/>
                <a:gd name="connsiteY22" fmla="*/ 168521 h 900005"/>
                <a:gd name="connsiteX23" fmla="*/ 321666 w 884994"/>
                <a:gd name="connsiteY23" fmla="*/ 139657 h 900005"/>
                <a:gd name="connsiteX24" fmla="*/ 321666 w 884994"/>
                <a:gd name="connsiteY24" fmla="*/ 112529 h 900005"/>
                <a:gd name="connsiteX25" fmla="*/ 321666 w 884994"/>
                <a:gd name="connsiteY25" fmla="*/ 93220 h 900005"/>
                <a:gd name="connsiteX26" fmla="*/ 340597 w 884994"/>
                <a:gd name="connsiteY26" fmla="*/ 112134 h 900005"/>
                <a:gd name="connsiteX27" fmla="*/ 359417 w 884994"/>
                <a:gd name="connsiteY27" fmla="*/ 93280 h 900005"/>
                <a:gd name="connsiteX28" fmla="*/ 327987 w 884994"/>
                <a:gd name="connsiteY28" fmla="*/ 61850 h 900005"/>
                <a:gd name="connsiteX29" fmla="*/ 327987 w 884994"/>
                <a:gd name="connsiteY29" fmla="*/ 27639 h 900005"/>
                <a:gd name="connsiteX30" fmla="*/ 311949 w 884994"/>
                <a:gd name="connsiteY30" fmla="*/ 11600 h 900005"/>
                <a:gd name="connsiteX31" fmla="*/ 311949 w 884994"/>
                <a:gd name="connsiteY31" fmla="*/ 0 h 900005"/>
                <a:gd name="connsiteX32" fmla="*/ 311881 w 884994"/>
                <a:gd name="connsiteY32" fmla="*/ 68 h 900005"/>
                <a:gd name="connsiteX33" fmla="*/ 282831 w 884994"/>
                <a:gd name="connsiteY33" fmla="*/ 68 h 900005"/>
                <a:gd name="connsiteX34" fmla="*/ 244566 w 884994"/>
                <a:gd name="connsiteY34" fmla="*/ 38332 h 900005"/>
                <a:gd name="connsiteX35" fmla="*/ 179327 w 884994"/>
                <a:gd name="connsiteY35" fmla="*/ 38332 h 900005"/>
                <a:gd name="connsiteX36" fmla="*/ 179327 w 884994"/>
                <a:gd name="connsiteY36" fmla="*/ 81167 h 900005"/>
                <a:gd name="connsiteX37" fmla="*/ 186525 w 884994"/>
                <a:gd name="connsiteY37" fmla="*/ 88364 h 900005"/>
                <a:gd name="connsiteX38" fmla="*/ 178591 w 884994"/>
                <a:gd name="connsiteY38" fmla="*/ 96298 h 900005"/>
                <a:gd name="connsiteX39" fmla="*/ 195579 w 884994"/>
                <a:gd name="connsiteY39" fmla="*/ 113287 h 900005"/>
                <a:gd name="connsiteX40" fmla="*/ 195579 w 884994"/>
                <a:gd name="connsiteY40" fmla="*/ 161404 h 900005"/>
                <a:gd name="connsiteX41" fmla="*/ 169713 w 884994"/>
                <a:gd name="connsiteY41" fmla="*/ 187237 h 900005"/>
                <a:gd name="connsiteX42" fmla="*/ 126548 w 884994"/>
                <a:gd name="connsiteY42" fmla="*/ 230428 h 900005"/>
                <a:gd name="connsiteX43" fmla="*/ 90088 w 884994"/>
                <a:gd name="connsiteY43" fmla="*/ 266879 h 900005"/>
                <a:gd name="connsiteX44" fmla="*/ 56049 w 884994"/>
                <a:gd name="connsiteY44" fmla="*/ 266879 h 900005"/>
                <a:gd name="connsiteX45" fmla="*/ 56049 w 884994"/>
                <a:gd name="connsiteY45" fmla="*/ 310432 h 900005"/>
                <a:gd name="connsiteX46" fmla="*/ 78950 w 884994"/>
                <a:gd name="connsiteY46" fmla="*/ 333341 h 900005"/>
                <a:gd name="connsiteX47" fmla="*/ 78950 w 884994"/>
                <a:gd name="connsiteY47" fmla="*/ 386936 h 900005"/>
                <a:gd name="connsiteX48" fmla="*/ 0 w 884994"/>
                <a:gd name="connsiteY48" fmla="*/ 386936 h 900005"/>
                <a:gd name="connsiteX49" fmla="*/ 0 w 884994"/>
                <a:gd name="connsiteY49" fmla="*/ 409516 h 900005"/>
                <a:gd name="connsiteX50" fmla="*/ 6062 w 884994"/>
                <a:gd name="connsiteY50" fmla="*/ 415530 h 900005"/>
                <a:gd name="connsiteX51" fmla="*/ 65193 w 884994"/>
                <a:gd name="connsiteY51" fmla="*/ 415530 h 900005"/>
                <a:gd name="connsiteX52" fmla="*/ 65193 w 884994"/>
                <a:gd name="connsiteY52" fmla="*/ 433899 h 900005"/>
                <a:gd name="connsiteX53" fmla="*/ 35818 w 884994"/>
                <a:gd name="connsiteY53" fmla="*/ 463242 h 900005"/>
                <a:gd name="connsiteX54" fmla="*/ 68719 w 884994"/>
                <a:gd name="connsiteY54" fmla="*/ 496102 h 900005"/>
                <a:gd name="connsiteX55" fmla="*/ 105064 w 884994"/>
                <a:gd name="connsiteY55" fmla="*/ 496102 h 900005"/>
                <a:gd name="connsiteX56" fmla="*/ 144424 w 884994"/>
                <a:gd name="connsiteY56" fmla="*/ 456792 h 900005"/>
                <a:gd name="connsiteX57" fmla="*/ 160256 w 884994"/>
                <a:gd name="connsiteY57" fmla="*/ 472633 h 900005"/>
                <a:gd name="connsiteX58" fmla="*/ 127405 w 884994"/>
                <a:gd name="connsiteY58" fmla="*/ 505493 h 900005"/>
                <a:gd name="connsiteX59" fmla="*/ 127405 w 884994"/>
                <a:gd name="connsiteY59" fmla="*/ 572408 h 900005"/>
                <a:gd name="connsiteX60" fmla="*/ 158527 w 884994"/>
                <a:gd name="connsiteY60" fmla="*/ 603505 h 900005"/>
                <a:gd name="connsiteX61" fmla="*/ 158527 w 884994"/>
                <a:gd name="connsiteY61" fmla="*/ 640501 h 900005"/>
                <a:gd name="connsiteX62" fmla="*/ 201083 w 884994"/>
                <a:gd name="connsiteY62" fmla="*/ 683040 h 900005"/>
                <a:gd name="connsiteX63" fmla="*/ 201083 w 884994"/>
                <a:gd name="connsiteY63" fmla="*/ 767287 h 900005"/>
                <a:gd name="connsiteX64" fmla="*/ 250509 w 884994"/>
                <a:gd name="connsiteY64" fmla="*/ 816731 h 900005"/>
                <a:gd name="connsiteX65" fmla="*/ 250509 w 884994"/>
                <a:gd name="connsiteY65" fmla="*/ 861206 h 900005"/>
                <a:gd name="connsiteX66" fmla="*/ 289358 w 884994"/>
                <a:gd name="connsiteY66" fmla="*/ 900005 h 900005"/>
                <a:gd name="connsiteX67" fmla="*/ 361026 w 884994"/>
                <a:gd name="connsiteY67" fmla="*/ 828329 h 900005"/>
                <a:gd name="connsiteX68" fmla="*/ 361026 w 884994"/>
                <a:gd name="connsiteY68" fmla="*/ 661623 h 900005"/>
                <a:gd name="connsiteX69" fmla="*/ 392742 w 884994"/>
                <a:gd name="connsiteY69" fmla="*/ 629940 h 900005"/>
                <a:gd name="connsiteX70" fmla="*/ 433814 w 884994"/>
                <a:gd name="connsiteY70" fmla="*/ 629940 h 900005"/>
                <a:gd name="connsiteX71" fmla="*/ 583477 w 884994"/>
                <a:gd name="connsiteY71" fmla="*/ 480261 h 900005"/>
                <a:gd name="connsiteX72" fmla="*/ 628702 w 884994"/>
                <a:gd name="connsiteY72" fmla="*/ 480261 h 900005"/>
                <a:gd name="connsiteX73" fmla="*/ 653053 w 884994"/>
                <a:gd name="connsiteY73" fmla="*/ 455910 h 900005"/>
                <a:gd name="connsiteX74" fmla="*/ 669529 w 884994"/>
                <a:gd name="connsiteY74" fmla="*/ 455910 h 900005"/>
                <a:gd name="connsiteX75" fmla="*/ 650755 w 884994"/>
                <a:gd name="connsiteY75" fmla="*/ 437137 h 900005"/>
                <a:gd name="connsiteX76" fmla="*/ 650755 w 884994"/>
                <a:gd name="connsiteY76" fmla="*/ 382486 h 900005"/>
                <a:gd name="connsiteX77" fmla="*/ 638505 w 884994"/>
                <a:gd name="connsiteY77" fmla="*/ 369896 h 900005"/>
                <a:gd name="connsiteX78" fmla="*/ 638509 w 884994"/>
                <a:gd name="connsiteY78" fmla="*/ 338002 h 900005"/>
                <a:gd name="connsiteX79" fmla="*/ 685385 w 884994"/>
                <a:gd name="connsiteY79" fmla="*/ 338012 h 900005"/>
                <a:gd name="connsiteX80" fmla="*/ 685395 w 884994"/>
                <a:gd name="connsiteY80" fmla="*/ 356766 h 900005"/>
                <a:gd name="connsiteX81" fmla="*/ 749146 w 884994"/>
                <a:gd name="connsiteY81" fmla="*/ 356766 h 900005"/>
                <a:gd name="connsiteX82" fmla="*/ 749146 w 884994"/>
                <a:gd name="connsiteY82" fmla="*/ 376968 h 900005"/>
                <a:gd name="connsiteX83" fmla="*/ 721533 w 884994"/>
                <a:gd name="connsiteY83" fmla="*/ 404581 h 900005"/>
                <a:gd name="connsiteX84" fmla="*/ 721533 w 884994"/>
                <a:gd name="connsiteY84" fmla="*/ 432886 h 900005"/>
                <a:gd name="connsiteX85" fmla="*/ 748430 w 884994"/>
                <a:gd name="connsiteY85" fmla="*/ 405990 h 900005"/>
                <a:gd name="connsiteX86" fmla="*/ 748430 w 884994"/>
                <a:gd name="connsiteY86" fmla="*/ 439979 h 900005"/>
                <a:gd name="connsiteX87" fmla="*/ 764007 w 884994"/>
                <a:gd name="connsiteY87" fmla="*/ 455548 h 900005"/>
                <a:gd name="connsiteX88" fmla="*/ 766882 w 884994"/>
                <a:gd name="connsiteY88" fmla="*/ 456058 h 900005"/>
                <a:gd name="connsiteX89" fmla="*/ 766882 w 884994"/>
                <a:gd name="connsiteY89" fmla="*/ 428437 h 900005"/>
                <a:gd name="connsiteX90" fmla="*/ 801777 w 884994"/>
                <a:gd name="connsiteY90" fmla="*/ 393543 h 900005"/>
                <a:gd name="connsiteX91" fmla="*/ 801777 w 884994"/>
                <a:gd name="connsiteY91" fmla="*/ 372594 h 900005"/>
                <a:gd name="connsiteX92" fmla="*/ 801777 w 884994"/>
                <a:gd name="connsiteY92" fmla="*/ 326578 h 900005"/>
                <a:gd name="connsiteX93" fmla="*/ 837990 w 884994"/>
                <a:gd name="connsiteY93" fmla="*/ 290390 h 900005"/>
                <a:gd name="connsiteX94" fmla="*/ 863890 w 884994"/>
                <a:gd name="connsiteY94" fmla="*/ 290390 h 900005"/>
                <a:gd name="connsiteX95" fmla="*/ 884995 w 884994"/>
                <a:gd name="connsiteY95" fmla="*/ 269268 h 900005"/>
                <a:gd name="connsiteX96" fmla="*/ 884995 w 884994"/>
                <a:gd name="connsiteY96" fmla="*/ 225543 h 90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884994" h="900005">
                  <a:moveTo>
                    <a:pt x="846656" y="225543"/>
                  </a:moveTo>
                  <a:lnTo>
                    <a:pt x="820180" y="199042"/>
                  </a:lnTo>
                  <a:lnTo>
                    <a:pt x="767179" y="252043"/>
                  </a:lnTo>
                  <a:lnTo>
                    <a:pt x="736172" y="283059"/>
                  </a:lnTo>
                  <a:lnTo>
                    <a:pt x="736172" y="299311"/>
                  </a:lnTo>
                  <a:lnTo>
                    <a:pt x="736172" y="323407"/>
                  </a:lnTo>
                  <a:lnTo>
                    <a:pt x="697916" y="323407"/>
                  </a:lnTo>
                  <a:lnTo>
                    <a:pt x="678343" y="303817"/>
                  </a:lnTo>
                  <a:lnTo>
                    <a:pt x="651571" y="303817"/>
                  </a:lnTo>
                  <a:lnTo>
                    <a:pt x="651561" y="282608"/>
                  </a:lnTo>
                  <a:lnTo>
                    <a:pt x="628769" y="259931"/>
                  </a:lnTo>
                  <a:lnTo>
                    <a:pt x="607850" y="259935"/>
                  </a:lnTo>
                  <a:lnTo>
                    <a:pt x="607844" y="292334"/>
                  </a:lnTo>
                  <a:lnTo>
                    <a:pt x="621130" y="305762"/>
                  </a:lnTo>
                  <a:lnTo>
                    <a:pt x="621121" y="326688"/>
                  </a:lnTo>
                  <a:lnTo>
                    <a:pt x="536432" y="326669"/>
                  </a:lnTo>
                  <a:lnTo>
                    <a:pt x="494420" y="284648"/>
                  </a:lnTo>
                  <a:lnTo>
                    <a:pt x="426664" y="284648"/>
                  </a:lnTo>
                  <a:lnTo>
                    <a:pt x="398145" y="256129"/>
                  </a:lnTo>
                  <a:lnTo>
                    <a:pt x="365574" y="256129"/>
                  </a:lnTo>
                  <a:lnTo>
                    <a:pt x="338801" y="229373"/>
                  </a:lnTo>
                  <a:lnTo>
                    <a:pt x="375112" y="193069"/>
                  </a:lnTo>
                  <a:lnTo>
                    <a:pt x="350564" y="168521"/>
                  </a:lnTo>
                  <a:lnTo>
                    <a:pt x="321666" y="139657"/>
                  </a:lnTo>
                  <a:lnTo>
                    <a:pt x="321666" y="112529"/>
                  </a:lnTo>
                  <a:lnTo>
                    <a:pt x="321666" y="93220"/>
                  </a:lnTo>
                  <a:lnTo>
                    <a:pt x="340597" y="112134"/>
                  </a:lnTo>
                  <a:lnTo>
                    <a:pt x="359417" y="93280"/>
                  </a:lnTo>
                  <a:lnTo>
                    <a:pt x="327987" y="61850"/>
                  </a:lnTo>
                  <a:lnTo>
                    <a:pt x="327987" y="27639"/>
                  </a:lnTo>
                  <a:lnTo>
                    <a:pt x="311949" y="11600"/>
                  </a:lnTo>
                  <a:lnTo>
                    <a:pt x="311949" y="0"/>
                  </a:lnTo>
                  <a:lnTo>
                    <a:pt x="311881" y="68"/>
                  </a:lnTo>
                  <a:lnTo>
                    <a:pt x="282831" y="68"/>
                  </a:lnTo>
                  <a:lnTo>
                    <a:pt x="244566" y="38332"/>
                  </a:lnTo>
                  <a:lnTo>
                    <a:pt x="179327" y="38332"/>
                  </a:lnTo>
                  <a:lnTo>
                    <a:pt x="179327" y="81167"/>
                  </a:lnTo>
                  <a:lnTo>
                    <a:pt x="186525" y="88364"/>
                  </a:lnTo>
                  <a:lnTo>
                    <a:pt x="178591" y="96298"/>
                  </a:lnTo>
                  <a:lnTo>
                    <a:pt x="195579" y="113287"/>
                  </a:lnTo>
                  <a:lnTo>
                    <a:pt x="195579" y="161404"/>
                  </a:lnTo>
                  <a:lnTo>
                    <a:pt x="169713" y="187237"/>
                  </a:lnTo>
                  <a:lnTo>
                    <a:pt x="126548" y="230428"/>
                  </a:lnTo>
                  <a:lnTo>
                    <a:pt x="90088" y="266879"/>
                  </a:lnTo>
                  <a:lnTo>
                    <a:pt x="56049" y="266879"/>
                  </a:lnTo>
                  <a:lnTo>
                    <a:pt x="56049" y="310432"/>
                  </a:lnTo>
                  <a:lnTo>
                    <a:pt x="78950" y="333341"/>
                  </a:lnTo>
                  <a:lnTo>
                    <a:pt x="78950" y="386936"/>
                  </a:lnTo>
                  <a:lnTo>
                    <a:pt x="0" y="386936"/>
                  </a:lnTo>
                  <a:lnTo>
                    <a:pt x="0" y="409516"/>
                  </a:lnTo>
                  <a:lnTo>
                    <a:pt x="6062" y="415530"/>
                  </a:lnTo>
                  <a:lnTo>
                    <a:pt x="65193" y="415530"/>
                  </a:lnTo>
                  <a:lnTo>
                    <a:pt x="65193" y="433899"/>
                  </a:lnTo>
                  <a:lnTo>
                    <a:pt x="35818" y="463242"/>
                  </a:lnTo>
                  <a:lnTo>
                    <a:pt x="68719" y="496102"/>
                  </a:lnTo>
                  <a:lnTo>
                    <a:pt x="105064" y="496102"/>
                  </a:lnTo>
                  <a:lnTo>
                    <a:pt x="144424" y="456792"/>
                  </a:lnTo>
                  <a:lnTo>
                    <a:pt x="160256" y="472633"/>
                  </a:lnTo>
                  <a:lnTo>
                    <a:pt x="127405" y="505493"/>
                  </a:lnTo>
                  <a:lnTo>
                    <a:pt x="127405" y="572408"/>
                  </a:lnTo>
                  <a:lnTo>
                    <a:pt x="158527" y="603505"/>
                  </a:lnTo>
                  <a:lnTo>
                    <a:pt x="158527" y="640501"/>
                  </a:lnTo>
                  <a:lnTo>
                    <a:pt x="201083" y="683040"/>
                  </a:lnTo>
                  <a:lnTo>
                    <a:pt x="201083" y="767287"/>
                  </a:lnTo>
                  <a:lnTo>
                    <a:pt x="250509" y="816731"/>
                  </a:lnTo>
                  <a:lnTo>
                    <a:pt x="250509" y="861206"/>
                  </a:lnTo>
                  <a:lnTo>
                    <a:pt x="289358" y="900005"/>
                  </a:lnTo>
                  <a:lnTo>
                    <a:pt x="361026" y="828329"/>
                  </a:lnTo>
                  <a:lnTo>
                    <a:pt x="361026" y="661623"/>
                  </a:lnTo>
                  <a:lnTo>
                    <a:pt x="392742" y="629940"/>
                  </a:lnTo>
                  <a:lnTo>
                    <a:pt x="433814" y="629940"/>
                  </a:lnTo>
                  <a:lnTo>
                    <a:pt x="583477" y="480261"/>
                  </a:lnTo>
                  <a:lnTo>
                    <a:pt x="628702" y="480261"/>
                  </a:lnTo>
                  <a:lnTo>
                    <a:pt x="653053" y="455910"/>
                  </a:lnTo>
                  <a:lnTo>
                    <a:pt x="669529" y="455910"/>
                  </a:lnTo>
                  <a:lnTo>
                    <a:pt x="650755" y="437137"/>
                  </a:lnTo>
                  <a:lnTo>
                    <a:pt x="650755" y="382486"/>
                  </a:lnTo>
                  <a:lnTo>
                    <a:pt x="638505" y="369896"/>
                  </a:lnTo>
                  <a:lnTo>
                    <a:pt x="638509" y="338002"/>
                  </a:lnTo>
                  <a:lnTo>
                    <a:pt x="685385" y="338012"/>
                  </a:lnTo>
                  <a:lnTo>
                    <a:pt x="685395" y="356766"/>
                  </a:lnTo>
                  <a:lnTo>
                    <a:pt x="749146" y="356766"/>
                  </a:lnTo>
                  <a:lnTo>
                    <a:pt x="749146" y="376968"/>
                  </a:lnTo>
                  <a:lnTo>
                    <a:pt x="721533" y="404581"/>
                  </a:lnTo>
                  <a:lnTo>
                    <a:pt x="721533" y="432886"/>
                  </a:lnTo>
                  <a:lnTo>
                    <a:pt x="748430" y="405990"/>
                  </a:lnTo>
                  <a:lnTo>
                    <a:pt x="748430" y="439979"/>
                  </a:lnTo>
                  <a:lnTo>
                    <a:pt x="764007" y="455548"/>
                  </a:lnTo>
                  <a:lnTo>
                    <a:pt x="766882" y="456058"/>
                  </a:lnTo>
                  <a:lnTo>
                    <a:pt x="766882" y="428437"/>
                  </a:lnTo>
                  <a:lnTo>
                    <a:pt x="801777" y="393543"/>
                  </a:lnTo>
                  <a:lnTo>
                    <a:pt x="801777" y="372594"/>
                  </a:lnTo>
                  <a:lnTo>
                    <a:pt x="801777" y="326578"/>
                  </a:lnTo>
                  <a:lnTo>
                    <a:pt x="837990" y="290390"/>
                  </a:lnTo>
                  <a:lnTo>
                    <a:pt x="863890" y="290390"/>
                  </a:lnTo>
                  <a:lnTo>
                    <a:pt x="884995" y="269268"/>
                  </a:lnTo>
                  <a:lnTo>
                    <a:pt x="884995" y="225543"/>
                  </a:lnTo>
                  <a:close/>
                </a:path>
              </a:pathLst>
            </a:custGeom>
            <a:solidFill>
              <a:schemeClr val="accent1"/>
            </a:solidFill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3" name="Freeform: Shape 412">
              <a:extLst>
                <a:ext uri="{FF2B5EF4-FFF2-40B4-BE49-F238E27FC236}">
                  <a16:creationId xmlns:a16="http://schemas.microsoft.com/office/drawing/2014/main" id="{BEC2F87D-1E42-98F5-BD44-9C6416743CBE}"/>
                </a:ext>
              </a:extLst>
            </p:cNvPr>
            <p:cNvSpPr/>
            <p:nvPr/>
          </p:nvSpPr>
          <p:spPr>
            <a:xfrm>
              <a:off x="8000384" y="3487622"/>
              <a:ext cx="156458" cy="157812"/>
            </a:xfrm>
            <a:custGeom>
              <a:avLst/>
              <a:gdLst>
                <a:gd name="connsiteX0" fmla="*/ 52956 w 156458"/>
                <a:gd name="connsiteY0" fmla="*/ 142681 h 157812"/>
                <a:gd name="connsiteX1" fmla="*/ 52956 w 156458"/>
                <a:gd name="connsiteY1" fmla="*/ 99846 h 157812"/>
                <a:gd name="connsiteX2" fmla="*/ 118194 w 156458"/>
                <a:gd name="connsiteY2" fmla="*/ 99846 h 157812"/>
                <a:gd name="connsiteX3" fmla="*/ 156459 w 156458"/>
                <a:gd name="connsiteY3" fmla="*/ 61582 h 157812"/>
                <a:gd name="connsiteX4" fmla="*/ 156364 w 156458"/>
                <a:gd name="connsiteY4" fmla="*/ 61582 h 157812"/>
                <a:gd name="connsiteX5" fmla="*/ 106398 w 156458"/>
                <a:gd name="connsiteY5" fmla="*/ 11616 h 157812"/>
                <a:gd name="connsiteX6" fmla="*/ 87445 w 156458"/>
                <a:gd name="connsiteY6" fmla="*/ 11616 h 157812"/>
                <a:gd name="connsiteX7" fmla="*/ 75828 w 156458"/>
                <a:gd name="connsiteY7" fmla="*/ 0 h 157812"/>
                <a:gd name="connsiteX8" fmla="*/ 71036 w 156458"/>
                <a:gd name="connsiteY8" fmla="*/ 0 h 157812"/>
                <a:gd name="connsiteX9" fmla="*/ 38531 w 156458"/>
                <a:gd name="connsiteY9" fmla="*/ 0 h 157812"/>
                <a:gd name="connsiteX10" fmla="*/ 29164 w 156458"/>
                <a:gd name="connsiteY10" fmla="*/ 9367 h 157812"/>
                <a:gd name="connsiteX11" fmla="*/ 29164 w 156458"/>
                <a:gd name="connsiteY11" fmla="*/ 15897 h 157812"/>
                <a:gd name="connsiteX12" fmla="*/ 18365 w 156458"/>
                <a:gd name="connsiteY12" fmla="*/ 15897 h 157812"/>
                <a:gd name="connsiteX13" fmla="*/ 268 w 156458"/>
                <a:gd name="connsiteY13" fmla="*/ 33995 h 157812"/>
                <a:gd name="connsiteX14" fmla="*/ 268 w 156458"/>
                <a:gd name="connsiteY14" fmla="*/ 40992 h 157812"/>
                <a:gd name="connsiteX15" fmla="*/ 0 w 156458"/>
                <a:gd name="connsiteY15" fmla="*/ 41259 h 157812"/>
                <a:gd name="connsiteX16" fmla="*/ 38497 w 156458"/>
                <a:gd name="connsiteY16" fmla="*/ 79757 h 157812"/>
                <a:gd name="connsiteX17" fmla="*/ 38497 w 156458"/>
                <a:gd name="connsiteY17" fmla="*/ 144092 h 157812"/>
                <a:gd name="connsiteX18" fmla="*/ 52219 w 156458"/>
                <a:gd name="connsiteY18" fmla="*/ 157813 h 157812"/>
                <a:gd name="connsiteX19" fmla="*/ 60153 w 156458"/>
                <a:gd name="connsiteY19" fmla="*/ 149879 h 15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6458" h="157812">
                  <a:moveTo>
                    <a:pt x="52956" y="142681"/>
                  </a:moveTo>
                  <a:lnTo>
                    <a:pt x="52956" y="99846"/>
                  </a:lnTo>
                  <a:lnTo>
                    <a:pt x="118194" y="99846"/>
                  </a:lnTo>
                  <a:lnTo>
                    <a:pt x="156459" y="61582"/>
                  </a:lnTo>
                  <a:lnTo>
                    <a:pt x="156364" y="61582"/>
                  </a:lnTo>
                  <a:lnTo>
                    <a:pt x="106398" y="11616"/>
                  </a:lnTo>
                  <a:lnTo>
                    <a:pt x="87445" y="11616"/>
                  </a:lnTo>
                  <a:lnTo>
                    <a:pt x="75828" y="0"/>
                  </a:lnTo>
                  <a:lnTo>
                    <a:pt x="71036" y="0"/>
                  </a:lnTo>
                  <a:lnTo>
                    <a:pt x="38531" y="0"/>
                  </a:lnTo>
                  <a:lnTo>
                    <a:pt x="29164" y="9367"/>
                  </a:lnTo>
                  <a:lnTo>
                    <a:pt x="29164" y="15897"/>
                  </a:lnTo>
                  <a:lnTo>
                    <a:pt x="18365" y="15897"/>
                  </a:lnTo>
                  <a:lnTo>
                    <a:pt x="268" y="33995"/>
                  </a:lnTo>
                  <a:lnTo>
                    <a:pt x="268" y="40992"/>
                  </a:lnTo>
                  <a:lnTo>
                    <a:pt x="0" y="41259"/>
                  </a:lnTo>
                  <a:lnTo>
                    <a:pt x="38497" y="79757"/>
                  </a:lnTo>
                  <a:lnTo>
                    <a:pt x="38497" y="144092"/>
                  </a:lnTo>
                  <a:lnTo>
                    <a:pt x="52219" y="157813"/>
                  </a:lnTo>
                  <a:lnTo>
                    <a:pt x="60153" y="149879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4" name="Freeform: Shape 413">
              <a:extLst>
                <a:ext uri="{FF2B5EF4-FFF2-40B4-BE49-F238E27FC236}">
                  <a16:creationId xmlns:a16="http://schemas.microsoft.com/office/drawing/2014/main" id="{B33934F5-A316-DB1C-5468-62B9C261D5AF}"/>
                </a:ext>
              </a:extLst>
            </p:cNvPr>
            <p:cNvSpPr/>
            <p:nvPr/>
          </p:nvSpPr>
          <p:spPr>
            <a:xfrm>
              <a:off x="8185961" y="3526772"/>
              <a:ext cx="48880" cy="115643"/>
            </a:xfrm>
            <a:custGeom>
              <a:avLst/>
              <a:gdLst>
                <a:gd name="connsiteX0" fmla="*/ 16039 w 48880"/>
                <a:gd name="connsiteY0" fmla="*/ 50003 h 115643"/>
                <a:gd name="connsiteX1" fmla="*/ 16039 w 48880"/>
                <a:gd name="connsiteY1" fmla="*/ 84214 h 115643"/>
                <a:gd name="connsiteX2" fmla="*/ 47469 w 48880"/>
                <a:gd name="connsiteY2" fmla="*/ 115644 h 115643"/>
                <a:gd name="connsiteX3" fmla="*/ 47513 w 48880"/>
                <a:gd name="connsiteY3" fmla="*/ 115600 h 115643"/>
                <a:gd name="connsiteX4" fmla="*/ 24530 w 48880"/>
                <a:gd name="connsiteY4" fmla="*/ 92601 h 115643"/>
                <a:gd name="connsiteX5" fmla="*/ 24530 w 48880"/>
                <a:gd name="connsiteY5" fmla="*/ 54682 h 115643"/>
                <a:gd name="connsiteX6" fmla="*/ 48880 w 48880"/>
                <a:gd name="connsiteY6" fmla="*/ 54682 h 115643"/>
                <a:gd name="connsiteX7" fmla="*/ 48880 w 48880"/>
                <a:gd name="connsiteY7" fmla="*/ 26501 h 115643"/>
                <a:gd name="connsiteX8" fmla="*/ 22371 w 48880"/>
                <a:gd name="connsiteY8" fmla="*/ 0 h 115643"/>
                <a:gd name="connsiteX9" fmla="*/ 0 w 48880"/>
                <a:gd name="connsiteY9" fmla="*/ 22364 h 115643"/>
                <a:gd name="connsiteX10" fmla="*/ 0 w 48880"/>
                <a:gd name="connsiteY10" fmla="*/ 33964 h 11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880" h="115643">
                  <a:moveTo>
                    <a:pt x="16039" y="50003"/>
                  </a:moveTo>
                  <a:lnTo>
                    <a:pt x="16039" y="84214"/>
                  </a:lnTo>
                  <a:lnTo>
                    <a:pt x="47469" y="115644"/>
                  </a:lnTo>
                  <a:lnTo>
                    <a:pt x="47513" y="115600"/>
                  </a:lnTo>
                  <a:lnTo>
                    <a:pt x="24530" y="92601"/>
                  </a:lnTo>
                  <a:lnTo>
                    <a:pt x="24530" y="54682"/>
                  </a:lnTo>
                  <a:lnTo>
                    <a:pt x="48880" y="54682"/>
                  </a:lnTo>
                  <a:lnTo>
                    <a:pt x="48880" y="26501"/>
                  </a:lnTo>
                  <a:lnTo>
                    <a:pt x="22371" y="0"/>
                  </a:lnTo>
                  <a:lnTo>
                    <a:pt x="0" y="22364"/>
                  </a:lnTo>
                  <a:lnTo>
                    <a:pt x="0" y="33964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2" name="Freeform: Shape 831">
              <a:extLst>
                <a:ext uri="{FF2B5EF4-FFF2-40B4-BE49-F238E27FC236}">
                  <a16:creationId xmlns:a16="http://schemas.microsoft.com/office/drawing/2014/main" id="{C7BEB2AB-9E21-931A-8F20-98F6BD9D45F1}"/>
                </a:ext>
              </a:extLst>
            </p:cNvPr>
            <p:cNvSpPr/>
            <p:nvPr/>
          </p:nvSpPr>
          <p:spPr>
            <a:xfrm>
              <a:off x="1987474" y="2950643"/>
              <a:ext cx="1760664" cy="936208"/>
            </a:xfrm>
            <a:custGeom>
              <a:avLst/>
              <a:gdLst>
                <a:gd name="connsiteX0" fmla="*/ 331042 w 1760664"/>
                <a:gd name="connsiteY0" fmla="*/ 690255 h 936208"/>
                <a:gd name="connsiteX1" fmla="*/ 415346 w 1760664"/>
                <a:gd name="connsiteY1" fmla="*/ 690255 h 936208"/>
                <a:gd name="connsiteX2" fmla="*/ 432777 w 1760664"/>
                <a:gd name="connsiteY2" fmla="*/ 707677 h 936208"/>
                <a:gd name="connsiteX3" fmla="*/ 493094 w 1760664"/>
                <a:gd name="connsiteY3" fmla="*/ 707677 h 936208"/>
                <a:gd name="connsiteX4" fmla="*/ 493094 w 1760664"/>
                <a:gd name="connsiteY4" fmla="*/ 693822 h 936208"/>
                <a:gd name="connsiteX5" fmla="*/ 560075 w 1760664"/>
                <a:gd name="connsiteY5" fmla="*/ 693822 h 936208"/>
                <a:gd name="connsiteX6" fmla="*/ 619139 w 1760664"/>
                <a:gd name="connsiteY6" fmla="*/ 752903 h 936208"/>
                <a:gd name="connsiteX7" fmla="*/ 619139 w 1760664"/>
                <a:gd name="connsiteY7" fmla="*/ 782213 h 936208"/>
                <a:gd name="connsiteX8" fmla="*/ 642468 w 1760664"/>
                <a:gd name="connsiteY8" fmla="*/ 805542 h 936208"/>
                <a:gd name="connsiteX9" fmla="*/ 664101 w 1760664"/>
                <a:gd name="connsiteY9" fmla="*/ 783893 h 936208"/>
                <a:gd name="connsiteX10" fmla="*/ 705874 w 1760664"/>
                <a:gd name="connsiteY10" fmla="*/ 783893 h 936208"/>
                <a:gd name="connsiteX11" fmla="*/ 760564 w 1760664"/>
                <a:gd name="connsiteY11" fmla="*/ 838600 h 936208"/>
                <a:gd name="connsiteX12" fmla="*/ 760564 w 1760664"/>
                <a:gd name="connsiteY12" fmla="*/ 887359 h 936208"/>
                <a:gd name="connsiteX13" fmla="*/ 848280 w 1760664"/>
                <a:gd name="connsiteY13" fmla="*/ 887359 h 936208"/>
                <a:gd name="connsiteX14" fmla="*/ 848280 w 1760664"/>
                <a:gd name="connsiteY14" fmla="*/ 868198 h 936208"/>
                <a:gd name="connsiteX15" fmla="*/ 920763 w 1760664"/>
                <a:gd name="connsiteY15" fmla="*/ 795747 h 936208"/>
                <a:gd name="connsiteX16" fmla="*/ 1051364 w 1760664"/>
                <a:gd name="connsiteY16" fmla="*/ 795747 h 936208"/>
                <a:gd name="connsiteX17" fmla="*/ 1073227 w 1760664"/>
                <a:gd name="connsiteY17" fmla="*/ 773843 h 936208"/>
                <a:gd name="connsiteX18" fmla="*/ 1058400 w 1760664"/>
                <a:gd name="connsiteY18" fmla="*/ 759024 h 936208"/>
                <a:gd name="connsiteX19" fmla="*/ 1176388 w 1760664"/>
                <a:gd name="connsiteY19" fmla="*/ 759024 h 936208"/>
                <a:gd name="connsiteX20" fmla="*/ 1201949 w 1760664"/>
                <a:gd name="connsiteY20" fmla="*/ 784577 h 936208"/>
                <a:gd name="connsiteX21" fmla="*/ 1252133 w 1760664"/>
                <a:gd name="connsiteY21" fmla="*/ 784577 h 936208"/>
                <a:gd name="connsiteX22" fmla="*/ 1286922 w 1760664"/>
                <a:gd name="connsiteY22" fmla="*/ 819341 h 936208"/>
                <a:gd name="connsiteX23" fmla="*/ 1286922 w 1760664"/>
                <a:gd name="connsiteY23" fmla="*/ 892862 h 936208"/>
                <a:gd name="connsiteX24" fmla="*/ 1330268 w 1760664"/>
                <a:gd name="connsiteY24" fmla="*/ 936208 h 936208"/>
                <a:gd name="connsiteX25" fmla="*/ 1354290 w 1760664"/>
                <a:gd name="connsiteY25" fmla="*/ 936208 h 936208"/>
                <a:gd name="connsiteX26" fmla="*/ 1354290 w 1760664"/>
                <a:gd name="connsiteY26" fmla="*/ 825939 h 936208"/>
                <a:gd name="connsiteX27" fmla="*/ 1324337 w 1760664"/>
                <a:gd name="connsiteY27" fmla="*/ 796011 h 936208"/>
                <a:gd name="connsiteX28" fmla="*/ 1324337 w 1760664"/>
                <a:gd name="connsiteY28" fmla="*/ 744945 h 936208"/>
                <a:gd name="connsiteX29" fmla="*/ 1364834 w 1760664"/>
                <a:gd name="connsiteY29" fmla="*/ 704465 h 936208"/>
                <a:gd name="connsiteX30" fmla="*/ 1364834 w 1760664"/>
                <a:gd name="connsiteY30" fmla="*/ 669225 h 936208"/>
                <a:gd name="connsiteX31" fmla="*/ 1452912 w 1760664"/>
                <a:gd name="connsiteY31" fmla="*/ 581163 h 936208"/>
                <a:gd name="connsiteX32" fmla="*/ 1466998 w 1760664"/>
                <a:gd name="connsiteY32" fmla="*/ 595258 h 936208"/>
                <a:gd name="connsiteX33" fmla="*/ 1500444 w 1760664"/>
                <a:gd name="connsiteY33" fmla="*/ 561813 h 936208"/>
                <a:gd name="connsiteX34" fmla="*/ 1500444 w 1760664"/>
                <a:gd name="connsiteY34" fmla="*/ 523038 h 936208"/>
                <a:gd name="connsiteX35" fmla="*/ 1455548 w 1760664"/>
                <a:gd name="connsiteY35" fmla="*/ 478159 h 936208"/>
                <a:gd name="connsiteX36" fmla="*/ 1494273 w 1760664"/>
                <a:gd name="connsiteY36" fmla="*/ 439425 h 936208"/>
                <a:gd name="connsiteX37" fmla="*/ 1494273 w 1760664"/>
                <a:gd name="connsiteY37" fmla="*/ 491380 h 936208"/>
                <a:gd name="connsiteX38" fmla="*/ 1514521 w 1760664"/>
                <a:gd name="connsiteY38" fmla="*/ 491380 h 936208"/>
                <a:gd name="connsiteX39" fmla="*/ 1530371 w 1760664"/>
                <a:gd name="connsiteY39" fmla="*/ 475514 h 936208"/>
                <a:gd name="connsiteX40" fmla="*/ 1530371 w 1760664"/>
                <a:gd name="connsiteY40" fmla="*/ 440281 h 936208"/>
                <a:gd name="connsiteX41" fmla="*/ 1563841 w 1760664"/>
                <a:gd name="connsiteY41" fmla="*/ 406845 h 936208"/>
                <a:gd name="connsiteX42" fmla="*/ 1537430 w 1760664"/>
                <a:gd name="connsiteY42" fmla="*/ 380401 h 936208"/>
                <a:gd name="connsiteX43" fmla="*/ 1572647 w 1760664"/>
                <a:gd name="connsiteY43" fmla="*/ 345185 h 936208"/>
                <a:gd name="connsiteX44" fmla="*/ 1678312 w 1760664"/>
                <a:gd name="connsiteY44" fmla="*/ 345185 h 936208"/>
                <a:gd name="connsiteX45" fmla="*/ 1678312 w 1760664"/>
                <a:gd name="connsiteY45" fmla="*/ 324064 h 936208"/>
                <a:gd name="connsiteX46" fmla="*/ 1657182 w 1760664"/>
                <a:gd name="connsiteY46" fmla="*/ 302917 h 936208"/>
                <a:gd name="connsiteX47" fmla="*/ 1657182 w 1760664"/>
                <a:gd name="connsiteY47" fmla="*/ 272998 h 936208"/>
                <a:gd name="connsiteX48" fmla="*/ 1721453 w 1760664"/>
                <a:gd name="connsiteY48" fmla="*/ 208694 h 936208"/>
                <a:gd name="connsiteX49" fmla="*/ 1760665 w 1760664"/>
                <a:gd name="connsiteY49" fmla="*/ 208694 h 936208"/>
                <a:gd name="connsiteX50" fmla="*/ 1760665 w 1760664"/>
                <a:gd name="connsiteY50" fmla="*/ 117511 h 936208"/>
                <a:gd name="connsiteX51" fmla="*/ 1706189 w 1760664"/>
                <a:gd name="connsiteY51" fmla="*/ 117511 h 936208"/>
                <a:gd name="connsiteX52" fmla="*/ 1669382 w 1760664"/>
                <a:gd name="connsiteY52" fmla="*/ 154325 h 936208"/>
                <a:gd name="connsiteX53" fmla="*/ 1660544 w 1760664"/>
                <a:gd name="connsiteY53" fmla="*/ 154325 h 936208"/>
                <a:gd name="connsiteX54" fmla="*/ 1546344 w 1760664"/>
                <a:gd name="connsiteY54" fmla="*/ 154325 h 936208"/>
                <a:gd name="connsiteX55" fmla="*/ 1495526 w 1760664"/>
                <a:gd name="connsiteY55" fmla="*/ 205128 h 936208"/>
                <a:gd name="connsiteX56" fmla="*/ 1447829 w 1760664"/>
                <a:gd name="connsiteY56" fmla="*/ 205128 h 936208"/>
                <a:gd name="connsiteX57" fmla="*/ 1376450 w 1760664"/>
                <a:gd name="connsiteY57" fmla="*/ 276524 h 936208"/>
                <a:gd name="connsiteX58" fmla="*/ 1327640 w 1760664"/>
                <a:gd name="connsiteY58" fmla="*/ 276524 h 936208"/>
                <a:gd name="connsiteX59" fmla="*/ 1288462 w 1760664"/>
                <a:gd name="connsiteY59" fmla="*/ 315711 h 936208"/>
                <a:gd name="connsiteX60" fmla="*/ 1263131 w 1760664"/>
                <a:gd name="connsiteY60" fmla="*/ 290388 h 936208"/>
                <a:gd name="connsiteX61" fmla="*/ 1353745 w 1760664"/>
                <a:gd name="connsiteY61" fmla="*/ 199764 h 936208"/>
                <a:gd name="connsiteX62" fmla="*/ 1373591 w 1760664"/>
                <a:gd name="connsiteY62" fmla="*/ 179920 h 936208"/>
                <a:gd name="connsiteX63" fmla="*/ 1328802 w 1760664"/>
                <a:gd name="connsiteY63" fmla="*/ 135131 h 936208"/>
                <a:gd name="connsiteX64" fmla="*/ 1239678 w 1760664"/>
                <a:gd name="connsiteY64" fmla="*/ 135131 h 936208"/>
                <a:gd name="connsiteX65" fmla="*/ 1239678 w 1760664"/>
                <a:gd name="connsiteY65" fmla="*/ 81528 h 936208"/>
                <a:gd name="connsiteX66" fmla="*/ 1161379 w 1760664"/>
                <a:gd name="connsiteY66" fmla="*/ 3229 h 936208"/>
                <a:gd name="connsiteX67" fmla="*/ 1096812 w 1760664"/>
                <a:gd name="connsiteY67" fmla="*/ 3229 h 936208"/>
                <a:gd name="connsiteX68" fmla="*/ 1057015 w 1760664"/>
                <a:gd name="connsiteY68" fmla="*/ 43034 h 936208"/>
                <a:gd name="connsiteX69" fmla="*/ 955716 w 1760664"/>
                <a:gd name="connsiteY69" fmla="*/ 43034 h 936208"/>
                <a:gd name="connsiteX70" fmla="*/ 912690 w 1760664"/>
                <a:gd name="connsiteY70" fmla="*/ 0 h 936208"/>
                <a:gd name="connsiteX71" fmla="*/ 24582 w 1760664"/>
                <a:gd name="connsiteY71" fmla="*/ 0 h 936208"/>
                <a:gd name="connsiteX72" fmla="*/ 43108 w 1760664"/>
                <a:gd name="connsiteY72" fmla="*/ 18527 h 936208"/>
                <a:gd name="connsiteX73" fmla="*/ 43108 w 1760664"/>
                <a:gd name="connsiteY73" fmla="*/ 56379 h 936208"/>
                <a:gd name="connsiteX74" fmla="*/ 0 w 1760664"/>
                <a:gd name="connsiteY74" fmla="*/ 56379 h 936208"/>
                <a:gd name="connsiteX75" fmla="*/ 0 w 1760664"/>
                <a:gd name="connsiteY75" fmla="*/ 169096 h 936208"/>
                <a:gd name="connsiteX76" fmla="*/ 24631 w 1760664"/>
                <a:gd name="connsiteY76" fmla="*/ 193735 h 936208"/>
                <a:gd name="connsiteX77" fmla="*/ 24631 w 1760664"/>
                <a:gd name="connsiteY77" fmla="*/ 440281 h 936208"/>
                <a:gd name="connsiteX78" fmla="*/ 73052 w 1760664"/>
                <a:gd name="connsiteY78" fmla="*/ 488744 h 936208"/>
                <a:gd name="connsiteX79" fmla="*/ 73052 w 1760664"/>
                <a:gd name="connsiteY79" fmla="*/ 544184 h 936208"/>
                <a:gd name="connsiteX80" fmla="*/ 176535 w 1760664"/>
                <a:gd name="connsiteY80" fmla="*/ 647649 h 936208"/>
                <a:gd name="connsiteX81" fmla="*/ 218366 w 1760664"/>
                <a:gd name="connsiteY81" fmla="*/ 647649 h 936208"/>
                <a:gd name="connsiteX82" fmla="*/ 218366 w 1760664"/>
                <a:gd name="connsiteY82" fmla="*/ 660690 h 936208"/>
                <a:gd name="connsiteX83" fmla="*/ 301485 w 1760664"/>
                <a:gd name="connsiteY83" fmla="*/ 660690 h 936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760664" h="936208">
                  <a:moveTo>
                    <a:pt x="331042" y="690255"/>
                  </a:moveTo>
                  <a:lnTo>
                    <a:pt x="415346" y="690255"/>
                  </a:lnTo>
                  <a:lnTo>
                    <a:pt x="432777" y="707677"/>
                  </a:lnTo>
                  <a:lnTo>
                    <a:pt x="493094" y="707677"/>
                  </a:lnTo>
                  <a:lnTo>
                    <a:pt x="493094" y="693822"/>
                  </a:lnTo>
                  <a:lnTo>
                    <a:pt x="560075" y="693822"/>
                  </a:lnTo>
                  <a:lnTo>
                    <a:pt x="619139" y="752903"/>
                  </a:lnTo>
                  <a:lnTo>
                    <a:pt x="619139" y="782213"/>
                  </a:lnTo>
                  <a:lnTo>
                    <a:pt x="642468" y="805542"/>
                  </a:lnTo>
                  <a:lnTo>
                    <a:pt x="664101" y="783893"/>
                  </a:lnTo>
                  <a:lnTo>
                    <a:pt x="705874" y="783893"/>
                  </a:lnTo>
                  <a:lnTo>
                    <a:pt x="760564" y="838600"/>
                  </a:lnTo>
                  <a:lnTo>
                    <a:pt x="760564" y="887359"/>
                  </a:lnTo>
                  <a:lnTo>
                    <a:pt x="848280" y="887359"/>
                  </a:lnTo>
                  <a:lnTo>
                    <a:pt x="848280" y="868198"/>
                  </a:lnTo>
                  <a:lnTo>
                    <a:pt x="920763" y="795747"/>
                  </a:lnTo>
                  <a:lnTo>
                    <a:pt x="1051364" y="795747"/>
                  </a:lnTo>
                  <a:lnTo>
                    <a:pt x="1073227" y="773843"/>
                  </a:lnTo>
                  <a:lnTo>
                    <a:pt x="1058400" y="759024"/>
                  </a:lnTo>
                  <a:lnTo>
                    <a:pt x="1176388" y="759024"/>
                  </a:lnTo>
                  <a:lnTo>
                    <a:pt x="1201949" y="784577"/>
                  </a:lnTo>
                  <a:lnTo>
                    <a:pt x="1252133" y="784577"/>
                  </a:lnTo>
                  <a:lnTo>
                    <a:pt x="1286922" y="819341"/>
                  </a:lnTo>
                  <a:lnTo>
                    <a:pt x="1286922" y="892862"/>
                  </a:lnTo>
                  <a:lnTo>
                    <a:pt x="1330268" y="936208"/>
                  </a:lnTo>
                  <a:lnTo>
                    <a:pt x="1354290" y="936208"/>
                  </a:lnTo>
                  <a:lnTo>
                    <a:pt x="1354290" y="825939"/>
                  </a:lnTo>
                  <a:lnTo>
                    <a:pt x="1324337" y="796011"/>
                  </a:lnTo>
                  <a:lnTo>
                    <a:pt x="1324337" y="744945"/>
                  </a:lnTo>
                  <a:lnTo>
                    <a:pt x="1364834" y="704465"/>
                  </a:lnTo>
                  <a:lnTo>
                    <a:pt x="1364834" y="669225"/>
                  </a:lnTo>
                  <a:lnTo>
                    <a:pt x="1452912" y="581163"/>
                  </a:lnTo>
                  <a:lnTo>
                    <a:pt x="1466998" y="595258"/>
                  </a:lnTo>
                  <a:lnTo>
                    <a:pt x="1500444" y="561813"/>
                  </a:lnTo>
                  <a:lnTo>
                    <a:pt x="1500444" y="523038"/>
                  </a:lnTo>
                  <a:lnTo>
                    <a:pt x="1455548" y="478159"/>
                  </a:lnTo>
                  <a:lnTo>
                    <a:pt x="1494273" y="439425"/>
                  </a:lnTo>
                  <a:lnTo>
                    <a:pt x="1494273" y="491380"/>
                  </a:lnTo>
                  <a:lnTo>
                    <a:pt x="1514521" y="491380"/>
                  </a:lnTo>
                  <a:lnTo>
                    <a:pt x="1530371" y="475514"/>
                  </a:lnTo>
                  <a:lnTo>
                    <a:pt x="1530371" y="440281"/>
                  </a:lnTo>
                  <a:lnTo>
                    <a:pt x="1563841" y="406845"/>
                  </a:lnTo>
                  <a:lnTo>
                    <a:pt x="1537430" y="380401"/>
                  </a:lnTo>
                  <a:lnTo>
                    <a:pt x="1572647" y="345185"/>
                  </a:lnTo>
                  <a:lnTo>
                    <a:pt x="1678312" y="345185"/>
                  </a:lnTo>
                  <a:lnTo>
                    <a:pt x="1678312" y="324064"/>
                  </a:lnTo>
                  <a:lnTo>
                    <a:pt x="1657182" y="302917"/>
                  </a:lnTo>
                  <a:lnTo>
                    <a:pt x="1657182" y="272998"/>
                  </a:lnTo>
                  <a:lnTo>
                    <a:pt x="1721453" y="208694"/>
                  </a:lnTo>
                  <a:lnTo>
                    <a:pt x="1760665" y="208694"/>
                  </a:lnTo>
                  <a:lnTo>
                    <a:pt x="1760665" y="117511"/>
                  </a:lnTo>
                  <a:lnTo>
                    <a:pt x="1706189" y="117511"/>
                  </a:lnTo>
                  <a:lnTo>
                    <a:pt x="1669382" y="154325"/>
                  </a:lnTo>
                  <a:lnTo>
                    <a:pt x="1660544" y="154325"/>
                  </a:lnTo>
                  <a:lnTo>
                    <a:pt x="1546344" y="154325"/>
                  </a:lnTo>
                  <a:lnTo>
                    <a:pt x="1495526" y="205128"/>
                  </a:lnTo>
                  <a:lnTo>
                    <a:pt x="1447829" y="205128"/>
                  </a:lnTo>
                  <a:lnTo>
                    <a:pt x="1376450" y="276524"/>
                  </a:lnTo>
                  <a:lnTo>
                    <a:pt x="1327640" y="276524"/>
                  </a:lnTo>
                  <a:lnTo>
                    <a:pt x="1288462" y="315711"/>
                  </a:lnTo>
                  <a:lnTo>
                    <a:pt x="1263131" y="290388"/>
                  </a:lnTo>
                  <a:lnTo>
                    <a:pt x="1353745" y="199764"/>
                  </a:lnTo>
                  <a:lnTo>
                    <a:pt x="1373591" y="179920"/>
                  </a:lnTo>
                  <a:lnTo>
                    <a:pt x="1328802" y="135131"/>
                  </a:lnTo>
                  <a:lnTo>
                    <a:pt x="1239678" y="135131"/>
                  </a:lnTo>
                  <a:lnTo>
                    <a:pt x="1239678" y="81528"/>
                  </a:lnTo>
                  <a:lnTo>
                    <a:pt x="1161379" y="3229"/>
                  </a:lnTo>
                  <a:lnTo>
                    <a:pt x="1096812" y="3229"/>
                  </a:lnTo>
                  <a:lnTo>
                    <a:pt x="1057015" y="43034"/>
                  </a:lnTo>
                  <a:lnTo>
                    <a:pt x="955716" y="43034"/>
                  </a:lnTo>
                  <a:lnTo>
                    <a:pt x="912690" y="0"/>
                  </a:lnTo>
                  <a:lnTo>
                    <a:pt x="24582" y="0"/>
                  </a:lnTo>
                  <a:lnTo>
                    <a:pt x="43108" y="18527"/>
                  </a:lnTo>
                  <a:lnTo>
                    <a:pt x="43108" y="56379"/>
                  </a:lnTo>
                  <a:lnTo>
                    <a:pt x="0" y="56379"/>
                  </a:lnTo>
                  <a:lnTo>
                    <a:pt x="0" y="169096"/>
                  </a:lnTo>
                  <a:lnTo>
                    <a:pt x="24631" y="193735"/>
                  </a:lnTo>
                  <a:lnTo>
                    <a:pt x="24631" y="440281"/>
                  </a:lnTo>
                  <a:lnTo>
                    <a:pt x="73052" y="488744"/>
                  </a:lnTo>
                  <a:lnTo>
                    <a:pt x="73052" y="544184"/>
                  </a:lnTo>
                  <a:lnTo>
                    <a:pt x="176535" y="647649"/>
                  </a:lnTo>
                  <a:lnTo>
                    <a:pt x="218366" y="647649"/>
                  </a:lnTo>
                  <a:lnTo>
                    <a:pt x="218366" y="660690"/>
                  </a:lnTo>
                  <a:lnTo>
                    <a:pt x="301485" y="660690"/>
                  </a:lnTo>
                  <a:close/>
                </a:path>
              </a:pathLst>
            </a:custGeom>
            <a:solidFill>
              <a:schemeClr val="accent1"/>
            </a:solidFill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3" name="Freeform: Shape 832">
              <a:extLst>
                <a:ext uri="{FF2B5EF4-FFF2-40B4-BE49-F238E27FC236}">
                  <a16:creationId xmlns:a16="http://schemas.microsoft.com/office/drawing/2014/main" id="{A0351AD1-F52C-6A1C-0D4B-E40C9AAB4ADE}"/>
                </a:ext>
              </a:extLst>
            </p:cNvPr>
            <p:cNvSpPr/>
            <p:nvPr/>
          </p:nvSpPr>
          <p:spPr>
            <a:xfrm>
              <a:off x="6220549" y="2687440"/>
              <a:ext cx="298341" cy="285960"/>
            </a:xfrm>
            <a:custGeom>
              <a:avLst/>
              <a:gdLst>
                <a:gd name="connsiteX0" fmla="*/ 274634 w 298341"/>
                <a:gd name="connsiteY0" fmla="*/ 13436 h 285960"/>
                <a:gd name="connsiteX1" fmla="*/ 156675 w 298341"/>
                <a:gd name="connsiteY1" fmla="*/ 13436 h 285960"/>
                <a:gd name="connsiteX2" fmla="*/ 148086 w 298341"/>
                <a:gd name="connsiteY2" fmla="*/ 22020 h 285960"/>
                <a:gd name="connsiteX3" fmla="*/ 126107 w 298341"/>
                <a:gd name="connsiteY3" fmla="*/ 0 h 285960"/>
                <a:gd name="connsiteX4" fmla="*/ 82081 w 298341"/>
                <a:gd name="connsiteY4" fmla="*/ 0 h 285960"/>
                <a:gd name="connsiteX5" fmla="*/ 22209 w 298341"/>
                <a:gd name="connsiteY5" fmla="*/ 59872 h 285960"/>
                <a:gd name="connsiteX6" fmla="*/ 0 w 298341"/>
                <a:gd name="connsiteY6" fmla="*/ 59872 h 285960"/>
                <a:gd name="connsiteX7" fmla="*/ 0 w 298341"/>
                <a:gd name="connsiteY7" fmla="*/ 118104 h 285960"/>
                <a:gd name="connsiteX8" fmla="*/ 19894 w 298341"/>
                <a:gd name="connsiteY8" fmla="*/ 138015 h 285960"/>
                <a:gd name="connsiteX9" fmla="*/ 19894 w 298341"/>
                <a:gd name="connsiteY9" fmla="*/ 189081 h 285960"/>
                <a:gd name="connsiteX10" fmla="*/ 18795 w 298341"/>
                <a:gd name="connsiteY10" fmla="*/ 190181 h 285960"/>
                <a:gd name="connsiteX11" fmla="*/ 36102 w 298341"/>
                <a:gd name="connsiteY11" fmla="*/ 206833 h 285960"/>
                <a:gd name="connsiteX12" fmla="*/ 56812 w 298341"/>
                <a:gd name="connsiteY12" fmla="*/ 206833 h 285960"/>
                <a:gd name="connsiteX13" fmla="*/ 74803 w 298341"/>
                <a:gd name="connsiteY13" fmla="*/ 224824 h 285960"/>
                <a:gd name="connsiteX14" fmla="*/ 102680 w 298341"/>
                <a:gd name="connsiteY14" fmla="*/ 224824 h 285960"/>
                <a:gd name="connsiteX15" fmla="*/ 122351 w 298341"/>
                <a:gd name="connsiteY15" fmla="*/ 244500 h 285960"/>
                <a:gd name="connsiteX16" fmla="*/ 135861 w 298341"/>
                <a:gd name="connsiteY16" fmla="*/ 258006 h 285960"/>
                <a:gd name="connsiteX17" fmla="*/ 162782 w 298341"/>
                <a:gd name="connsiteY17" fmla="*/ 258006 h 285960"/>
                <a:gd name="connsiteX18" fmla="*/ 174431 w 298341"/>
                <a:gd name="connsiteY18" fmla="*/ 269654 h 285960"/>
                <a:gd name="connsiteX19" fmla="*/ 204959 w 298341"/>
                <a:gd name="connsiteY19" fmla="*/ 269654 h 285960"/>
                <a:gd name="connsiteX20" fmla="*/ 214119 w 298341"/>
                <a:gd name="connsiteY20" fmla="*/ 260498 h 285960"/>
                <a:gd name="connsiteX21" fmla="*/ 245069 w 298341"/>
                <a:gd name="connsiteY21" fmla="*/ 285960 h 285960"/>
                <a:gd name="connsiteX22" fmla="*/ 255209 w 298341"/>
                <a:gd name="connsiteY22" fmla="*/ 275824 h 285960"/>
                <a:gd name="connsiteX23" fmla="*/ 255209 w 298341"/>
                <a:gd name="connsiteY23" fmla="*/ 235723 h 285960"/>
                <a:gd name="connsiteX24" fmla="*/ 282542 w 298341"/>
                <a:gd name="connsiteY24" fmla="*/ 235723 h 285960"/>
                <a:gd name="connsiteX25" fmla="*/ 282542 w 298341"/>
                <a:gd name="connsiteY25" fmla="*/ 182037 h 285960"/>
                <a:gd name="connsiteX26" fmla="*/ 282542 w 298341"/>
                <a:gd name="connsiteY26" fmla="*/ 133649 h 285960"/>
                <a:gd name="connsiteX27" fmla="*/ 298342 w 298341"/>
                <a:gd name="connsiteY27" fmla="*/ 117857 h 285960"/>
                <a:gd name="connsiteX28" fmla="*/ 298342 w 298341"/>
                <a:gd name="connsiteY28" fmla="*/ 37136 h 285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98341" h="285960">
                  <a:moveTo>
                    <a:pt x="274634" y="13436"/>
                  </a:moveTo>
                  <a:lnTo>
                    <a:pt x="156675" y="13436"/>
                  </a:lnTo>
                  <a:lnTo>
                    <a:pt x="148086" y="22020"/>
                  </a:lnTo>
                  <a:lnTo>
                    <a:pt x="126107" y="0"/>
                  </a:lnTo>
                  <a:lnTo>
                    <a:pt x="82081" y="0"/>
                  </a:lnTo>
                  <a:lnTo>
                    <a:pt x="22209" y="59872"/>
                  </a:lnTo>
                  <a:lnTo>
                    <a:pt x="0" y="59872"/>
                  </a:lnTo>
                  <a:lnTo>
                    <a:pt x="0" y="118104"/>
                  </a:lnTo>
                  <a:lnTo>
                    <a:pt x="19894" y="138015"/>
                  </a:lnTo>
                  <a:lnTo>
                    <a:pt x="19894" y="189081"/>
                  </a:lnTo>
                  <a:lnTo>
                    <a:pt x="18795" y="190181"/>
                  </a:lnTo>
                  <a:lnTo>
                    <a:pt x="36102" y="206833"/>
                  </a:lnTo>
                  <a:lnTo>
                    <a:pt x="56812" y="206833"/>
                  </a:lnTo>
                  <a:lnTo>
                    <a:pt x="74803" y="224824"/>
                  </a:lnTo>
                  <a:lnTo>
                    <a:pt x="102680" y="224824"/>
                  </a:lnTo>
                  <a:lnTo>
                    <a:pt x="122351" y="244500"/>
                  </a:lnTo>
                  <a:lnTo>
                    <a:pt x="135861" y="258006"/>
                  </a:lnTo>
                  <a:lnTo>
                    <a:pt x="162782" y="258006"/>
                  </a:lnTo>
                  <a:lnTo>
                    <a:pt x="174431" y="269654"/>
                  </a:lnTo>
                  <a:lnTo>
                    <a:pt x="204959" y="269654"/>
                  </a:lnTo>
                  <a:lnTo>
                    <a:pt x="214119" y="260498"/>
                  </a:lnTo>
                  <a:lnTo>
                    <a:pt x="245069" y="285960"/>
                  </a:lnTo>
                  <a:lnTo>
                    <a:pt x="255209" y="275824"/>
                  </a:lnTo>
                  <a:lnTo>
                    <a:pt x="255209" y="235723"/>
                  </a:lnTo>
                  <a:lnTo>
                    <a:pt x="282542" y="235723"/>
                  </a:lnTo>
                  <a:lnTo>
                    <a:pt x="282542" y="182037"/>
                  </a:lnTo>
                  <a:lnTo>
                    <a:pt x="282542" y="133649"/>
                  </a:lnTo>
                  <a:lnTo>
                    <a:pt x="298342" y="117857"/>
                  </a:lnTo>
                  <a:lnTo>
                    <a:pt x="298342" y="37136"/>
                  </a:lnTo>
                  <a:close/>
                </a:path>
              </a:pathLst>
            </a:custGeom>
            <a:solidFill>
              <a:schemeClr val="accent1"/>
            </a:solidFill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4" name="Freeform: Shape 833">
              <a:extLst>
                <a:ext uri="{FF2B5EF4-FFF2-40B4-BE49-F238E27FC236}">
                  <a16:creationId xmlns:a16="http://schemas.microsoft.com/office/drawing/2014/main" id="{C9FEAA35-2F4E-E4FE-6F7E-74BDCDAF24F1}"/>
                </a:ext>
              </a:extLst>
            </p:cNvPr>
            <p:cNvSpPr/>
            <p:nvPr/>
          </p:nvSpPr>
          <p:spPr>
            <a:xfrm>
              <a:off x="6377224" y="2651589"/>
              <a:ext cx="117958" cy="49286"/>
            </a:xfrm>
            <a:custGeom>
              <a:avLst/>
              <a:gdLst>
                <a:gd name="connsiteX0" fmla="*/ 117958 w 117958"/>
                <a:gd name="connsiteY0" fmla="*/ 14095 h 49286"/>
                <a:gd name="connsiteX1" fmla="*/ 103888 w 117958"/>
                <a:gd name="connsiteY1" fmla="*/ 0 h 49286"/>
                <a:gd name="connsiteX2" fmla="*/ 55715 w 117958"/>
                <a:gd name="connsiteY2" fmla="*/ 0 h 49286"/>
                <a:gd name="connsiteX3" fmla="*/ 55715 w 117958"/>
                <a:gd name="connsiteY3" fmla="*/ 16476 h 49286"/>
                <a:gd name="connsiteX4" fmla="*/ 32830 w 117958"/>
                <a:gd name="connsiteY4" fmla="*/ 16476 h 49286"/>
                <a:gd name="connsiteX5" fmla="*/ 0 w 117958"/>
                <a:gd name="connsiteY5" fmla="*/ 49286 h 49286"/>
                <a:gd name="connsiteX6" fmla="*/ 117958 w 117958"/>
                <a:gd name="connsiteY6" fmla="*/ 49286 h 49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7958" h="49286">
                  <a:moveTo>
                    <a:pt x="117958" y="14095"/>
                  </a:moveTo>
                  <a:lnTo>
                    <a:pt x="103888" y="0"/>
                  </a:lnTo>
                  <a:lnTo>
                    <a:pt x="55715" y="0"/>
                  </a:lnTo>
                  <a:lnTo>
                    <a:pt x="55715" y="16476"/>
                  </a:lnTo>
                  <a:lnTo>
                    <a:pt x="32830" y="16476"/>
                  </a:lnTo>
                  <a:lnTo>
                    <a:pt x="0" y="49286"/>
                  </a:lnTo>
                  <a:lnTo>
                    <a:pt x="117958" y="49286"/>
                  </a:lnTo>
                  <a:close/>
                </a:path>
              </a:pathLst>
            </a:custGeom>
            <a:grpFill/>
            <a:ln w="20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62" name="Rectangle 661">
            <a:extLst>
              <a:ext uri="{FF2B5EF4-FFF2-40B4-BE49-F238E27FC236}">
                <a16:creationId xmlns:a16="http://schemas.microsoft.com/office/drawing/2014/main" id="{C948D327-F6DA-4883-BC44-149B37FDDF1D}"/>
              </a:ext>
            </a:extLst>
          </p:cNvPr>
          <p:cNvSpPr/>
          <p:nvPr/>
        </p:nvSpPr>
        <p:spPr>
          <a:xfrm>
            <a:off x="5230684" y="1837078"/>
            <a:ext cx="305830" cy="357425"/>
          </a:xfrm>
          <a:prstGeom prst="rect">
            <a:avLst/>
          </a:prstGeom>
          <a:solidFill>
            <a:srgbClr val="DAF4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sz="600">
              <a:solidFill>
                <a:schemeClr val="accent5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AAFE289-270F-4D3E-A991-4B188945D67E}"/>
              </a:ext>
            </a:extLst>
          </p:cNvPr>
          <p:cNvGrpSpPr/>
          <p:nvPr/>
        </p:nvGrpSpPr>
        <p:grpSpPr>
          <a:xfrm>
            <a:off x="5477492" y="1670011"/>
            <a:ext cx="877473" cy="452700"/>
            <a:chOff x="5107056" y="338266"/>
            <a:chExt cx="1261818" cy="65098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6FDD08E-E753-4104-8E72-E01084A140D3}"/>
                </a:ext>
              </a:extLst>
            </p:cNvPr>
            <p:cNvSpPr/>
            <p:nvPr/>
          </p:nvSpPr>
          <p:spPr>
            <a:xfrm>
              <a:off x="5107056" y="338266"/>
              <a:ext cx="1261818" cy="5794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50800" dir="2700000" sx="99000" sy="99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36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1"/>
                </a:buClr>
                <a:buSzPct val="120000"/>
              </a:pPr>
              <a:r>
                <a:rPr lang="nb-NO" sz="600" b="1" cap="all">
                  <a:solidFill>
                    <a:schemeClr val="accent5"/>
                  </a:solidFill>
                </a:rPr>
                <a:t>NORWEGEN</a:t>
              </a:r>
              <a:endParaRPr lang="en-US" sz="600" b="1" cap="all">
                <a:solidFill>
                  <a:schemeClr val="accent5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760D66F7-2025-41B1-AE08-DC08EB862D34}"/>
                </a:ext>
              </a:extLst>
            </p:cNvPr>
            <p:cNvCxnSpPr>
              <a:cxnSpLocks/>
            </p:cNvCxnSpPr>
            <p:nvPr/>
          </p:nvCxnSpPr>
          <p:spPr>
            <a:xfrm>
              <a:off x="5165603" y="556279"/>
              <a:ext cx="1148494" cy="0"/>
            </a:xfrm>
            <a:prstGeom prst="line">
              <a:avLst/>
            </a:prstGeom>
            <a:ln w="6350" cap="flat" cmpd="sng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9635423-1A9D-4A57-9BC9-B655EA23CB9F}"/>
                </a:ext>
              </a:extLst>
            </p:cNvPr>
            <p:cNvSpPr/>
            <p:nvPr/>
          </p:nvSpPr>
          <p:spPr>
            <a:xfrm rot="18900000">
              <a:off x="6103328" y="834260"/>
              <a:ext cx="154995" cy="1549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600">
                <a:solidFill>
                  <a:schemeClr val="accent5"/>
                </a:solidFill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1B2148BA-4A3C-4E65-855F-C923F3B9B3A4}"/>
                </a:ext>
              </a:extLst>
            </p:cNvPr>
            <p:cNvGrpSpPr/>
            <p:nvPr/>
          </p:nvGrpSpPr>
          <p:grpSpPr>
            <a:xfrm>
              <a:off x="5161426" y="615780"/>
              <a:ext cx="1113667" cy="255853"/>
              <a:chOff x="5161426" y="615780"/>
              <a:chExt cx="1163474" cy="267296"/>
            </a:xfrm>
          </p:grpSpPr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244C988D-8FC8-498E-A7A5-CFDB8AED82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5161426" y="615780"/>
                <a:ext cx="267296" cy="267296"/>
              </a:xfrm>
              <a:prstGeom prst="rect">
                <a:avLst/>
              </a:prstGeom>
            </p:spPr>
          </p:pic>
          <p:pic>
            <p:nvPicPr>
              <p:cNvPr id="239" name="Graphic 238">
                <a:extLst>
                  <a:ext uri="{FF2B5EF4-FFF2-40B4-BE49-F238E27FC236}">
                    <a16:creationId xmlns:a16="http://schemas.microsoft.com/office/drawing/2014/main" id="{B5F1F7CD-BD68-4875-B961-DB6EBD864A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5460152" y="615780"/>
                <a:ext cx="267296" cy="267296"/>
              </a:xfrm>
              <a:prstGeom prst="rect">
                <a:avLst/>
              </a:prstGeom>
            </p:spPr>
          </p:pic>
          <p:pic>
            <p:nvPicPr>
              <p:cNvPr id="240" name="Graphic 239">
                <a:extLst>
                  <a:ext uri="{FF2B5EF4-FFF2-40B4-BE49-F238E27FC236}">
                    <a16:creationId xmlns:a16="http://schemas.microsoft.com/office/drawing/2014/main" id="{951DF651-F78B-48E0-A4BD-4D610FC8AC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rcRect/>
              <a:stretch/>
            </p:blipFill>
            <p:spPr>
              <a:xfrm>
                <a:off x="5758879" y="615780"/>
                <a:ext cx="267296" cy="267296"/>
              </a:xfrm>
              <a:prstGeom prst="rect">
                <a:avLst/>
              </a:prstGeom>
            </p:spPr>
          </p:pic>
          <p:pic>
            <p:nvPicPr>
              <p:cNvPr id="241" name="Graphic 240">
                <a:extLst>
                  <a:ext uri="{FF2B5EF4-FFF2-40B4-BE49-F238E27FC236}">
                    <a16:creationId xmlns:a16="http://schemas.microsoft.com/office/drawing/2014/main" id="{62D01D3F-FACA-4518-9811-9553D7B8D1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6057604" y="615780"/>
                <a:ext cx="267296" cy="267296"/>
              </a:xfrm>
              <a:prstGeom prst="rect">
                <a:avLst/>
              </a:prstGeom>
            </p:spPr>
          </p:pic>
        </p:grpSp>
      </p:grpSp>
      <p:grpSp>
        <p:nvGrpSpPr>
          <p:cNvPr id="298" name="Group 297">
            <a:extLst>
              <a:ext uri="{FF2B5EF4-FFF2-40B4-BE49-F238E27FC236}">
                <a16:creationId xmlns:a16="http://schemas.microsoft.com/office/drawing/2014/main" id="{53E0A55B-7F85-4C61-B4E2-C652AC71974B}"/>
              </a:ext>
            </a:extLst>
          </p:cNvPr>
          <p:cNvGrpSpPr/>
          <p:nvPr/>
        </p:nvGrpSpPr>
        <p:grpSpPr>
          <a:xfrm>
            <a:off x="6431131" y="1670011"/>
            <a:ext cx="877473" cy="452700"/>
            <a:chOff x="5107056" y="338266"/>
            <a:chExt cx="1261818" cy="650988"/>
          </a:xfrm>
        </p:grpSpPr>
        <p:sp>
          <p:nvSpPr>
            <p:cNvPr id="299" name="Rectangle 298">
              <a:extLst>
                <a:ext uri="{FF2B5EF4-FFF2-40B4-BE49-F238E27FC236}">
                  <a16:creationId xmlns:a16="http://schemas.microsoft.com/office/drawing/2014/main" id="{7D9FF74B-38C4-4BD9-808A-30C99DCE0789}"/>
                </a:ext>
              </a:extLst>
            </p:cNvPr>
            <p:cNvSpPr/>
            <p:nvPr/>
          </p:nvSpPr>
          <p:spPr>
            <a:xfrm>
              <a:off x="5107056" y="338266"/>
              <a:ext cx="1261818" cy="5794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50800" dir="2700000" sx="99000" sy="99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36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1"/>
                </a:buClr>
                <a:buSzPct val="120000"/>
              </a:pPr>
              <a:r>
                <a:rPr lang="nb-NO" sz="600" b="1" cap="all">
                  <a:solidFill>
                    <a:schemeClr val="accent5"/>
                  </a:solidFill>
                </a:rPr>
                <a:t>SCHWEDEN</a:t>
              </a:r>
              <a:endParaRPr lang="en-US" sz="600" b="1" cap="all">
                <a:solidFill>
                  <a:schemeClr val="accent5"/>
                </a:solidFill>
              </a:endParaRPr>
            </a:p>
          </p:txBody>
        </p:sp>
        <p:cxnSp>
          <p:nvCxnSpPr>
            <p:cNvPr id="300" name="Straight Connector 299">
              <a:extLst>
                <a:ext uri="{FF2B5EF4-FFF2-40B4-BE49-F238E27FC236}">
                  <a16:creationId xmlns:a16="http://schemas.microsoft.com/office/drawing/2014/main" id="{66A4C5B8-7B4D-4D61-8163-8143D4BF4326}"/>
                </a:ext>
              </a:extLst>
            </p:cNvPr>
            <p:cNvCxnSpPr>
              <a:cxnSpLocks/>
            </p:cNvCxnSpPr>
            <p:nvPr/>
          </p:nvCxnSpPr>
          <p:spPr>
            <a:xfrm>
              <a:off x="5165603" y="556279"/>
              <a:ext cx="1148494" cy="0"/>
            </a:xfrm>
            <a:prstGeom prst="line">
              <a:avLst/>
            </a:prstGeom>
            <a:ln w="6350" cap="flat" cmpd="sng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1" name="Rectangle 300">
              <a:extLst>
                <a:ext uri="{FF2B5EF4-FFF2-40B4-BE49-F238E27FC236}">
                  <a16:creationId xmlns:a16="http://schemas.microsoft.com/office/drawing/2014/main" id="{EE3787BD-87D4-4260-9CEF-CD32033611C3}"/>
                </a:ext>
              </a:extLst>
            </p:cNvPr>
            <p:cNvSpPr/>
            <p:nvPr/>
          </p:nvSpPr>
          <p:spPr>
            <a:xfrm rot="18900000">
              <a:off x="5212793" y="834260"/>
              <a:ext cx="154995" cy="1549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600">
                <a:solidFill>
                  <a:schemeClr val="accent5"/>
                </a:solidFill>
              </a:endParaRPr>
            </a:p>
          </p:txBody>
        </p:sp>
        <p:grpSp>
          <p:nvGrpSpPr>
            <p:cNvPr id="302" name="Group 301">
              <a:extLst>
                <a:ext uri="{FF2B5EF4-FFF2-40B4-BE49-F238E27FC236}">
                  <a16:creationId xmlns:a16="http://schemas.microsoft.com/office/drawing/2014/main" id="{41B17306-88BC-4ADD-8412-5FDE23BE8234}"/>
                </a:ext>
              </a:extLst>
            </p:cNvPr>
            <p:cNvGrpSpPr/>
            <p:nvPr/>
          </p:nvGrpSpPr>
          <p:grpSpPr>
            <a:xfrm>
              <a:off x="5161426" y="615780"/>
              <a:ext cx="1113667" cy="255853"/>
              <a:chOff x="5161426" y="615780"/>
              <a:chExt cx="1163474" cy="267296"/>
            </a:xfrm>
          </p:grpSpPr>
          <p:pic>
            <p:nvPicPr>
              <p:cNvPr id="303" name="Graphic 302">
                <a:extLst>
                  <a:ext uri="{FF2B5EF4-FFF2-40B4-BE49-F238E27FC236}">
                    <a16:creationId xmlns:a16="http://schemas.microsoft.com/office/drawing/2014/main" id="{9D469021-753C-4696-8D82-234A675596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5161426" y="615780"/>
                <a:ext cx="267296" cy="267296"/>
              </a:xfrm>
              <a:prstGeom prst="rect">
                <a:avLst/>
              </a:prstGeom>
            </p:spPr>
          </p:pic>
          <p:pic>
            <p:nvPicPr>
              <p:cNvPr id="304" name="Graphic 303">
                <a:extLst>
                  <a:ext uri="{FF2B5EF4-FFF2-40B4-BE49-F238E27FC236}">
                    <a16:creationId xmlns:a16="http://schemas.microsoft.com/office/drawing/2014/main" id="{0DC306F7-83CB-4315-81D3-CEFF95F85F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5460152" y="615780"/>
                <a:ext cx="267296" cy="267296"/>
              </a:xfrm>
              <a:prstGeom prst="rect">
                <a:avLst/>
              </a:prstGeom>
            </p:spPr>
          </p:pic>
          <p:pic>
            <p:nvPicPr>
              <p:cNvPr id="305" name="Graphic 304">
                <a:extLst>
                  <a:ext uri="{FF2B5EF4-FFF2-40B4-BE49-F238E27FC236}">
                    <a16:creationId xmlns:a16="http://schemas.microsoft.com/office/drawing/2014/main" id="{3C72FF9D-4B67-4ACF-903E-7C80FC7304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rcRect/>
              <a:stretch/>
            </p:blipFill>
            <p:spPr>
              <a:xfrm>
                <a:off x="5758879" y="615780"/>
                <a:ext cx="267296" cy="267296"/>
              </a:xfrm>
              <a:prstGeom prst="rect">
                <a:avLst/>
              </a:prstGeom>
            </p:spPr>
          </p:pic>
          <p:pic>
            <p:nvPicPr>
              <p:cNvPr id="306" name="Graphic 305">
                <a:extLst>
                  <a:ext uri="{FF2B5EF4-FFF2-40B4-BE49-F238E27FC236}">
                    <a16:creationId xmlns:a16="http://schemas.microsoft.com/office/drawing/2014/main" id="{6731531F-150C-4562-935B-EEFABAC263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6057604" y="615780"/>
                <a:ext cx="267296" cy="267296"/>
              </a:xfrm>
              <a:prstGeom prst="rect">
                <a:avLst/>
              </a:prstGeom>
            </p:spPr>
          </p:pic>
        </p:grpSp>
      </p:grpSp>
      <p:grpSp>
        <p:nvGrpSpPr>
          <p:cNvPr id="307" name="Group 306">
            <a:extLst>
              <a:ext uri="{FF2B5EF4-FFF2-40B4-BE49-F238E27FC236}">
                <a16:creationId xmlns:a16="http://schemas.microsoft.com/office/drawing/2014/main" id="{9D3266CD-CAE4-4038-8D9D-56060FD29391}"/>
              </a:ext>
            </a:extLst>
          </p:cNvPr>
          <p:cNvGrpSpPr/>
          <p:nvPr/>
        </p:nvGrpSpPr>
        <p:grpSpPr>
          <a:xfrm>
            <a:off x="4523279" y="1873229"/>
            <a:ext cx="927048" cy="402950"/>
            <a:chOff x="5107056" y="338266"/>
            <a:chExt cx="1333108" cy="579448"/>
          </a:xfrm>
        </p:grpSpPr>
        <p:sp>
          <p:nvSpPr>
            <p:cNvPr id="308" name="Rectangle 307">
              <a:extLst>
                <a:ext uri="{FF2B5EF4-FFF2-40B4-BE49-F238E27FC236}">
                  <a16:creationId xmlns:a16="http://schemas.microsoft.com/office/drawing/2014/main" id="{259B305D-3FE5-465B-B09A-56CAC8270450}"/>
                </a:ext>
              </a:extLst>
            </p:cNvPr>
            <p:cNvSpPr/>
            <p:nvPr/>
          </p:nvSpPr>
          <p:spPr>
            <a:xfrm>
              <a:off x="5107056" y="338266"/>
              <a:ext cx="1261818" cy="5794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50800" dir="2700000" sx="99000" sy="99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36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1"/>
                </a:buClr>
                <a:buSzPct val="120000"/>
              </a:pPr>
              <a:r>
                <a:rPr lang="nb-NO" sz="600" b="1" cap="all" err="1">
                  <a:solidFill>
                    <a:schemeClr val="accent5"/>
                  </a:solidFill>
                </a:rPr>
                <a:t>Großbritannien</a:t>
              </a:r>
              <a:endParaRPr lang="en-US" sz="600" b="1" cap="all">
                <a:solidFill>
                  <a:schemeClr val="accent5"/>
                </a:solidFill>
              </a:endParaRPr>
            </a:p>
          </p:txBody>
        </p:sp>
        <p:cxnSp>
          <p:nvCxnSpPr>
            <p:cNvPr id="309" name="Straight Connector 308">
              <a:extLst>
                <a:ext uri="{FF2B5EF4-FFF2-40B4-BE49-F238E27FC236}">
                  <a16:creationId xmlns:a16="http://schemas.microsoft.com/office/drawing/2014/main" id="{FD93F3C9-4EF8-46E8-A552-848ED8FC9D33}"/>
                </a:ext>
              </a:extLst>
            </p:cNvPr>
            <p:cNvCxnSpPr>
              <a:cxnSpLocks/>
            </p:cNvCxnSpPr>
            <p:nvPr/>
          </p:nvCxnSpPr>
          <p:spPr>
            <a:xfrm>
              <a:off x="5165603" y="556279"/>
              <a:ext cx="1148494" cy="0"/>
            </a:xfrm>
            <a:prstGeom prst="line">
              <a:avLst/>
            </a:prstGeom>
            <a:ln w="6350" cap="flat" cmpd="sng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10" name="Rectangle 309">
              <a:extLst>
                <a:ext uri="{FF2B5EF4-FFF2-40B4-BE49-F238E27FC236}">
                  <a16:creationId xmlns:a16="http://schemas.microsoft.com/office/drawing/2014/main" id="{0A158373-158A-4F51-8EAC-FF513349A340}"/>
                </a:ext>
              </a:extLst>
            </p:cNvPr>
            <p:cNvSpPr/>
            <p:nvPr/>
          </p:nvSpPr>
          <p:spPr>
            <a:xfrm rot="18900000">
              <a:off x="6285169" y="658748"/>
              <a:ext cx="154995" cy="1549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600">
                <a:solidFill>
                  <a:schemeClr val="accent5"/>
                </a:solidFill>
              </a:endParaRPr>
            </a:p>
          </p:txBody>
        </p:sp>
        <p:grpSp>
          <p:nvGrpSpPr>
            <p:cNvPr id="311" name="Group 310">
              <a:extLst>
                <a:ext uri="{FF2B5EF4-FFF2-40B4-BE49-F238E27FC236}">
                  <a16:creationId xmlns:a16="http://schemas.microsoft.com/office/drawing/2014/main" id="{7195CBFF-0B11-4B6E-A542-77047074619D}"/>
                </a:ext>
              </a:extLst>
            </p:cNvPr>
            <p:cNvGrpSpPr/>
            <p:nvPr/>
          </p:nvGrpSpPr>
          <p:grpSpPr>
            <a:xfrm>
              <a:off x="5161426" y="615780"/>
              <a:ext cx="1113666" cy="255853"/>
              <a:chOff x="5161426" y="615780"/>
              <a:chExt cx="1163473" cy="267296"/>
            </a:xfrm>
          </p:grpSpPr>
          <p:pic>
            <p:nvPicPr>
              <p:cNvPr id="312" name="Graphic 311">
                <a:extLst>
                  <a:ext uri="{FF2B5EF4-FFF2-40B4-BE49-F238E27FC236}">
                    <a16:creationId xmlns:a16="http://schemas.microsoft.com/office/drawing/2014/main" id="{93B99C2F-CAAB-4B79-BE1C-D87A1130BA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5161426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313" name="Graphic 312">
                <a:extLst>
                  <a:ext uri="{FF2B5EF4-FFF2-40B4-BE49-F238E27FC236}">
                    <a16:creationId xmlns:a16="http://schemas.microsoft.com/office/drawing/2014/main" id="{997C7886-DAA4-4B08-9D03-2E6C3CD328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5460152" y="615780"/>
                <a:ext cx="267296" cy="267296"/>
              </a:xfrm>
              <a:prstGeom prst="rect">
                <a:avLst/>
              </a:prstGeom>
            </p:spPr>
          </p:pic>
          <p:pic>
            <p:nvPicPr>
              <p:cNvPr id="314" name="Graphic 313">
                <a:extLst>
                  <a:ext uri="{FF2B5EF4-FFF2-40B4-BE49-F238E27FC236}">
                    <a16:creationId xmlns:a16="http://schemas.microsoft.com/office/drawing/2014/main" id="{848768D4-595B-4D76-9F75-C5007D1979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5758877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315" name="Graphic 314">
                <a:extLst>
                  <a:ext uri="{FF2B5EF4-FFF2-40B4-BE49-F238E27FC236}">
                    <a16:creationId xmlns:a16="http://schemas.microsoft.com/office/drawing/2014/main" id="{94F0D6D1-2AF6-4F7E-8AB3-CDBAEBD2C1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/>
            </p:blipFill>
            <p:spPr>
              <a:xfrm>
                <a:off x="6057604" y="615780"/>
                <a:ext cx="267295" cy="267296"/>
              </a:xfrm>
              <a:prstGeom prst="rect">
                <a:avLst/>
              </a:prstGeom>
            </p:spPr>
          </p:pic>
        </p:grpSp>
      </p:grpSp>
      <p:grpSp>
        <p:nvGrpSpPr>
          <p:cNvPr id="325" name="Group 324">
            <a:extLst>
              <a:ext uri="{FF2B5EF4-FFF2-40B4-BE49-F238E27FC236}">
                <a16:creationId xmlns:a16="http://schemas.microsoft.com/office/drawing/2014/main" id="{8E7BE1E1-3541-4026-96C3-006251D77D9D}"/>
              </a:ext>
            </a:extLst>
          </p:cNvPr>
          <p:cNvGrpSpPr/>
          <p:nvPr/>
        </p:nvGrpSpPr>
        <p:grpSpPr>
          <a:xfrm>
            <a:off x="4523279" y="2335410"/>
            <a:ext cx="927048" cy="402950"/>
            <a:chOff x="5107056" y="338266"/>
            <a:chExt cx="1333108" cy="579448"/>
          </a:xfrm>
        </p:grpSpPr>
        <p:sp>
          <p:nvSpPr>
            <p:cNvPr id="326" name="Rectangle 325">
              <a:extLst>
                <a:ext uri="{FF2B5EF4-FFF2-40B4-BE49-F238E27FC236}">
                  <a16:creationId xmlns:a16="http://schemas.microsoft.com/office/drawing/2014/main" id="{4C852C5A-C824-43EF-A6B7-2CC645E6D388}"/>
                </a:ext>
              </a:extLst>
            </p:cNvPr>
            <p:cNvSpPr/>
            <p:nvPr/>
          </p:nvSpPr>
          <p:spPr>
            <a:xfrm>
              <a:off x="5107056" y="338266"/>
              <a:ext cx="1261818" cy="5794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50800" dir="2700000" sx="99000" sy="99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36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1"/>
                </a:buClr>
                <a:buSzPct val="120000"/>
              </a:pPr>
              <a:r>
                <a:rPr lang="nb-NO" sz="600" b="1" cap="all">
                  <a:solidFill>
                    <a:schemeClr val="accent5"/>
                  </a:solidFill>
                </a:rPr>
                <a:t>IRLAND</a:t>
              </a:r>
              <a:endParaRPr lang="en-US" sz="600" b="1" cap="all">
                <a:solidFill>
                  <a:schemeClr val="accent5"/>
                </a:solidFill>
              </a:endParaRPr>
            </a:p>
          </p:txBody>
        </p:sp>
        <p:cxnSp>
          <p:nvCxnSpPr>
            <p:cNvPr id="327" name="Straight Connector 326">
              <a:extLst>
                <a:ext uri="{FF2B5EF4-FFF2-40B4-BE49-F238E27FC236}">
                  <a16:creationId xmlns:a16="http://schemas.microsoft.com/office/drawing/2014/main" id="{3771A7EF-D713-4719-9690-FE574F6485D1}"/>
                </a:ext>
              </a:extLst>
            </p:cNvPr>
            <p:cNvCxnSpPr>
              <a:cxnSpLocks/>
            </p:cNvCxnSpPr>
            <p:nvPr/>
          </p:nvCxnSpPr>
          <p:spPr>
            <a:xfrm>
              <a:off x="5165603" y="556279"/>
              <a:ext cx="1148494" cy="0"/>
            </a:xfrm>
            <a:prstGeom prst="line">
              <a:avLst/>
            </a:prstGeom>
            <a:ln w="6350" cap="flat" cmpd="sng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8" name="Rectangle 327">
              <a:extLst>
                <a:ext uri="{FF2B5EF4-FFF2-40B4-BE49-F238E27FC236}">
                  <a16:creationId xmlns:a16="http://schemas.microsoft.com/office/drawing/2014/main" id="{439F4191-9B71-4C10-B7DB-670D5BBB48A3}"/>
                </a:ext>
              </a:extLst>
            </p:cNvPr>
            <p:cNvSpPr/>
            <p:nvPr/>
          </p:nvSpPr>
          <p:spPr>
            <a:xfrm rot="18900000">
              <a:off x="6285169" y="658748"/>
              <a:ext cx="154995" cy="1549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600">
                <a:solidFill>
                  <a:schemeClr val="accent5"/>
                </a:solidFill>
              </a:endParaRPr>
            </a:p>
          </p:txBody>
        </p:sp>
        <p:grpSp>
          <p:nvGrpSpPr>
            <p:cNvPr id="329" name="Group 328">
              <a:extLst>
                <a:ext uri="{FF2B5EF4-FFF2-40B4-BE49-F238E27FC236}">
                  <a16:creationId xmlns:a16="http://schemas.microsoft.com/office/drawing/2014/main" id="{4ABBEDE7-ECEF-45B2-85F3-D7CCA7168E62}"/>
                </a:ext>
              </a:extLst>
            </p:cNvPr>
            <p:cNvGrpSpPr/>
            <p:nvPr/>
          </p:nvGrpSpPr>
          <p:grpSpPr>
            <a:xfrm>
              <a:off x="5161426" y="615780"/>
              <a:ext cx="1113667" cy="255853"/>
              <a:chOff x="5161426" y="615780"/>
              <a:chExt cx="1163474" cy="267296"/>
            </a:xfrm>
          </p:grpSpPr>
          <p:pic>
            <p:nvPicPr>
              <p:cNvPr id="330" name="Graphic 329">
                <a:extLst>
                  <a:ext uri="{FF2B5EF4-FFF2-40B4-BE49-F238E27FC236}">
                    <a16:creationId xmlns:a16="http://schemas.microsoft.com/office/drawing/2014/main" id="{2D3575F1-32DB-4B78-9478-0B4A42746F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5161426" y="615780"/>
                <a:ext cx="267296" cy="267296"/>
              </a:xfrm>
              <a:prstGeom prst="rect">
                <a:avLst/>
              </a:prstGeom>
            </p:spPr>
          </p:pic>
          <p:pic>
            <p:nvPicPr>
              <p:cNvPr id="331" name="Graphic 330">
                <a:extLst>
                  <a:ext uri="{FF2B5EF4-FFF2-40B4-BE49-F238E27FC236}">
                    <a16:creationId xmlns:a16="http://schemas.microsoft.com/office/drawing/2014/main" id="{ABAF3518-0A4C-4591-BB5A-0A825F08A8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5460152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332" name="Graphic 331">
                <a:extLst>
                  <a:ext uri="{FF2B5EF4-FFF2-40B4-BE49-F238E27FC236}">
                    <a16:creationId xmlns:a16="http://schemas.microsoft.com/office/drawing/2014/main" id="{01DED6E1-0381-424E-A7D1-2D33C2840C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/>
            </p:blipFill>
            <p:spPr>
              <a:xfrm>
                <a:off x="5758879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333" name="Graphic 332">
                <a:extLst>
                  <a:ext uri="{FF2B5EF4-FFF2-40B4-BE49-F238E27FC236}">
                    <a16:creationId xmlns:a16="http://schemas.microsoft.com/office/drawing/2014/main" id="{450B7A26-1E54-4580-899B-09317A91E62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rcRect/>
              <a:stretch/>
            </p:blipFill>
            <p:spPr>
              <a:xfrm>
                <a:off x="6057604" y="615780"/>
                <a:ext cx="267296" cy="267296"/>
              </a:xfrm>
              <a:prstGeom prst="rect">
                <a:avLst/>
              </a:prstGeom>
            </p:spPr>
          </p:pic>
        </p:grpSp>
      </p:grpSp>
      <p:grpSp>
        <p:nvGrpSpPr>
          <p:cNvPr id="334" name="Group 333">
            <a:extLst>
              <a:ext uri="{FF2B5EF4-FFF2-40B4-BE49-F238E27FC236}">
                <a16:creationId xmlns:a16="http://schemas.microsoft.com/office/drawing/2014/main" id="{16829FF4-EA9E-4144-B77E-69A324526ACF}"/>
              </a:ext>
            </a:extLst>
          </p:cNvPr>
          <p:cNvGrpSpPr/>
          <p:nvPr/>
        </p:nvGrpSpPr>
        <p:grpSpPr>
          <a:xfrm>
            <a:off x="4523279" y="2797590"/>
            <a:ext cx="927048" cy="402950"/>
            <a:chOff x="5107056" y="338266"/>
            <a:chExt cx="1333108" cy="579448"/>
          </a:xfrm>
        </p:grpSpPr>
        <p:sp>
          <p:nvSpPr>
            <p:cNvPr id="335" name="Rectangle 334">
              <a:extLst>
                <a:ext uri="{FF2B5EF4-FFF2-40B4-BE49-F238E27FC236}">
                  <a16:creationId xmlns:a16="http://schemas.microsoft.com/office/drawing/2014/main" id="{74CED028-BD22-4267-8D29-68957244A7EC}"/>
                </a:ext>
              </a:extLst>
            </p:cNvPr>
            <p:cNvSpPr/>
            <p:nvPr/>
          </p:nvSpPr>
          <p:spPr>
            <a:xfrm>
              <a:off x="5107056" y="338266"/>
              <a:ext cx="1261818" cy="5794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50800" dir="2700000" sx="99000" sy="99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36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1"/>
                </a:buClr>
                <a:buSzPct val="120000"/>
              </a:pPr>
              <a:r>
                <a:rPr lang="nb-NO" sz="600" b="1" cap="all" err="1">
                  <a:solidFill>
                    <a:schemeClr val="accent5"/>
                  </a:solidFill>
                </a:rPr>
                <a:t>NIederlande</a:t>
              </a:r>
              <a:endParaRPr lang="en-US" sz="600" b="1" cap="all">
                <a:solidFill>
                  <a:schemeClr val="accent5"/>
                </a:solidFill>
              </a:endParaRPr>
            </a:p>
          </p:txBody>
        </p:sp>
        <p:sp>
          <p:nvSpPr>
            <p:cNvPr id="337" name="Rectangle 336">
              <a:extLst>
                <a:ext uri="{FF2B5EF4-FFF2-40B4-BE49-F238E27FC236}">
                  <a16:creationId xmlns:a16="http://schemas.microsoft.com/office/drawing/2014/main" id="{FD60E7B5-308D-4892-AE7E-FFBB5FA5BA16}"/>
                </a:ext>
              </a:extLst>
            </p:cNvPr>
            <p:cNvSpPr/>
            <p:nvPr/>
          </p:nvSpPr>
          <p:spPr>
            <a:xfrm rot="18900000">
              <a:off x="6285169" y="481912"/>
              <a:ext cx="154995" cy="1549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600">
                <a:solidFill>
                  <a:schemeClr val="accent5"/>
                </a:solidFill>
              </a:endParaRPr>
            </a:p>
          </p:txBody>
        </p:sp>
        <p:grpSp>
          <p:nvGrpSpPr>
            <p:cNvPr id="338" name="Group 337">
              <a:extLst>
                <a:ext uri="{FF2B5EF4-FFF2-40B4-BE49-F238E27FC236}">
                  <a16:creationId xmlns:a16="http://schemas.microsoft.com/office/drawing/2014/main" id="{2DC96FF4-9D14-4FB0-8AB6-23D6553C129B}"/>
                </a:ext>
              </a:extLst>
            </p:cNvPr>
            <p:cNvGrpSpPr/>
            <p:nvPr/>
          </p:nvGrpSpPr>
          <p:grpSpPr>
            <a:xfrm>
              <a:off x="5161426" y="615780"/>
              <a:ext cx="1113667" cy="255853"/>
              <a:chOff x="5161426" y="615780"/>
              <a:chExt cx="1163474" cy="267296"/>
            </a:xfrm>
          </p:grpSpPr>
          <p:pic>
            <p:nvPicPr>
              <p:cNvPr id="339" name="Graphic 338">
                <a:extLst>
                  <a:ext uri="{FF2B5EF4-FFF2-40B4-BE49-F238E27FC236}">
                    <a16:creationId xmlns:a16="http://schemas.microsoft.com/office/drawing/2014/main" id="{01AF555D-C87B-4A3E-A793-5DBD89A014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5161426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340" name="Graphic 339">
                <a:extLst>
                  <a:ext uri="{FF2B5EF4-FFF2-40B4-BE49-F238E27FC236}">
                    <a16:creationId xmlns:a16="http://schemas.microsoft.com/office/drawing/2014/main" id="{9B9D1CCE-28C7-4F7E-A85A-2B6FF1B07E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5460152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341" name="Graphic 340">
                <a:extLst>
                  <a:ext uri="{FF2B5EF4-FFF2-40B4-BE49-F238E27FC236}">
                    <a16:creationId xmlns:a16="http://schemas.microsoft.com/office/drawing/2014/main" id="{0037147D-B906-4CF4-8E09-90976AFC35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/>
            </p:blipFill>
            <p:spPr>
              <a:xfrm>
                <a:off x="5758879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342" name="Graphic 341">
                <a:extLst>
                  <a:ext uri="{FF2B5EF4-FFF2-40B4-BE49-F238E27FC236}">
                    <a16:creationId xmlns:a16="http://schemas.microsoft.com/office/drawing/2014/main" id="{EE88EBE6-BB31-4754-A5F7-5464011420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rcRect/>
              <a:stretch/>
            </p:blipFill>
            <p:spPr>
              <a:xfrm>
                <a:off x="6057604" y="615780"/>
                <a:ext cx="267296" cy="267296"/>
              </a:xfrm>
              <a:prstGeom prst="rect">
                <a:avLst/>
              </a:prstGeom>
            </p:spPr>
          </p:pic>
        </p:grpSp>
        <p:cxnSp>
          <p:nvCxnSpPr>
            <p:cNvPr id="336" name="Straight Connector 335">
              <a:extLst>
                <a:ext uri="{FF2B5EF4-FFF2-40B4-BE49-F238E27FC236}">
                  <a16:creationId xmlns:a16="http://schemas.microsoft.com/office/drawing/2014/main" id="{6C770EBB-E3F7-4DDB-BE69-5D808AD30002}"/>
                </a:ext>
              </a:extLst>
            </p:cNvPr>
            <p:cNvCxnSpPr>
              <a:cxnSpLocks/>
            </p:cNvCxnSpPr>
            <p:nvPr/>
          </p:nvCxnSpPr>
          <p:spPr>
            <a:xfrm>
              <a:off x="5165603" y="556279"/>
              <a:ext cx="1148494" cy="0"/>
            </a:xfrm>
            <a:prstGeom prst="line">
              <a:avLst/>
            </a:prstGeom>
            <a:ln w="6350" cap="flat" cmpd="sng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3" name="Group 342">
            <a:extLst>
              <a:ext uri="{FF2B5EF4-FFF2-40B4-BE49-F238E27FC236}">
                <a16:creationId xmlns:a16="http://schemas.microsoft.com/office/drawing/2014/main" id="{4AFC38AB-47A1-4CA2-AA01-7A6C3A18924E}"/>
              </a:ext>
            </a:extLst>
          </p:cNvPr>
          <p:cNvGrpSpPr/>
          <p:nvPr/>
        </p:nvGrpSpPr>
        <p:grpSpPr>
          <a:xfrm>
            <a:off x="7851675" y="4627797"/>
            <a:ext cx="877473" cy="452131"/>
            <a:chOff x="5107056" y="267543"/>
            <a:chExt cx="1261818" cy="650171"/>
          </a:xfrm>
        </p:grpSpPr>
        <p:sp>
          <p:nvSpPr>
            <p:cNvPr id="344" name="Rectangle 343">
              <a:extLst>
                <a:ext uri="{FF2B5EF4-FFF2-40B4-BE49-F238E27FC236}">
                  <a16:creationId xmlns:a16="http://schemas.microsoft.com/office/drawing/2014/main" id="{4C7F1119-27DC-40D9-8C70-70B3B494A1E4}"/>
                </a:ext>
              </a:extLst>
            </p:cNvPr>
            <p:cNvSpPr/>
            <p:nvPr/>
          </p:nvSpPr>
          <p:spPr>
            <a:xfrm>
              <a:off x="5107056" y="338266"/>
              <a:ext cx="1261818" cy="5794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50800" dir="2700000" sx="99000" sy="99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36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1"/>
                </a:buClr>
                <a:buSzPct val="120000"/>
              </a:pPr>
              <a:r>
                <a:rPr lang="nb-NO" sz="600" b="1" cap="all" err="1">
                  <a:solidFill>
                    <a:schemeClr val="accent5"/>
                  </a:solidFill>
                </a:rPr>
                <a:t>indien</a:t>
              </a:r>
              <a:endParaRPr lang="en-US" sz="600" b="1" cap="all">
                <a:solidFill>
                  <a:schemeClr val="accent5"/>
                </a:solidFill>
              </a:endParaRPr>
            </a:p>
          </p:txBody>
        </p:sp>
        <p:sp>
          <p:nvSpPr>
            <p:cNvPr id="346" name="Rectangle 345">
              <a:extLst>
                <a:ext uri="{FF2B5EF4-FFF2-40B4-BE49-F238E27FC236}">
                  <a16:creationId xmlns:a16="http://schemas.microsoft.com/office/drawing/2014/main" id="{9BDA6CCC-17E4-4B96-AA5F-C53DAFA26685}"/>
                </a:ext>
              </a:extLst>
            </p:cNvPr>
            <p:cNvSpPr/>
            <p:nvPr/>
          </p:nvSpPr>
          <p:spPr>
            <a:xfrm rot="18900000">
              <a:off x="6069967" y="267543"/>
              <a:ext cx="154995" cy="1549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600">
                <a:solidFill>
                  <a:schemeClr val="accent5"/>
                </a:solidFill>
              </a:endParaRPr>
            </a:p>
          </p:txBody>
        </p:sp>
        <p:grpSp>
          <p:nvGrpSpPr>
            <p:cNvPr id="347" name="Group 346">
              <a:extLst>
                <a:ext uri="{FF2B5EF4-FFF2-40B4-BE49-F238E27FC236}">
                  <a16:creationId xmlns:a16="http://schemas.microsoft.com/office/drawing/2014/main" id="{29611C2C-8F8A-49B9-80F9-C39D2D62A43A}"/>
                </a:ext>
              </a:extLst>
            </p:cNvPr>
            <p:cNvGrpSpPr/>
            <p:nvPr/>
          </p:nvGrpSpPr>
          <p:grpSpPr>
            <a:xfrm>
              <a:off x="5161426" y="615780"/>
              <a:ext cx="1113666" cy="255853"/>
              <a:chOff x="5161426" y="615780"/>
              <a:chExt cx="1163473" cy="267296"/>
            </a:xfrm>
          </p:grpSpPr>
          <p:pic>
            <p:nvPicPr>
              <p:cNvPr id="348" name="Graphic 347">
                <a:extLst>
                  <a:ext uri="{FF2B5EF4-FFF2-40B4-BE49-F238E27FC236}">
                    <a16:creationId xmlns:a16="http://schemas.microsoft.com/office/drawing/2014/main" id="{DADDBE84-4463-42E7-A6AA-61724800DA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5161426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349" name="Graphic 348">
                <a:extLst>
                  <a:ext uri="{FF2B5EF4-FFF2-40B4-BE49-F238E27FC236}">
                    <a16:creationId xmlns:a16="http://schemas.microsoft.com/office/drawing/2014/main" id="{D7A3DF62-E519-41B8-9C10-B5B3A5D856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5460152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350" name="Graphic 349">
                <a:extLst>
                  <a:ext uri="{FF2B5EF4-FFF2-40B4-BE49-F238E27FC236}">
                    <a16:creationId xmlns:a16="http://schemas.microsoft.com/office/drawing/2014/main" id="{EB54086F-69A7-4AA4-9249-7A35594F15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5758877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351" name="Graphic 350">
                <a:extLst>
                  <a:ext uri="{FF2B5EF4-FFF2-40B4-BE49-F238E27FC236}">
                    <a16:creationId xmlns:a16="http://schemas.microsoft.com/office/drawing/2014/main" id="{A32B8353-6A73-419A-9D13-D6817B4F3A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/>
            </p:blipFill>
            <p:spPr>
              <a:xfrm>
                <a:off x="6057604" y="615780"/>
                <a:ext cx="267295" cy="267296"/>
              </a:xfrm>
              <a:prstGeom prst="rect">
                <a:avLst/>
              </a:prstGeom>
            </p:spPr>
          </p:pic>
        </p:grpSp>
        <p:cxnSp>
          <p:nvCxnSpPr>
            <p:cNvPr id="345" name="Straight Connector 344">
              <a:extLst>
                <a:ext uri="{FF2B5EF4-FFF2-40B4-BE49-F238E27FC236}">
                  <a16:creationId xmlns:a16="http://schemas.microsoft.com/office/drawing/2014/main" id="{61F0886F-6675-48E9-81C4-BBAD6A041094}"/>
                </a:ext>
              </a:extLst>
            </p:cNvPr>
            <p:cNvCxnSpPr>
              <a:cxnSpLocks/>
            </p:cNvCxnSpPr>
            <p:nvPr/>
          </p:nvCxnSpPr>
          <p:spPr>
            <a:xfrm>
              <a:off x="5165603" y="556279"/>
              <a:ext cx="1148494" cy="0"/>
            </a:xfrm>
            <a:prstGeom prst="line">
              <a:avLst/>
            </a:prstGeom>
            <a:ln w="6350" cap="flat" cmpd="sng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2" name="Group 351">
            <a:extLst>
              <a:ext uri="{FF2B5EF4-FFF2-40B4-BE49-F238E27FC236}">
                <a16:creationId xmlns:a16="http://schemas.microsoft.com/office/drawing/2014/main" id="{E62997F0-C34D-4CF2-99F7-05EDD0E3D6FA}"/>
              </a:ext>
            </a:extLst>
          </p:cNvPr>
          <p:cNvGrpSpPr/>
          <p:nvPr/>
        </p:nvGrpSpPr>
        <p:grpSpPr>
          <a:xfrm>
            <a:off x="4751113" y="3823211"/>
            <a:ext cx="650432" cy="455222"/>
            <a:chOff x="5107056" y="263099"/>
            <a:chExt cx="935330" cy="654615"/>
          </a:xfrm>
        </p:grpSpPr>
        <p:sp>
          <p:nvSpPr>
            <p:cNvPr id="353" name="Rectangle 352">
              <a:extLst>
                <a:ext uri="{FF2B5EF4-FFF2-40B4-BE49-F238E27FC236}">
                  <a16:creationId xmlns:a16="http://schemas.microsoft.com/office/drawing/2014/main" id="{6E6465E1-8206-4993-A971-0E084D0C9915}"/>
                </a:ext>
              </a:extLst>
            </p:cNvPr>
            <p:cNvSpPr/>
            <p:nvPr/>
          </p:nvSpPr>
          <p:spPr>
            <a:xfrm>
              <a:off x="5107056" y="338266"/>
              <a:ext cx="935330" cy="5794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50800" dir="2700000" sx="99000" sy="99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36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1"/>
                </a:buClr>
                <a:buSzPct val="120000"/>
              </a:pPr>
              <a:r>
                <a:rPr lang="nb-NO" sz="600" b="1" cap="all" err="1">
                  <a:solidFill>
                    <a:schemeClr val="accent5"/>
                  </a:solidFill>
                </a:rPr>
                <a:t>spanien</a:t>
              </a:r>
              <a:endParaRPr lang="en-US" sz="600" b="1" cap="all">
                <a:solidFill>
                  <a:schemeClr val="accent5"/>
                </a:solidFill>
              </a:endParaRPr>
            </a:p>
          </p:txBody>
        </p:sp>
        <p:sp>
          <p:nvSpPr>
            <p:cNvPr id="354" name="Rectangle 353">
              <a:extLst>
                <a:ext uri="{FF2B5EF4-FFF2-40B4-BE49-F238E27FC236}">
                  <a16:creationId xmlns:a16="http://schemas.microsoft.com/office/drawing/2014/main" id="{972BC00B-86C0-44F3-8CA7-FB73B09DA013}"/>
                </a:ext>
              </a:extLst>
            </p:cNvPr>
            <p:cNvSpPr/>
            <p:nvPr/>
          </p:nvSpPr>
          <p:spPr>
            <a:xfrm rot="18900000">
              <a:off x="5779078" y="263099"/>
              <a:ext cx="154995" cy="1549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600">
                <a:solidFill>
                  <a:schemeClr val="accent5"/>
                </a:solidFill>
              </a:endParaRPr>
            </a:p>
          </p:txBody>
        </p:sp>
        <p:grpSp>
          <p:nvGrpSpPr>
            <p:cNvPr id="355" name="Group 354">
              <a:extLst>
                <a:ext uri="{FF2B5EF4-FFF2-40B4-BE49-F238E27FC236}">
                  <a16:creationId xmlns:a16="http://schemas.microsoft.com/office/drawing/2014/main" id="{965D68C3-B634-42A7-A65D-8B892B04D6AC}"/>
                </a:ext>
              </a:extLst>
            </p:cNvPr>
            <p:cNvGrpSpPr/>
            <p:nvPr/>
          </p:nvGrpSpPr>
          <p:grpSpPr>
            <a:xfrm>
              <a:off x="5161425" y="615780"/>
              <a:ext cx="827728" cy="255853"/>
              <a:chOff x="5161426" y="615780"/>
              <a:chExt cx="864747" cy="267296"/>
            </a:xfrm>
          </p:grpSpPr>
          <p:pic>
            <p:nvPicPr>
              <p:cNvPr id="357" name="Graphic 356">
                <a:extLst>
                  <a:ext uri="{FF2B5EF4-FFF2-40B4-BE49-F238E27FC236}">
                    <a16:creationId xmlns:a16="http://schemas.microsoft.com/office/drawing/2014/main" id="{5A30556E-7534-46A4-9A1E-7E6B1A28CE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5161426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358" name="Graphic 357">
                <a:extLst>
                  <a:ext uri="{FF2B5EF4-FFF2-40B4-BE49-F238E27FC236}">
                    <a16:creationId xmlns:a16="http://schemas.microsoft.com/office/drawing/2014/main" id="{7ABEF0A2-7ADC-42B3-8FB4-005E6B0A37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5460152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359" name="Graphic 358">
                <a:extLst>
                  <a:ext uri="{FF2B5EF4-FFF2-40B4-BE49-F238E27FC236}">
                    <a16:creationId xmlns:a16="http://schemas.microsoft.com/office/drawing/2014/main" id="{0ED04F89-18E2-499B-B543-C683D5900D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/>
            </p:blipFill>
            <p:spPr>
              <a:xfrm>
                <a:off x="5758878" y="615780"/>
                <a:ext cx="267295" cy="267296"/>
              </a:xfrm>
              <a:prstGeom prst="rect">
                <a:avLst/>
              </a:prstGeom>
            </p:spPr>
          </p:pic>
        </p:grpSp>
        <p:cxnSp>
          <p:nvCxnSpPr>
            <p:cNvPr id="356" name="Straight Connector 355">
              <a:extLst>
                <a:ext uri="{FF2B5EF4-FFF2-40B4-BE49-F238E27FC236}">
                  <a16:creationId xmlns:a16="http://schemas.microsoft.com/office/drawing/2014/main" id="{A4A02151-AB95-4A33-8E69-0FAEA7D9B757}"/>
                </a:ext>
              </a:extLst>
            </p:cNvPr>
            <p:cNvCxnSpPr>
              <a:cxnSpLocks/>
            </p:cNvCxnSpPr>
            <p:nvPr/>
          </p:nvCxnSpPr>
          <p:spPr>
            <a:xfrm>
              <a:off x="5165603" y="556279"/>
              <a:ext cx="823551" cy="0"/>
            </a:xfrm>
            <a:prstGeom prst="line">
              <a:avLst/>
            </a:prstGeom>
            <a:ln w="6350" cap="flat" cmpd="sng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1" name="Group 360">
            <a:extLst>
              <a:ext uri="{FF2B5EF4-FFF2-40B4-BE49-F238E27FC236}">
                <a16:creationId xmlns:a16="http://schemas.microsoft.com/office/drawing/2014/main" id="{3C548580-50A8-480D-AF31-76E2DC495330}"/>
              </a:ext>
            </a:extLst>
          </p:cNvPr>
          <p:cNvGrpSpPr/>
          <p:nvPr/>
        </p:nvGrpSpPr>
        <p:grpSpPr>
          <a:xfrm>
            <a:off x="5456242" y="3823211"/>
            <a:ext cx="650432" cy="455222"/>
            <a:chOff x="5107056" y="263099"/>
            <a:chExt cx="935330" cy="654615"/>
          </a:xfrm>
        </p:grpSpPr>
        <p:sp>
          <p:nvSpPr>
            <p:cNvPr id="362" name="Rectangle 361">
              <a:extLst>
                <a:ext uri="{FF2B5EF4-FFF2-40B4-BE49-F238E27FC236}">
                  <a16:creationId xmlns:a16="http://schemas.microsoft.com/office/drawing/2014/main" id="{A37C7C91-BCCA-449A-9995-2C98A249DD22}"/>
                </a:ext>
              </a:extLst>
            </p:cNvPr>
            <p:cNvSpPr/>
            <p:nvPr/>
          </p:nvSpPr>
          <p:spPr>
            <a:xfrm>
              <a:off x="5107056" y="338266"/>
              <a:ext cx="935330" cy="5794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50800" dir="2700000" sx="99000" sy="99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36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1"/>
                </a:buClr>
                <a:buSzPct val="120000"/>
              </a:pPr>
              <a:r>
                <a:rPr lang="nb-NO" sz="600" b="1" cap="all" err="1">
                  <a:solidFill>
                    <a:schemeClr val="accent5"/>
                  </a:solidFill>
                </a:rPr>
                <a:t>italien</a:t>
              </a:r>
              <a:endParaRPr lang="en-US" sz="600" b="1" cap="all">
                <a:solidFill>
                  <a:schemeClr val="accent5"/>
                </a:solidFill>
              </a:endParaRPr>
            </a:p>
          </p:txBody>
        </p:sp>
        <p:sp>
          <p:nvSpPr>
            <p:cNvPr id="363" name="Rectangle 362">
              <a:extLst>
                <a:ext uri="{FF2B5EF4-FFF2-40B4-BE49-F238E27FC236}">
                  <a16:creationId xmlns:a16="http://schemas.microsoft.com/office/drawing/2014/main" id="{DC66A327-E350-4ECF-B740-F9E694E4BF5A}"/>
                </a:ext>
              </a:extLst>
            </p:cNvPr>
            <p:cNvSpPr/>
            <p:nvPr/>
          </p:nvSpPr>
          <p:spPr>
            <a:xfrm rot="18900000">
              <a:off x="5779078" y="263099"/>
              <a:ext cx="154995" cy="1549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600">
                <a:solidFill>
                  <a:schemeClr val="accent5"/>
                </a:solidFill>
              </a:endParaRPr>
            </a:p>
          </p:txBody>
        </p:sp>
        <p:grpSp>
          <p:nvGrpSpPr>
            <p:cNvPr id="364" name="Group 363">
              <a:extLst>
                <a:ext uri="{FF2B5EF4-FFF2-40B4-BE49-F238E27FC236}">
                  <a16:creationId xmlns:a16="http://schemas.microsoft.com/office/drawing/2014/main" id="{29CC0626-1032-4ECC-A358-9FBDA141C52D}"/>
                </a:ext>
              </a:extLst>
            </p:cNvPr>
            <p:cNvGrpSpPr/>
            <p:nvPr/>
          </p:nvGrpSpPr>
          <p:grpSpPr>
            <a:xfrm>
              <a:off x="5161425" y="615780"/>
              <a:ext cx="827728" cy="255853"/>
              <a:chOff x="5161426" y="615780"/>
              <a:chExt cx="864747" cy="267296"/>
            </a:xfrm>
          </p:grpSpPr>
          <p:pic>
            <p:nvPicPr>
              <p:cNvPr id="366" name="Graphic 365">
                <a:extLst>
                  <a:ext uri="{FF2B5EF4-FFF2-40B4-BE49-F238E27FC236}">
                    <a16:creationId xmlns:a16="http://schemas.microsoft.com/office/drawing/2014/main" id="{ECD09C12-A16C-4094-BC50-D863E1FA05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5161426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367" name="Graphic 366">
                <a:extLst>
                  <a:ext uri="{FF2B5EF4-FFF2-40B4-BE49-F238E27FC236}">
                    <a16:creationId xmlns:a16="http://schemas.microsoft.com/office/drawing/2014/main" id="{BFF1C754-EE57-498D-B1B0-C776D72F2E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5460152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368" name="Graphic 367">
                <a:extLst>
                  <a:ext uri="{FF2B5EF4-FFF2-40B4-BE49-F238E27FC236}">
                    <a16:creationId xmlns:a16="http://schemas.microsoft.com/office/drawing/2014/main" id="{075267E1-2115-4BEB-97B3-0428A5C70A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/>
            </p:blipFill>
            <p:spPr>
              <a:xfrm>
                <a:off x="5758878" y="615780"/>
                <a:ext cx="267295" cy="267296"/>
              </a:xfrm>
              <a:prstGeom prst="rect">
                <a:avLst/>
              </a:prstGeom>
            </p:spPr>
          </p:pic>
        </p:grp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EAAA3FA3-C1CB-4A84-B1D0-EDBF58E93728}"/>
                </a:ext>
              </a:extLst>
            </p:cNvPr>
            <p:cNvCxnSpPr>
              <a:cxnSpLocks/>
            </p:cNvCxnSpPr>
            <p:nvPr/>
          </p:nvCxnSpPr>
          <p:spPr>
            <a:xfrm>
              <a:off x="5165603" y="556279"/>
              <a:ext cx="823551" cy="0"/>
            </a:xfrm>
            <a:prstGeom prst="line">
              <a:avLst/>
            </a:prstGeom>
            <a:ln w="6350" cap="flat" cmpd="sng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9" name="Group 368">
            <a:extLst>
              <a:ext uri="{FF2B5EF4-FFF2-40B4-BE49-F238E27FC236}">
                <a16:creationId xmlns:a16="http://schemas.microsoft.com/office/drawing/2014/main" id="{000488F8-4FCF-403C-AA36-6F0EA82F4E36}"/>
              </a:ext>
            </a:extLst>
          </p:cNvPr>
          <p:cNvGrpSpPr/>
          <p:nvPr/>
        </p:nvGrpSpPr>
        <p:grpSpPr>
          <a:xfrm>
            <a:off x="6161371" y="3823211"/>
            <a:ext cx="650432" cy="455222"/>
            <a:chOff x="5107056" y="263099"/>
            <a:chExt cx="935330" cy="654615"/>
          </a:xfrm>
        </p:grpSpPr>
        <p:sp>
          <p:nvSpPr>
            <p:cNvPr id="371" name="Rectangle 370">
              <a:extLst>
                <a:ext uri="{FF2B5EF4-FFF2-40B4-BE49-F238E27FC236}">
                  <a16:creationId xmlns:a16="http://schemas.microsoft.com/office/drawing/2014/main" id="{F70794D6-5A78-453C-8736-8379FF15F8C7}"/>
                </a:ext>
              </a:extLst>
            </p:cNvPr>
            <p:cNvSpPr/>
            <p:nvPr/>
          </p:nvSpPr>
          <p:spPr>
            <a:xfrm rot="18900000">
              <a:off x="5214158" y="263099"/>
              <a:ext cx="154995" cy="1549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600">
                <a:solidFill>
                  <a:schemeClr val="accent5"/>
                </a:solidFill>
              </a:endParaRPr>
            </a:p>
          </p:txBody>
        </p:sp>
        <p:sp>
          <p:nvSpPr>
            <p:cNvPr id="370" name="Rectangle 369">
              <a:extLst>
                <a:ext uri="{FF2B5EF4-FFF2-40B4-BE49-F238E27FC236}">
                  <a16:creationId xmlns:a16="http://schemas.microsoft.com/office/drawing/2014/main" id="{6E75C46C-B773-461F-B333-C42A21017C6C}"/>
                </a:ext>
              </a:extLst>
            </p:cNvPr>
            <p:cNvSpPr/>
            <p:nvPr/>
          </p:nvSpPr>
          <p:spPr>
            <a:xfrm>
              <a:off x="5107056" y="338266"/>
              <a:ext cx="935330" cy="5794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50800" dir="2700000" sx="99000" sy="99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36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1"/>
                </a:buClr>
                <a:buSzPct val="120000"/>
              </a:pPr>
              <a:r>
                <a:rPr lang="nb-NO" sz="600" b="1" cap="all" err="1">
                  <a:solidFill>
                    <a:schemeClr val="accent5"/>
                  </a:solidFill>
                </a:rPr>
                <a:t>kroatien</a:t>
              </a:r>
              <a:endParaRPr lang="en-US" sz="600" b="1" cap="all">
                <a:solidFill>
                  <a:schemeClr val="accent5"/>
                </a:solidFill>
              </a:endParaRPr>
            </a:p>
          </p:txBody>
        </p:sp>
        <p:grpSp>
          <p:nvGrpSpPr>
            <p:cNvPr id="372" name="Group 371">
              <a:extLst>
                <a:ext uri="{FF2B5EF4-FFF2-40B4-BE49-F238E27FC236}">
                  <a16:creationId xmlns:a16="http://schemas.microsoft.com/office/drawing/2014/main" id="{BDA69C52-5029-46E8-8BC2-8F2EE7041A4C}"/>
                </a:ext>
              </a:extLst>
            </p:cNvPr>
            <p:cNvGrpSpPr/>
            <p:nvPr/>
          </p:nvGrpSpPr>
          <p:grpSpPr>
            <a:xfrm>
              <a:off x="5161425" y="615780"/>
              <a:ext cx="827729" cy="255853"/>
              <a:chOff x="5161426" y="615780"/>
              <a:chExt cx="864748" cy="267296"/>
            </a:xfrm>
          </p:grpSpPr>
          <p:pic>
            <p:nvPicPr>
              <p:cNvPr id="374" name="Graphic 373">
                <a:extLst>
                  <a:ext uri="{FF2B5EF4-FFF2-40B4-BE49-F238E27FC236}">
                    <a16:creationId xmlns:a16="http://schemas.microsoft.com/office/drawing/2014/main" id="{8E9ED762-7D88-4F22-A9CD-45601026F1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5161426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375" name="Graphic 374">
                <a:extLst>
                  <a:ext uri="{FF2B5EF4-FFF2-40B4-BE49-F238E27FC236}">
                    <a16:creationId xmlns:a16="http://schemas.microsoft.com/office/drawing/2014/main" id="{207C7881-15D2-498B-A144-FEDB04EB91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/>
            </p:blipFill>
            <p:spPr>
              <a:xfrm>
                <a:off x="5460152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376" name="Graphic 375">
                <a:extLst>
                  <a:ext uri="{FF2B5EF4-FFF2-40B4-BE49-F238E27FC236}">
                    <a16:creationId xmlns:a16="http://schemas.microsoft.com/office/drawing/2014/main" id="{3E4CB1AD-FAA5-446A-8DB6-3C2E30302F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rcRect/>
              <a:stretch/>
            </p:blipFill>
            <p:spPr>
              <a:xfrm>
                <a:off x="5758878" y="615780"/>
                <a:ext cx="267296" cy="267296"/>
              </a:xfrm>
              <a:prstGeom prst="rect">
                <a:avLst/>
              </a:prstGeom>
            </p:spPr>
          </p:pic>
        </p:grpSp>
        <p:cxnSp>
          <p:nvCxnSpPr>
            <p:cNvPr id="373" name="Straight Connector 372">
              <a:extLst>
                <a:ext uri="{FF2B5EF4-FFF2-40B4-BE49-F238E27FC236}">
                  <a16:creationId xmlns:a16="http://schemas.microsoft.com/office/drawing/2014/main" id="{1624BAC8-504E-4DEE-8312-FF1F66070E90}"/>
                </a:ext>
              </a:extLst>
            </p:cNvPr>
            <p:cNvCxnSpPr>
              <a:cxnSpLocks/>
            </p:cNvCxnSpPr>
            <p:nvPr/>
          </p:nvCxnSpPr>
          <p:spPr>
            <a:xfrm>
              <a:off x="5165603" y="556279"/>
              <a:ext cx="823551" cy="0"/>
            </a:xfrm>
            <a:prstGeom prst="line">
              <a:avLst/>
            </a:prstGeom>
            <a:ln w="6350" cap="flat" cmpd="sng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7" name="Group 376">
            <a:extLst>
              <a:ext uri="{FF2B5EF4-FFF2-40B4-BE49-F238E27FC236}">
                <a16:creationId xmlns:a16="http://schemas.microsoft.com/office/drawing/2014/main" id="{59C42FB5-E4F1-4BFB-9839-1CE05D3F2B84}"/>
              </a:ext>
            </a:extLst>
          </p:cNvPr>
          <p:cNvGrpSpPr/>
          <p:nvPr/>
        </p:nvGrpSpPr>
        <p:grpSpPr>
          <a:xfrm>
            <a:off x="6866500" y="3823211"/>
            <a:ext cx="650432" cy="455222"/>
            <a:chOff x="5107056" y="263099"/>
            <a:chExt cx="935330" cy="654615"/>
          </a:xfrm>
        </p:grpSpPr>
        <p:sp>
          <p:nvSpPr>
            <p:cNvPr id="379" name="Rectangle 378">
              <a:extLst>
                <a:ext uri="{FF2B5EF4-FFF2-40B4-BE49-F238E27FC236}">
                  <a16:creationId xmlns:a16="http://schemas.microsoft.com/office/drawing/2014/main" id="{17CE907B-D94C-425B-96FA-B807A1DCBBBB}"/>
                </a:ext>
              </a:extLst>
            </p:cNvPr>
            <p:cNvSpPr/>
            <p:nvPr/>
          </p:nvSpPr>
          <p:spPr>
            <a:xfrm rot="18900000">
              <a:off x="5197701" y="263099"/>
              <a:ext cx="154995" cy="1549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600">
                <a:solidFill>
                  <a:schemeClr val="accent5"/>
                </a:solidFill>
              </a:endParaRPr>
            </a:p>
          </p:txBody>
        </p:sp>
        <p:sp>
          <p:nvSpPr>
            <p:cNvPr id="378" name="Rectangle 377">
              <a:extLst>
                <a:ext uri="{FF2B5EF4-FFF2-40B4-BE49-F238E27FC236}">
                  <a16:creationId xmlns:a16="http://schemas.microsoft.com/office/drawing/2014/main" id="{FD76B860-5F23-42FF-9203-C2B52A8E215B}"/>
                </a:ext>
              </a:extLst>
            </p:cNvPr>
            <p:cNvSpPr/>
            <p:nvPr/>
          </p:nvSpPr>
          <p:spPr>
            <a:xfrm>
              <a:off x="5107056" y="338266"/>
              <a:ext cx="935330" cy="5794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50800" dir="2700000" sx="99000" sy="99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36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1"/>
                </a:buClr>
                <a:buSzPct val="120000"/>
              </a:pPr>
              <a:r>
                <a:rPr lang="nb-NO" sz="600" b="1" cap="all" err="1">
                  <a:solidFill>
                    <a:schemeClr val="accent5"/>
                  </a:solidFill>
                </a:rPr>
                <a:t>albanien</a:t>
              </a:r>
              <a:endParaRPr lang="en-US" sz="600" b="1" cap="all">
                <a:solidFill>
                  <a:schemeClr val="accent5"/>
                </a:solidFill>
              </a:endParaRPr>
            </a:p>
          </p:txBody>
        </p:sp>
        <p:grpSp>
          <p:nvGrpSpPr>
            <p:cNvPr id="380" name="Group 379">
              <a:extLst>
                <a:ext uri="{FF2B5EF4-FFF2-40B4-BE49-F238E27FC236}">
                  <a16:creationId xmlns:a16="http://schemas.microsoft.com/office/drawing/2014/main" id="{2D7DF546-E68B-43CC-9C1D-595E117626F6}"/>
                </a:ext>
              </a:extLst>
            </p:cNvPr>
            <p:cNvGrpSpPr/>
            <p:nvPr/>
          </p:nvGrpSpPr>
          <p:grpSpPr>
            <a:xfrm>
              <a:off x="5161425" y="615780"/>
              <a:ext cx="827729" cy="255853"/>
              <a:chOff x="5161426" y="615780"/>
              <a:chExt cx="864748" cy="267296"/>
            </a:xfrm>
          </p:grpSpPr>
          <p:pic>
            <p:nvPicPr>
              <p:cNvPr id="382" name="Graphic 381">
                <a:extLst>
                  <a:ext uri="{FF2B5EF4-FFF2-40B4-BE49-F238E27FC236}">
                    <a16:creationId xmlns:a16="http://schemas.microsoft.com/office/drawing/2014/main" id="{A097BA01-C708-48BD-98C2-D601403A4C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5161426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383" name="Graphic 382">
                <a:extLst>
                  <a:ext uri="{FF2B5EF4-FFF2-40B4-BE49-F238E27FC236}">
                    <a16:creationId xmlns:a16="http://schemas.microsoft.com/office/drawing/2014/main" id="{B91072E5-9A50-415B-B282-EFB25296CE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5460152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384" name="Graphic 383">
                <a:extLst>
                  <a:ext uri="{FF2B5EF4-FFF2-40B4-BE49-F238E27FC236}">
                    <a16:creationId xmlns:a16="http://schemas.microsoft.com/office/drawing/2014/main" id="{F4732657-B18B-46A9-B60D-B22BA28BF2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rcRect/>
              <a:stretch/>
            </p:blipFill>
            <p:spPr>
              <a:xfrm>
                <a:off x="5758879" y="615780"/>
                <a:ext cx="267295" cy="267296"/>
              </a:xfrm>
              <a:prstGeom prst="rect">
                <a:avLst/>
              </a:prstGeom>
            </p:spPr>
          </p:pic>
        </p:grpSp>
        <p:cxnSp>
          <p:nvCxnSpPr>
            <p:cNvPr id="381" name="Straight Connector 380">
              <a:extLst>
                <a:ext uri="{FF2B5EF4-FFF2-40B4-BE49-F238E27FC236}">
                  <a16:creationId xmlns:a16="http://schemas.microsoft.com/office/drawing/2014/main" id="{A1299F38-8062-4DC2-BD58-9BA2F42C756B}"/>
                </a:ext>
              </a:extLst>
            </p:cNvPr>
            <p:cNvCxnSpPr>
              <a:cxnSpLocks/>
            </p:cNvCxnSpPr>
            <p:nvPr/>
          </p:nvCxnSpPr>
          <p:spPr>
            <a:xfrm>
              <a:off x="5165603" y="556279"/>
              <a:ext cx="823551" cy="0"/>
            </a:xfrm>
            <a:prstGeom prst="line">
              <a:avLst/>
            </a:prstGeom>
            <a:ln w="6350" cap="flat" cmpd="sng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47" name="Group 846">
            <a:extLst>
              <a:ext uri="{FF2B5EF4-FFF2-40B4-BE49-F238E27FC236}">
                <a16:creationId xmlns:a16="http://schemas.microsoft.com/office/drawing/2014/main" id="{A197E188-55BE-4CD7-BD41-009B5FFBA32C}"/>
              </a:ext>
            </a:extLst>
          </p:cNvPr>
          <p:cNvGrpSpPr/>
          <p:nvPr/>
        </p:nvGrpSpPr>
        <p:grpSpPr>
          <a:xfrm>
            <a:off x="4523279" y="3259771"/>
            <a:ext cx="927048" cy="402950"/>
            <a:chOff x="5107056" y="338266"/>
            <a:chExt cx="1333108" cy="579448"/>
          </a:xfrm>
        </p:grpSpPr>
        <p:sp>
          <p:nvSpPr>
            <p:cNvPr id="848" name="Rectangle 847">
              <a:extLst>
                <a:ext uri="{FF2B5EF4-FFF2-40B4-BE49-F238E27FC236}">
                  <a16:creationId xmlns:a16="http://schemas.microsoft.com/office/drawing/2014/main" id="{A5185983-05C7-49C9-8B23-146C2B3F2A89}"/>
                </a:ext>
              </a:extLst>
            </p:cNvPr>
            <p:cNvSpPr/>
            <p:nvPr/>
          </p:nvSpPr>
          <p:spPr>
            <a:xfrm>
              <a:off x="5107056" y="338266"/>
              <a:ext cx="1261818" cy="5794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50800" dir="2700000" sx="99000" sy="99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36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1"/>
                </a:buClr>
                <a:buSzPct val="120000"/>
              </a:pPr>
              <a:r>
                <a:rPr lang="nb-NO" sz="600" b="1" cap="all" err="1">
                  <a:solidFill>
                    <a:schemeClr val="accent5"/>
                  </a:solidFill>
                </a:rPr>
                <a:t>Frankreich</a:t>
              </a:r>
              <a:endParaRPr lang="en-US" sz="600" b="1" cap="all">
                <a:solidFill>
                  <a:schemeClr val="accent5"/>
                </a:solidFill>
              </a:endParaRPr>
            </a:p>
          </p:txBody>
        </p:sp>
        <p:sp>
          <p:nvSpPr>
            <p:cNvPr id="849" name="Rectangle 848">
              <a:extLst>
                <a:ext uri="{FF2B5EF4-FFF2-40B4-BE49-F238E27FC236}">
                  <a16:creationId xmlns:a16="http://schemas.microsoft.com/office/drawing/2014/main" id="{115FBC6B-1467-45EB-9906-8B89231F72AB}"/>
                </a:ext>
              </a:extLst>
            </p:cNvPr>
            <p:cNvSpPr/>
            <p:nvPr/>
          </p:nvSpPr>
          <p:spPr>
            <a:xfrm rot="18900000">
              <a:off x="6285169" y="481502"/>
              <a:ext cx="154995" cy="1549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600">
                <a:solidFill>
                  <a:schemeClr val="accent5"/>
                </a:solidFill>
              </a:endParaRPr>
            </a:p>
          </p:txBody>
        </p:sp>
        <p:grpSp>
          <p:nvGrpSpPr>
            <p:cNvPr id="850" name="Group 849">
              <a:extLst>
                <a:ext uri="{FF2B5EF4-FFF2-40B4-BE49-F238E27FC236}">
                  <a16:creationId xmlns:a16="http://schemas.microsoft.com/office/drawing/2014/main" id="{8ABF11CD-5D9A-4E99-9B3C-6E0DCDF4C343}"/>
                </a:ext>
              </a:extLst>
            </p:cNvPr>
            <p:cNvGrpSpPr/>
            <p:nvPr/>
          </p:nvGrpSpPr>
          <p:grpSpPr>
            <a:xfrm>
              <a:off x="5161426" y="615780"/>
              <a:ext cx="1113667" cy="255853"/>
              <a:chOff x="5161426" y="615780"/>
              <a:chExt cx="1163474" cy="267296"/>
            </a:xfrm>
          </p:grpSpPr>
          <p:pic>
            <p:nvPicPr>
              <p:cNvPr id="852" name="Graphic 851">
                <a:extLst>
                  <a:ext uri="{FF2B5EF4-FFF2-40B4-BE49-F238E27FC236}">
                    <a16:creationId xmlns:a16="http://schemas.microsoft.com/office/drawing/2014/main" id="{B469C06F-59F9-4CA5-A015-5D48F80F1E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5161426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853" name="Graphic 852">
                <a:extLst>
                  <a:ext uri="{FF2B5EF4-FFF2-40B4-BE49-F238E27FC236}">
                    <a16:creationId xmlns:a16="http://schemas.microsoft.com/office/drawing/2014/main" id="{6D7CE3C3-E9E6-4505-B922-663E53E213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5460152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854" name="Graphic 853">
                <a:extLst>
                  <a:ext uri="{FF2B5EF4-FFF2-40B4-BE49-F238E27FC236}">
                    <a16:creationId xmlns:a16="http://schemas.microsoft.com/office/drawing/2014/main" id="{87734634-2125-4A33-9F27-E0CE84B09A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/>
            </p:blipFill>
            <p:spPr>
              <a:xfrm>
                <a:off x="5758879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855" name="Graphic 854">
                <a:extLst>
                  <a:ext uri="{FF2B5EF4-FFF2-40B4-BE49-F238E27FC236}">
                    <a16:creationId xmlns:a16="http://schemas.microsoft.com/office/drawing/2014/main" id="{3D40CC14-9F55-4CF5-A814-7062D0673F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rcRect/>
              <a:stretch/>
            </p:blipFill>
            <p:spPr>
              <a:xfrm>
                <a:off x="6057604" y="615780"/>
                <a:ext cx="267296" cy="267296"/>
              </a:xfrm>
              <a:prstGeom prst="rect">
                <a:avLst/>
              </a:prstGeom>
            </p:spPr>
          </p:pic>
        </p:grpSp>
        <p:cxnSp>
          <p:nvCxnSpPr>
            <p:cNvPr id="851" name="Straight Connector 850">
              <a:extLst>
                <a:ext uri="{FF2B5EF4-FFF2-40B4-BE49-F238E27FC236}">
                  <a16:creationId xmlns:a16="http://schemas.microsoft.com/office/drawing/2014/main" id="{2A3391D5-E338-4DAA-AFAB-A95415708318}"/>
                </a:ext>
              </a:extLst>
            </p:cNvPr>
            <p:cNvCxnSpPr>
              <a:cxnSpLocks/>
            </p:cNvCxnSpPr>
            <p:nvPr/>
          </p:nvCxnSpPr>
          <p:spPr>
            <a:xfrm>
              <a:off x="5165603" y="556279"/>
              <a:ext cx="1148494" cy="0"/>
            </a:xfrm>
            <a:prstGeom prst="line">
              <a:avLst/>
            </a:prstGeom>
            <a:ln w="6350" cap="flat" cmpd="sng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56" name="Group 855">
            <a:extLst>
              <a:ext uri="{FF2B5EF4-FFF2-40B4-BE49-F238E27FC236}">
                <a16:creationId xmlns:a16="http://schemas.microsoft.com/office/drawing/2014/main" id="{91482A90-B48E-4EBB-8F66-EC4AC3C651B6}"/>
              </a:ext>
            </a:extLst>
          </p:cNvPr>
          <p:cNvGrpSpPr/>
          <p:nvPr/>
        </p:nvGrpSpPr>
        <p:grpSpPr>
          <a:xfrm>
            <a:off x="7252680" y="3261695"/>
            <a:ext cx="702096" cy="402950"/>
            <a:chOff x="5032765" y="338267"/>
            <a:chExt cx="1009624" cy="579448"/>
          </a:xfrm>
        </p:grpSpPr>
        <p:sp>
          <p:nvSpPr>
            <p:cNvPr id="857" name="Rectangle 856">
              <a:extLst>
                <a:ext uri="{FF2B5EF4-FFF2-40B4-BE49-F238E27FC236}">
                  <a16:creationId xmlns:a16="http://schemas.microsoft.com/office/drawing/2014/main" id="{777BB04B-64D2-4496-97FC-BCF9D2290615}"/>
                </a:ext>
              </a:extLst>
            </p:cNvPr>
            <p:cNvSpPr/>
            <p:nvPr/>
          </p:nvSpPr>
          <p:spPr>
            <a:xfrm>
              <a:off x="5107059" y="338267"/>
              <a:ext cx="935330" cy="5794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50800" dir="2700000" sx="99000" sy="99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36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1"/>
                </a:buClr>
                <a:buSzPct val="120000"/>
              </a:pPr>
              <a:r>
                <a:rPr lang="nb-NO" sz="600" b="1" cap="all" err="1">
                  <a:solidFill>
                    <a:schemeClr val="accent5"/>
                  </a:solidFill>
                </a:rPr>
                <a:t>türkei</a:t>
              </a:r>
              <a:endParaRPr lang="en-US" sz="600" b="1" cap="all">
                <a:solidFill>
                  <a:schemeClr val="accent5"/>
                </a:solidFill>
              </a:endParaRPr>
            </a:p>
          </p:txBody>
        </p:sp>
        <p:sp>
          <p:nvSpPr>
            <p:cNvPr id="858" name="Rectangle 857">
              <a:extLst>
                <a:ext uri="{FF2B5EF4-FFF2-40B4-BE49-F238E27FC236}">
                  <a16:creationId xmlns:a16="http://schemas.microsoft.com/office/drawing/2014/main" id="{40DDF6CA-439C-4825-8BA2-63D83B621D21}"/>
                </a:ext>
              </a:extLst>
            </p:cNvPr>
            <p:cNvSpPr/>
            <p:nvPr/>
          </p:nvSpPr>
          <p:spPr>
            <a:xfrm rot="18900000">
              <a:off x="5032765" y="658935"/>
              <a:ext cx="154995" cy="1549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600">
                <a:solidFill>
                  <a:schemeClr val="accent5"/>
                </a:solidFill>
              </a:endParaRPr>
            </a:p>
          </p:txBody>
        </p:sp>
        <p:grpSp>
          <p:nvGrpSpPr>
            <p:cNvPr id="859" name="Group 858">
              <a:extLst>
                <a:ext uri="{FF2B5EF4-FFF2-40B4-BE49-F238E27FC236}">
                  <a16:creationId xmlns:a16="http://schemas.microsoft.com/office/drawing/2014/main" id="{E6467C6D-3F73-4F11-8D5D-EFD34533D130}"/>
                </a:ext>
              </a:extLst>
            </p:cNvPr>
            <p:cNvGrpSpPr/>
            <p:nvPr/>
          </p:nvGrpSpPr>
          <p:grpSpPr>
            <a:xfrm>
              <a:off x="5161425" y="615780"/>
              <a:ext cx="827729" cy="255853"/>
              <a:chOff x="5161426" y="615780"/>
              <a:chExt cx="864748" cy="267296"/>
            </a:xfrm>
          </p:grpSpPr>
          <p:pic>
            <p:nvPicPr>
              <p:cNvPr id="861" name="Graphic 860">
                <a:extLst>
                  <a:ext uri="{FF2B5EF4-FFF2-40B4-BE49-F238E27FC236}">
                    <a16:creationId xmlns:a16="http://schemas.microsoft.com/office/drawing/2014/main" id="{0B72D749-7898-4235-ABAF-611037589A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5161426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862" name="Graphic 861">
                <a:extLst>
                  <a:ext uri="{FF2B5EF4-FFF2-40B4-BE49-F238E27FC236}">
                    <a16:creationId xmlns:a16="http://schemas.microsoft.com/office/drawing/2014/main" id="{5F7D6362-8DA1-4D29-BE0B-6F20C23498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5460152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863" name="Graphic 862">
                <a:extLst>
                  <a:ext uri="{FF2B5EF4-FFF2-40B4-BE49-F238E27FC236}">
                    <a16:creationId xmlns:a16="http://schemas.microsoft.com/office/drawing/2014/main" id="{63BC2B2F-8816-44BF-BE63-467BCB13F2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rcRect/>
              <a:stretch/>
            </p:blipFill>
            <p:spPr>
              <a:xfrm>
                <a:off x="5758878" y="615780"/>
                <a:ext cx="267296" cy="267296"/>
              </a:xfrm>
              <a:prstGeom prst="rect">
                <a:avLst/>
              </a:prstGeom>
            </p:spPr>
          </p:pic>
        </p:grpSp>
        <p:cxnSp>
          <p:nvCxnSpPr>
            <p:cNvPr id="860" name="Straight Connector 859">
              <a:extLst>
                <a:ext uri="{FF2B5EF4-FFF2-40B4-BE49-F238E27FC236}">
                  <a16:creationId xmlns:a16="http://schemas.microsoft.com/office/drawing/2014/main" id="{7CCA31D3-A834-4D9B-9269-F44D2140E739}"/>
                </a:ext>
              </a:extLst>
            </p:cNvPr>
            <p:cNvCxnSpPr>
              <a:cxnSpLocks/>
            </p:cNvCxnSpPr>
            <p:nvPr/>
          </p:nvCxnSpPr>
          <p:spPr>
            <a:xfrm>
              <a:off x="5165603" y="556279"/>
              <a:ext cx="823551" cy="0"/>
            </a:xfrm>
            <a:prstGeom prst="line">
              <a:avLst/>
            </a:prstGeom>
            <a:ln w="6350" cap="flat" cmpd="sng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18" name="Group 1117">
            <a:extLst>
              <a:ext uri="{FF2B5EF4-FFF2-40B4-BE49-F238E27FC236}">
                <a16:creationId xmlns:a16="http://schemas.microsoft.com/office/drawing/2014/main" id="{9CC0057C-79F5-4B62-832B-EF47074E6FE5}"/>
              </a:ext>
            </a:extLst>
          </p:cNvPr>
          <p:cNvGrpSpPr/>
          <p:nvPr/>
        </p:nvGrpSpPr>
        <p:grpSpPr>
          <a:xfrm>
            <a:off x="3272912" y="4278305"/>
            <a:ext cx="456634" cy="455741"/>
            <a:chOff x="5107056" y="338266"/>
            <a:chExt cx="656647" cy="655361"/>
          </a:xfrm>
        </p:grpSpPr>
        <p:sp>
          <p:nvSpPr>
            <p:cNvPr id="1119" name="Rectangle 1118">
              <a:extLst>
                <a:ext uri="{FF2B5EF4-FFF2-40B4-BE49-F238E27FC236}">
                  <a16:creationId xmlns:a16="http://schemas.microsoft.com/office/drawing/2014/main" id="{5A13D0A6-12D8-4E31-96D0-64D394C59618}"/>
                </a:ext>
              </a:extLst>
            </p:cNvPr>
            <p:cNvSpPr/>
            <p:nvPr/>
          </p:nvSpPr>
          <p:spPr>
            <a:xfrm>
              <a:off x="5107056" y="338266"/>
              <a:ext cx="656647" cy="5794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50800" dir="2700000" sx="99000" sy="99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36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1"/>
                </a:buClr>
                <a:buSzPct val="120000"/>
              </a:pPr>
              <a:r>
                <a:rPr lang="nb-NO" sz="600" b="1" cap="all">
                  <a:solidFill>
                    <a:schemeClr val="accent5"/>
                  </a:solidFill>
                </a:rPr>
                <a:t>Peru</a:t>
              </a:r>
              <a:endParaRPr lang="en-US" sz="600" b="1" cap="all">
                <a:solidFill>
                  <a:schemeClr val="accent5"/>
                </a:solidFill>
              </a:endParaRPr>
            </a:p>
          </p:txBody>
        </p:sp>
        <p:sp>
          <p:nvSpPr>
            <p:cNvPr id="1120" name="Rectangle 1119">
              <a:extLst>
                <a:ext uri="{FF2B5EF4-FFF2-40B4-BE49-F238E27FC236}">
                  <a16:creationId xmlns:a16="http://schemas.microsoft.com/office/drawing/2014/main" id="{7CDFA2D2-09BE-44A0-8EDC-02A8AD6B8856}"/>
                </a:ext>
              </a:extLst>
            </p:cNvPr>
            <p:cNvSpPr/>
            <p:nvPr/>
          </p:nvSpPr>
          <p:spPr>
            <a:xfrm rot="18900000">
              <a:off x="5496818" y="838633"/>
              <a:ext cx="154995" cy="1549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600">
                <a:solidFill>
                  <a:schemeClr val="accent5"/>
                </a:solidFill>
              </a:endParaRPr>
            </a:p>
          </p:txBody>
        </p:sp>
        <p:grpSp>
          <p:nvGrpSpPr>
            <p:cNvPr id="1121" name="Group 1120">
              <a:extLst>
                <a:ext uri="{FF2B5EF4-FFF2-40B4-BE49-F238E27FC236}">
                  <a16:creationId xmlns:a16="http://schemas.microsoft.com/office/drawing/2014/main" id="{0944689F-0F91-4600-B7A6-5D9C1A1C26C8}"/>
                </a:ext>
              </a:extLst>
            </p:cNvPr>
            <p:cNvGrpSpPr/>
            <p:nvPr/>
          </p:nvGrpSpPr>
          <p:grpSpPr>
            <a:xfrm>
              <a:off x="5161424" y="615780"/>
              <a:ext cx="541791" cy="255852"/>
              <a:chOff x="5161426" y="615780"/>
              <a:chExt cx="566022" cy="267295"/>
            </a:xfrm>
          </p:grpSpPr>
          <p:pic>
            <p:nvPicPr>
              <p:cNvPr id="1123" name="Graphic 1122">
                <a:extLst>
                  <a:ext uri="{FF2B5EF4-FFF2-40B4-BE49-F238E27FC236}">
                    <a16:creationId xmlns:a16="http://schemas.microsoft.com/office/drawing/2014/main" id="{0EC7B3AC-E67E-46C2-B3D9-7887861F88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5161426" y="615780"/>
                <a:ext cx="267295" cy="267295"/>
              </a:xfrm>
              <a:prstGeom prst="rect">
                <a:avLst/>
              </a:prstGeom>
            </p:spPr>
          </p:pic>
          <p:pic>
            <p:nvPicPr>
              <p:cNvPr id="1124" name="Graphic 1123">
                <a:extLst>
                  <a:ext uri="{FF2B5EF4-FFF2-40B4-BE49-F238E27FC236}">
                    <a16:creationId xmlns:a16="http://schemas.microsoft.com/office/drawing/2014/main" id="{A5E74AF5-7BA9-43AB-8319-8EDA726D13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5460153" y="615780"/>
                <a:ext cx="267295" cy="267295"/>
              </a:xfrm>
              <a:prstGeom prst="rect">
                <a:avLst/>
              </a:prstGeom>
            </p:spPr>
          </p:pic>
        </p:grpSp>
        <p:cxnSp>
          <p:nvCxnSpPr>
            <p:cNvPr id="1122" name="Straight Connector 1121">
              <a:extLst>
                <a:ext uri="{FF2B5EF4-FFF2-40B4-BE49-F238E27FC236}">
                  <a16:creationId xmlns:a16="http://schemas.microsoft.com/office/drawing/2014/main" id="{3FC76ED7-75AE-46A6-8FAB-59113126CBE1}"/>
                </a:ext>
              </a:extLst>
            </p:cNvPr>
            <p:cNvCxnSpPr>
              <a:cxnSpLocks/>
            </p:cNvCxnSpPr>
            <p:nvPr/>
          </p:nvCxnSpPr>
          <p:spPr>
            <a:xfrm>
              <a:off x="5165603" y="556279"/>
              <a:ext cx="544501" cy="0"/>
            </a:xfrm>
            <a:prstGeom prst="line">
              <a:avLst/>
            </a:prstGeom>
            <a:ln w="6350" cap="flat" cmpd="sng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5" name="Group 394">
            <a:extLst>
              <a:ext uri="{FF2B5EF4-FFF2-40B4-BE49-F238E27FC236}">
                <a16:creationId xmlns:a16="http://schemas.microsoft.com/office/drawing/2014/main" id="{4A925305-9790-4828-8298-D7505A77B7B8}"/>
              </a:ext>
            </a:extLst>
          </p:cNvPr>
          <p:cNvGrpSpPr/>
          <p:nvPr/>
        </p:nvGrpSpPr>
        <p:grpSpPr>
          <a:xfrm>
            <a:off x="4472412" y="4682305"/>
            <a:ext cx="928339" cy="402950"/>
            <a:chOff x="5033910" y="338266"/>
            <a:chExt cx="1334964" cy="579448"/>
          </a:xfrm>
        </p:grpSpPr>
        <p:sp>
          <p:nvSpPr>
            <p:cNvPr id="396" name="Rectangle 395">
              <a:extLst>
                <a:ext uri="{FF2B5EF4-FFF2-40B4-BE49-F238E27FC236}">
                  <a16:creationId xmlns:a16="http://schemas.microsoft.com/office/drawing/2014/main" id="{124682B7-075A-4A39-B528-77E8A252F2FC}"/>
                </a:ext>
              </a:extLst>
            </p:cNvPr>
            <p:cNvSpPr/>
            <p:nvPr/>
          </p:nvSpPr>
          <p:spPr>
            <a:xfrm>
              <a:off x="5107056" y="338266"/>
              <a:ext cx="1261818" cy="5794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50800" dir="2700000" sx="99000" sy="99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36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1"/>
                </a:buClr>
                <a:buSzPct val="120000"/>
              </a:pPr>
              <a:r>
                <a:rPr lang="nb-NO" sz="600" b="1" cap="all" err="1">
                  <a:solidFill>
                    <a:schemeClr val="accent5"/>
                  </a:solidFill>
                </a:rPr>
                <a:t>brasilien</a:t>
              </a:r>
              <a:endParaRPr lang="en-US" sz="600" b="1" cap="all">
                <a:solidFill>
                  <a:schemeClr val="accent5"/>
                </a:solidFill>
              </a:endParaRPr>
            </a:p>
          </p:txBody>
        </p:sp>
        <p:sp>
          <p:nvSpPr>
            <p:cNvPr id="397" name="Rectangle 396">
              <a:extLst>
                <a:ext uri="{FF2B5EF4-FFF2-40B4-BE49-F238E27FC236}">
                  <a16:creationId xmlns:a16="http://schemas.microsoft.com/office/drawing/2014/main" id="{8D73FFC7-DB49-40D0-9DF4-98FF86BD279E}"/>
                </a:ext>
              </a:extLst>
            </p:cNvPr>
            <p:cNvSpPr/>
            <p:nvPr/>
          </p:nvSpPr>
          <p:spPr>
            <a:xfrm rot="18900000">
              <a:off x="5033910" y="481911"/>
              <a:ext cx="154995" cy="1549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600">
                <a:solidFill>
                  <a:schemeClr val="accent5"/>
                </a:solidFill>
              </a:endParaRPr>
            </a:p>
          </p:txBody>
        </p:sp>
        <p:grpSp>
          <p:nvGrpSpPr>
            <p:cNvPr id="398" name="Group 397">
              <a:extLst>
                <a:ext uri="{FF2B5EF4-FFF2-40B4-BE49-F238E27FC236}">
                  <a16:creationId xmlns:a16="http://schemas.microsoft.com/office/drawing/2014/main" id="{E23A3B12-6F81-46E0-9C8E-8A984FCAE3E4}"/>
                </a:ext>
              </a:extLst>
            </p:cNvPr>
            <p:cNvGrpSpPr/>
            <p:nvPr/>
          </p:nvGrpSpPr>
          <p:grpSpPr>
            <a:xfrm>
              <a:off x="5161426" y="615780"/>
              <a:ext cx="1113667" cy="255853"/>
              <a:chOff x="5161426" y="615780"/>
              <a:chExt cx="1163474" cy="267296"/>
            </a:xfrm>
          </p:grpSpPr>
          <p:pic>
            <p:nvPicPr>
              <p:cNvPr id="400" name="Graphic 399">
                <a:extLst>
                  <a:ext uri="{FF2B5EF4-FFF2-40B4-BE49-F238E27FC236}">
                    <a16:creationId xmlns:a16="http://schemas.microsoft.com/office/drawing/2014/main" id="{80A8F931-7DC7-4CBE-978F-BD01711625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5161426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401" name="Graphic 400">
                <a:extLst>
                  <a:ext uri="{FF2B5EF4-FFF2-40B4-BE49-F238E27FC236}">
                    <a16:creationId xmlns:a16="http://schemas.microsoft.com/office/drawing/2014/main" id="{4FBC7740-D8D7-4360-89AC-5C5FA8983B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5460152" y="615780"/>
                <a:ext cx="267296" cy="267296"/>
              </a:xfrm>
              <a:prstGeom prst="rect">
                <a:avLst/>
              </a:prstGeom>
            </p:spPr>
          </p:pic>
          <p:pic>
            <p:nvPicPr>
              <p:cNvPr id="402" name="Graphic 401">
                <a:extLst>
                  <a:ext uri="{FF2B5EF4-FFF2-40B4-BE49-F238E27FC236}">
                    <a16:creationId xmlns:a16="http://schemas.microsoft.com/office/drawing/2014/main" id="{0E330C7F-1E7C-44AD-B804-9470C826CE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5758879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403" name="Graphic 402">
                <a:extLst>
                  <a:ext uri="{FF2B5EF4-FFF2-40B4-BE49-F238E27FC236}">
                    <a16:creationId xmlns:a16="http://schemas.microsoft.com/office/drawing/2014/main" id="{FE4656C2-8ED2-4606-8D85-188BADAF71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rcRect/>
              <a:stretch/>
            </p:blipFill>
            <p:spPr>
              <a:xfrm>
                <a:off x="6057604" y="615780"/>
                <a:ext cx="267296" cy="267296"/>
              </a:xfrm>
              <a:prstGeom prst="rect">
                <a:avLst/>
              </a:prstGeom>
            </p:spPr>
          </p:pic>
        </p:grpSp>
        <p:cxnSp>
          <p:nvCxnSpPr>
            <p:cNvPr id="399" name="Straight Connector 398">
              <a:extLst>
                <a:ext uri="{FF2B5EF4-FFF2-40B4-BE49-F238E27FC236}">
                  <a16:creationId xmlns:a16="http://schemas.microsoft.com/office/drawing/2014/main" id="{0BE41AB1-8EBD-4F94-A8B2-A48F4203AB78}"/>
                </a:ext>
              </a:extLst>
            </p:cNvPr>
            <p:cNvCxnSpPr>
              <a:cxnSpLocks/>
            </p:cNvCxnSpPr>
            <p:nvPr/>
          </p:nvCxnSpPr>
          <p:spPr>
            <a:xfrm>
              <a:off x="5165603" y="556279"/>
              <a:ext cx="1148494" cy="0"/>
            </a:xfrm>
            <a:prstGeom prst="line">
              <a:avLst/>
            </a:prstGeom>
            <a:ln w="6350" cap="flat" cmpd="sng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4" name="Group 403">
            <a:extLst>
              <a:ext uri="{FF2B5EF4-FFF2-40B4-BE49-F238E27FC236}">
                <a16:creationId xmlns:a16="http://schemas.microsoft.com/office/drawing/2014/main" id="{2C5E2AC8-972E-4085-A95F-D77AC4193473}"/>
              </a:ext>
            </a:extLst>
          </p:cNvPr>
          <p:cNvGrpSpPr/>
          <p:nvPr/>
        </p:nvGrpSpPr>
        <p:grpSpPr>
          <a:xfrm>
            <a:off x="4472414" y="5144487"/>
            <a:ext cx="928338" cy="402950"/>
            <a:chOff x="5033912" y="338266"/>
            <a:chExt cx="1334962" cy="579448"/>
          </a:xfrm>
        </p:grpSpPr>
        <p:sp>
          <p:nvSpPr>
            <p:cNvPr id="405" name="Rectangle 404">
              <a:extLst>
                <a:ext uri="{FF2B5EF4-FFF2-40B4-BE49-F238E27FC236}">
                  <a16:creationId xmlns:a16="http://schemas.microsoft.com/office/drawing/2014/main" id="{7E0ED98F-DEF6-400F-A182-C8E1588DD096}"/>
                </a:ext>
              </a:extLst>
            </p:cNvPr>
            <p:cNvSpPr/>
            <p:nvPr/>
          </p:nvSpPr>
          <p:spPr>
            <a:xfrm>
              <a:off x="5107056" y="338266"/>
              <a:ext cx="1261818" cy="5794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50800" dir="2700000" sx="99000" sy="99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36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1"/>
                </a:buClr>
                <a:buSzPct val="120000"/>
              </a:pPr>
              <a:r>
                <a:rPr lang="nb-NO" sz="600" b="1" cap="all">
                  <a:solidFill>
                    <a:schemeClr val="accent5"/>
                  </a:solidFill>
                </a:rPr>
                <a:t>Chile</a:t>
              </a:r>
              <a:endParaRPr lang="en-US" sz="600" b="1" cap="all">
                <a:solidFill>
                  <a:schemeClr val="accent5"/>
                </a:solidFill>
              </a:endParaRPr>
            </a:p>
          </p:txBody>
        </p:sp>
        <p:sp>
          <p:nvSpPr>
            <p:cNvPr id="406" name="Rectangle 405">
              <a:extLst>
                <a:ext uri="{FF2B5EF4-FFF2-40B4-BE49-F238E27FC236}">
                  <a16:creationId xmlns:a16="http://schemas.microsoft.com/office/drawing/2014/main" id="{0EE27C97-9C1E-4F68-90C0-CB6BA6B44BC9}"/>
                </a:ext>
              </a:extLst>
            </p:cNvPr>
            <p:cNvSpPr/>
            <p:nvPr/>
          </p:nvSpPr>
          <p:spPr>
            <a:xfrm rot="18900000">
              <a:off x="5033912" y="481502"/>
              <a:ext cx="154995" cy="1549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600">
                <a:solidFill>
                  <a:schemeClr val="accent5"/>
                </a:solidFill>
              </a:endParaRPr>
            </a:p>
          </p:txBody>
        </p:sp>
        <p:grpSp>
          <p:nvGrpSpPr>
            <p:cNvPr id="407" name="Group 406">
              <a:extLst>
                <a:ext uri="{FF2B5EF4-FFF2-40B4-BE49-F238E27FC236}">
                  <a16:creationId xmlns:a16="http://schemas.microsoft.com/office/drawing/2014/main" id="{1F1F4C18-9BEB-439B-B801-6ADBF013591E}"/>
                </a:ext>
              </a:extLst>
            </p:cNvPr>
            <p:cNvGrpSpPr/>
            <p:nvPr/>
          </p:nvGrpSpPr>
          <p:grpSpPr>
            <a:xfrm>
              <a:off x="5161426" y="615780"/>
              <a:ext cx="1113666" cy="255853"/>
              <a:chOff x="5161426" y="615780"/>
              <a:chExt cx="1163473" cy="267296"/>
            </a:xfrm>
          </p:grpSpPr>
          <p:pic>
            <p:nvPicPr>
              <p:cNvPr id="409" name="Graphic 408">
                <a:extLst>
                  <a:ext uri="{FF2B5EF4-FFF2-40B4-BE49-F238E27FC236}">
                    <a16:creationId xmlns:a16="http://schemas.microsoft.com/office/drawing/2014/main" id="{568816BF-9E21-46C0-B85C-02ACF57930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5161426" y="615780"/>
                <a:ext cx="267296" cy="267296"/>
              </a:xfrm>
              <a:prstGeom prst="rect">
                <a:avLst/>
              </a:prstGeom>
            </p:spPr>
          </p:pic>
          <p:pic>
            <p:nvPicPr>
              <p:cNvPr id="410" name="Graphic 409">
                <a:extLst>
                  <a:ext uri="{FF2B5EF4-FFF2-40B4-BE49-F238E27FC236}">
                    <a16:creationId xmlns:a16="http://schemas.microsoft.com/office/drawing/2014/main" id="{A6DEC30A-645F-436E-B337-13096F62AA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5460152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411" name="Graphic 410">
                <a:extLst>
                  <a:ext uri="{FF2B5EF4-FFF2-40B4-BE49-F238E27FC236}">
                    <a16:creationId xmlns:a16="http://schemas.microsoft.com/office/drawing/2014/main" id="{9D05C0F8-860F-4337-8127-937092F28C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5758877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412" name="Graphic 411">
                <a:extLst>
                  <a:ext uri="{FF2B5EF4-FFF2-40B4-BE49-F238E27FC236}">
                    <a16:creationId xmlns:a16="http://schemas.microsoft.com/office/drawing/2014/main" id="{3A775E4F-013F-4540-BADB-2101D4ABCF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/>
            </p:blipFill>
            <p:spPr>
              <a:xfrm>
                <a:off x="6057604" y="615780"/>
                <a:ext cx="267295" cy="267296"/>
              </a:xfrm>
              <a:prstGeom prst="rect">
                <a:avLst/>
              </a:prstGeom>
            </p:spPr>
          </p:pic>
        </p:grpSp>
        <p:cxnSp>
          <p:nvCxnSpPr>
            <p:cNvPr id="408" name="Straight Connector 407">
              <a:extLst>
                <a:ext uri="{FF2B5EF4-FFF2-40B4-BE49-F238E27FC236}">
                  <a16:creationId xmlns:a16="http://schemas.microsoft.com/office/drawing/2014/main" id="{DE225858-D3BA-4553-A132-7CB8E18C7E16}"/>
                </a:ext>
              </a:extLst>
            </p:cNvPr>
            <p:cNvCxnSpPr>
              <a:cxnSpLocks/>
            </p:cNvCxnSpPr>
            <p:nvPr/>
          </p:nvCxnSpPr>
          <p:spPr>
            <a:xfrm>
              <a:off x="5165603" y="556279"/>
              <a:ext cx="1148494" cy="0"/>
            </a:xfrm>
            <a:prstGeom prst="line">
              <a:avLst/>
            </a:prstGeom>
            <a:ln w="6350" cap="flat" cmpd="sng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D95EE48-8DD7-427D-8BEE-66D79A9DD7DA}"/>
              </a:ext>
            </a:extLst>
          </p:cNvPr>
          <p:cNvGrpSpPr/>
          <p:nvPr/>
        </p:nvGrpSpPr>
        <p:grpSpPr>
          <a:xfrm>
            <a:off x="2751328" y="3957771"/>
            <a:ext cx="456634" cy="459298"/>
            <a:chOff x="824692" y="3665487"/>
            <a:chExt cx="656647" cy="660476"/>
          </a:xfrm>
        </p:grpSpPr>
        <p:sp>
          <p:nvSpPr>
            <p:cNvPr id="416" name="Rectangle 415">
              <a:extLst>
                <a:ext uri="{FF2B5EF4-FFF2-40B4-BE49-F238E27FC236}">
                  <a16:creationId xmlns:a16="http://schemas.microsoft.com/office/drawing/2014/main" id="{C78B917D-398D-40A6-A33D-3D82457994FE}"/>
                </a:ext>
              </a:extLst>
            </p:cNvPr>
            <p:cNvSpPr/>
            <p:nvPr/>
          </p:nvSpPr>
          <p:spPr>
            <a:xfrm rot="18900000">
              <a:off x="1210676" y="3665487"/>
              <a:ext cx="154995" cy="1549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600">
                <a:solidFill>
                  <a:schemeClr val="accent5"/>
                </a:solidFill>
              </a:endParaRP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0B73BFE9-F03A-46A9-903C-8FBCAF97FEA8}"/>
                </a:ext>
              </a:extLst>
            </p:cNvPr>
            <p:cNvGrpSpPr/>
            <p:nvPr/>
          </p:nvGrpSpPr>
          <p:grpSpPr>
            <a:xfrm>
              <a:off x="824692" y="3746515"/>
              <a:ext cx="656647" cy="579448"/>
              <a:chOff x="824692" y="3746515"/>
              <a:chExt cx="656647" cy="579448"/>
            </a:xfrm>
          </p:grpSpPr>
          <p:sp>
            <p:nvSpPr>
              <p:cNvPr id="415" name="Rectangle 414">
                <a:extLst>
                  <a:ext uri="{FF2B5EF4-FFF2-40B4-BE49-F238E27FC236}">
                    <a16:creationId xmlns:a16="http://schemas.microsoft.com/office/drawing/2014/main" id="{49B8B92C-CBDB-4EE8-9948-B428A0D07EAD}"/>
                  </a:ext>
                </a:extLst>
              </p:cNvPr>
              <p:cNvSpPr/>
              <p:nvPr/>
            </p:nvSpPr>
            <p:spPr>
              <a:xfrm>
                <a:off x="824692" y="3746515"/>
                <a:ext cx="656647" cy="5794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63500" dist="50800" dir="2700000" sx="99000" sy="99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000" tIns="36000" rIns="54000" bIns="54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ts val="600"/>
                  </a:spcBef>
                  <a:buClr>
                    <a:schemeClr val="accent1"/>
                  </a:buClr>
                  <a:buSzPct val="120000"/>
                </a:pPr>
                <a:r>
                  <a:rPr lang="nb-NO" sz="600" b="1" cap="all">
                    <a:solidFill>
                      <a:schemeClr val="accent5"/>
                    </a:solidFill>
                  </a:rPr>
                  <a:t>USA</a:t>
                </a:r>
                <a:endParaRPr lang="en-US" sz="600" b="1" cap="all">
                  <a:solidFill>
                    <a:schemeClr val="accent5"/>
                  </a:solidFill>
                </a:endParaRPr>
              </a:p>
            </p:txBody>
          </p:sp>
          <p:grpSp>
            <p:nvGrpSpPr>
              <p:cNvPr id="417" name="Group 416">
                <a:extLst>
                  <a:ext uri="{FF2B5EF4-FFF2-40B4-BE49-F238E27FC236}">
                    <a16:creationId xmlns:a16="http://schemas.microsoft.com/office/drawing/2014/main" id="{F30A37C3-1B88-4753-9E26-46115551673B}"/>
                  </a:ext>
                </a:extLst>
              </p:cNvPr>
              <p:cNvGrpSpPr/>
              <p:nvPr/>
            </p:nvGrpSpPr>
            <p:grpSpPr>
              <a:xfrm>
                <a:off x="879060" y="4024029"/>
                <a:ext cx="541791" cy="255853"/>
                <a:chOff x="5161426" y="615780"/>
                <a:chExt cx="566022" cy="267296"/>
              </a:xfrm>
            </p:grpSpPr>
            <p:pic>
              <p:nvPicPr>
                <p:cNvPr id="419" name="Graphic 418">
                  <a:extLst>
                    <a:ext uri="{FF2B5EF4-FFF2-40B4-BE49-F238E27FC236}">
                      <a16:creationId xmlns:a16="http://schemas.microsoft.com/office/drawing/2014/main" id="{53E3309B-8903-4EB9-93FD-F0403386C12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rcRect/>
                <a:stretch/>
              </p:blipFill>
              <p:spPr>
                <a:xfrm>
                  <a:off x="5161426" y="615780"/>
                  <a:ext cx="267295" cy="267296"/>
                </a:xfrm>
                <a:prstGeom prst="rect">
                  <a:avLst/>
                </a:prstGeom>
              </p:spPr>
            </p:pic>
            <p:pic>
              <p:nvPicPr>
                <p:cNvPr id="420" name="Graphic 419">
                  <a:extLst>
                    <a:ext uri="{FF2B5EF4-FFF2-40B4-BE49-F238E27FC236}">
                      <a16:creationId xmlns:a16="http://schemas.microsoft.com/office/drawing/2014/main" id="{348430EB-D66E-4BBB-ADF9-B3C6F96A52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rcRect/>
                <a:stretch/>
              </p:blipFill>
              <p:spPr>
                <a:xfrm>
                  <a:off x="5460152" y="615780"/>
                  <a:ext cx="267296" cy="267296"/>
                </a:xfrm>
                <a:prstGeom prst="rect">
                  <a:avLst/>
                </a:prstGeom>
              </p:spPr>
            </p:pic>
          </p:grpSp>
          <p:cxnSp>
            <p:nvCxnSpPr>
              <p:cNvPr id="418" name="Straight Connector 417">
                <a:extLst>
                  <a:ext uri="{FF2B5EF4-FFF2-40B4-BE49-F238E27FC236}">
                    <a16:creationId xmlns:a16="http://schemas.microsoft.com/office/drawing/2014/main" id="{1D20A5A9-3AC2-42E6-843A-AF082993CD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3239" y="3964528"/>
                <a:ext cx="544501" cy="0"/>
              </a:xfrm>
              <a:prstGeom prst="line">
                <a:avLst/>
              </a:prstGeom>
              <a:ln w="6350" cap="flat" cmpd="sng">
                <a:solidFill>
                  <a:schemeClr val="accent6"/>
                </a:solidFill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B5796FE-3C6F-4BE0-9F81-20EA034E99D5}"/>
              </a:ext>
            </a:extLst>
          </p:cNvPr>
          <p:cNvGrpSpPr/>
          <p:nvPr/>
        </p:nvGrpSpPr>
        <p:grpSpPr>
          <a:xfrm>
            <a:off x="6603445" y="2583008"/>
            <a:ext cx="704830" cy="625125"/>
            <a:chOff x="7218955" y="2119922"/>
            <a:chExt cx="1013555" cy="898938"/>
          </a:xfrm>
        </p:grpSpPr>
        <p:sp>
          <p:nvSpPr>
            <p:cNvPr id="667" name="Rectangle 666">
              <a:extLst>
                <a:ext uri="{FF2B5EF4-FFF2-40B4-BE49-F238E27FC236}">
                  <a16:creationId xmlns:a16="http://schemas.microsoft.com/office/drawing/2014/main" id="{C6A7C4FB-A302-475F-AFE6-942BD23CA8DE}"/>
                </a:ext>
              </a:extLst>
            </p:cNvPr>
            <p:cNvSpPr/>
            <p:nvPr/>
          </p:nvSpPr>
          <p:spPr>
            <a:xfrm>
              <a:off x="7218955" y="2119922"/>
              <a:ext cx="1013555" cy="8989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50800" dir="2700000" sx="99000" sy="99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36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1"/>
                </a:buClr>
                <a:buSzPct val="120000"/>
              </a:pPr>
              <a:r>
                <a:rPr lang="nb-NO" sz="600" b="1" cap="all" err="1">
                  <a:solidFill>
                    <a:schemeClr val="accent5"/>
                  </a:solidFill>
                </a:rPr>
                <a:t>deutschland</a:t>
              </a:r>
              <a:endParaRPr lang="en-US" sz="600" b="1" cap="all">
                <a:solidFill>
                  <a:schemeClr val="accent5"/>
                </a:solidFill>
              </a:endParaRPr>
            </a:p>
          </p:txBody>
        </p:sp>
        <p:sp>
          <p:nvSpPr>
            <p:cNvPr id="668" name="Rectangle 667">
              <a:extLst>
                <a:ext uri="{FF2B5EF4-FFF2-40B4-BE49-F238E27FC236}">
                  <a16:creationId xmlns:a16="http://schemas.microsoft.com/office/drawing/2014/main" id="{C0CA85AB-B3C6-4E8A-84A0-87321DB30526}"/>
                </a:ext>
              </a:extLst>
            </p:cNvPr>
            <p:cNvSpPr/>
            <p:nvPr/>
          </p:nvSpPr>
          <p:spPr>
            <a:xfrm rot="18900000">
              <a:off x="7223235" y="2758437"/>
              <a:ext cx="154995" cy="1549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600">
                <a:solidFill>
                  <a:schemeClr val="accent5"/>
                </a:solidFill>
              </a:endParaRPr>
            </a:p>
          </p:txBody>
        </p:sp>
        <p:grpSp>
          <p:nvGrpSpPr>
            <p:cNvPr id="669" name="Group 668">
              <a:extLst>
                <a:ext uri="{FF2B5EF4-FFF2-40B4-BE49-F238E27FC236}">
                  <a16:creationId xmlns:a16="http://schemas.microsoft.com/office/drawing/2014/main" id="{5008B50A-AC8A-4E02-A6E2-F9874680430D}"/>
                </a:ext>
              </a:extLst>
            </p:cNvPr>
            <p:cNvGrpSpPr/>
            <p:nvPr/>
          </p:nvGrpSpPr>
          <p:grpSpPr>
            <a:xfrm>
              <a:off x="7351548" y="2397435"/>
              <a:ext cx="827728" cy="255853"/>
              <a:chOff x="5161426" y="615780"/>
              <a:chExt cx="864747" cy="267296"/>
            </a:xfrm>
          </p:grpSpPr>
          <p:pic>
            <p:nvPicPr>
              <p:cNvPr id="671" name="Graphic 670">
                <a:extLst>
                  <a:ext uri="{FF2B5EF4-FFF2-40B4-BE49-F238E27FC236}">
                    <a16:creationId xmlns:a16="http://schemas.microsoft.com/office/drawing/2014/main" id="{543AACCD-1A90-4DED-8934-75AD32F84D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5161426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672" name="Graphic 671">
                <a:extLst>
                  <a:ext uri="{FF2B5EF4-FFF2-40B4-BE49-F238E27FC236}">
                    <a16:creationId xmlns:a16="http://schemas.microsoft.com/office/drawing/2014/main" id="{389CF320-1ED7-406F-B111-B2A3103766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rcRect/>
              <a:stretch/>
            </p:blipFill>
            <p:spPr>
              <a:xfrm>
                <a:off x="5460152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673" name="Graphic 672">
                <a:extLst>
                  <a:ext uri="{FF2B5EF4-FFF2-40B4-BE49-F238E27FC236}">
                    <a16:creationId xmlns:a16="http://schemas.microsoft.com/office/drawing/2014/main" id="{04697EF5-34C3-4A6A-AFCB-613B993619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5758878" y="615780"/>
                <a:ext cx="267295" cy="267296"/>
              </a:xfrm>
              <a:prstGeom prst="rect">
                <a:avLst/>
              </a:prstGeom>
            </p:spPr>
          </p:pic>
        </p:grpSp>
        <p:cxnSp>
          <p:nvCxnSpPr>
            <p:cNvPr id="670" name="Straight Connector 669">
              <a:extLst>
                <a:ext uri="{FF2B5EF4-FFF2-40B4-BE49-F238E27FC236}">
                  <a16:creationId xmlns:a16="http://schemas.microsoft.com/office/drawing/2014/main" id="{E5680E31-8FE2-46D5-B838-348BD18D8757}"/>
                </a:ext>
              </a:extLst>
            </p:cNvPr>
            <p:cNvCxnSpPr>
              <a:cxnSpLocks/>
            </p:cNvCxnSpPr>
            <p:nvPr/>
          </p:nvCxnSpPr>
          <p:spPr>
            <a:xfrm>
              <a:off x="7355726" y="2337934"/>
              <a:ext cx="823551" cy="0"/>
            </a:xfrm>
            <a:prstGeom prst="line">
              <a:avLst/>
            </a:prstGeom>
            <a:ln w="6350" cap="flat" cmpd="sng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74" name="Group 673">
              <a:extLst>
                <a:ext uri="{FF2B5EF4-FFF2-40B4-BE49-F238E27FC236}">
                  <a16:creationId xmlns:a16="http://schemas.microsoft.com/office/drawing/2014/main" id="{C8C918C9-EC89-41DC-ACCE-F07A9831E6DD}"/>
                </a:ext>
              </a:extLst>
            </p:cNvPr>
            <p:cNvGrpSpPr/>
            <p:nvPr/>
          </p:nvGrpSpPr>
          <p:grpSpPr>
            <a:xfrm>
              <a:off x="7351548" y="2690421"/>
              <a:ext cx="827728" cy="255853"/>
              <a:chOff x="5161426" y="615780"/>
              <a:chExt cx="864747" cy="267296"/>
            </a:xfrm>
          </p:grpSpPr>
          <p:pic>
            <p:nvPicPr>
              <p:cNvPr id="675" name="Graphic 674">
                <a:extLst>
                  <a:ext uri="{FF2B5EF4-FFF2-40B4-BE49-F238E27FC236}">
                    <a16:creationId xmlns:a16="http://schemas.microsoft.com/office/drawing/2014/main" id="{BCE5A79E-A50B-433B-85F6-C1C44A957F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3"/>
                  </a:ext>
                </a:extLst>
              </a:blip>
              <a:srcRect/>
              <a:stretch/>
            </p:blipFill>
            <p:spPr>
              <a:xfrm>
                <a:off x="5161426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676" name="Graphic 675">
                <a:extLst>
                  <a:ext uri="{FF2B5EF4-FFF2-40B4-BE49-F238E27FC236}">
                    <a16:creationId xmlns:a16="http://schemas.microsoft.com/office/drawing/2014/main" id="{85AB58DD-576E-4B5F-9568-4C479725A0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5460152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677" name="Graphic 676">
                <a:extLst>
                  <a:ext uri="{FF2B5EF4-FFF2-40B4-BE49-F238E27FC236}">
                    <a16:creationId xmlns:a16="http://schemas.microsoft.com/office/drawing/2014/main" id="{57C37CEB-BD87-4A18-9B4E-D1ADF1A5A3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/>
            </p:blipFill>
            <p:spPr>
              <a:xfrm>
                <a:off x="5758878" y="615780"/>
                <a:ext cx="267295" cy="267296"/>
              </a:xfrm>
              <a:prstGeom prst="rect">
                <a:avLst/>
              </a:prstGeom>
            </p:spPr>
          </p:pic>
        </p:grpSp>
      </p:grpSp>
      <p:grpSp>
        <p:nvGrpSpPr>
          <p:cNvPr id="685" name="Group 684">
            <a:extLst>
              <a:ext uri="{FF2B5EF4-FFF2-40B4-BE49-F238E27FC236}">
                <a16:creationId xmlns:a16="http://schemas.microsoft.com/office/drawing/2014/main" id="{D413C73A-FF6E-4DE7-AF76-748DF8F86BC8}"/>
              </a:ext>
            </a:extLst>
          </p:cNvPr>
          <p:cNvGrpSpPr/>
          <p:nvPr/>
        </p:nvGrpSpPr>
        <p:grpSpPr>
          <a:xfrm>
            <a:off x="8269144" y="3261695"/>
            <a:ext cx="456634" cy="455741"/>
            <a:chOff x="5107056" y="338266"/>
            <a:chExt cx="656647" cy="655361"/>
          </a:xfrm>
        </p:grpSpPr>
        <p:sp>
          <p:nvSpPr>
            <p:cNvPr id="686" name="Rectangle 685">
              <a:extLst>
                <a:ext uri="{FF2B5EF4-FFF2-40B4-BE49-F238E27FC236}">
                  <a16:creationId xmlns:a16="http://schemas.microsoft.com/office/drawing/2014/main" id="{5B26AA3A-8A2E-49AF-8C2A-992B5D1260DB}"/>
                </a:ext>
              </a:extLst>
            </p:cNvPr>
            <p:cNvSpPr/>
            <p:nvPr/>
          </p:nvSpPr>
          <p:spPr>
            <a:xfrm>
              <a:off x="5107056" y="338266"/>
              <a:ext cx="656647" cy="5794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50800" dir="2700000" sx="99000" sy="99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36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1"/>
                </a:buClr>
                <a:buSzPct val="120000"/>
              </a:pPr>
              <a:r>
                <a:rPr lang="nb-NO" sz="600" b="1" cap="all">
                  <a:solidFill>
                    <a:schemeClr val="accent5"/>
                  </a:solidFill>
                </a:rPr>
                <a:t>Nepal</a:t>
              </a:r>
              <a:endParaRPr lang="en-US" sz="600" b="1" cap="all">
                <a:solidFill>
                  <a:schemeClr val="accent5"/>
                </a:solidFill>
              </a:endParaRPr>
            </a:p>
          </p:txBody>
        </p:sp>
        <p:sp>
          <p:nvSpPr>
            <p:cNvPr id="687" name="Rectangle 686">
              <a:extLst>
                <a:ext uri="{FF2B5EF4-FFF2-40B4-BE49-F238E27FC236}">
                  <a16:creationId xmlns:a16="http://schemas.microsoft.com/office/drawing/2014/main" id="{4461EC56-820E-4F0B-AA34-5CE39ABD9A53}"/>
                </a:ext>
              </a:extLst>
            </p:cNvPr>
            <p:cNvSpPr/>
            <p:nvPr/>
          </p:nvSpPr>
          <p:spPr>
            <a:xfrm rot="18900000">
              <a:off x="5496818" y="838633"/>
              <a:ext cx="154995" cy="1549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600">
                <a:solidFill>
                  <a:schemeClr val="accent5"/>
                </a:solidFill>
              </a:endParaRPr>
            </a:p>
          </p:txBody>
        </p:sp>
        <p:grpSp>
          <p:nvGrpSpPr>
            <p:cNvPr id="688" name="Group 687">
              <a:extLst>
                <a:ext uri="{FF2B5EF4-FFF2-40B4-BE49-F238E27FC236}">
                  <a16:creationId xmlns:a16="http://schemas.microsoft.com/office/drawing/2014/main" id="{F1F731BD-0C62-417F-97D0-3E09CBA647CE}"/>
                </a:ext>
              </a:extLst>
            </p:cNvPr>
            <p:cNvGrpSpPr/>
            <p:nvPr/>
          </p:nvGrpSpPr>
          <p:grpSpPr>
            <a:xfrm>
              <a:off x="5161424" y="615780"/>
              <a:ext cx="541791" cy="255853"/>
              <a:chOff x="5161426" y="615780"/>
              <a:chExt cx="566022" cy="267296"/>
            </a:xfrm>
          </p:grpSpPr>
          <p:pic>
            <p:nvPicPr>
              <p:cNvPr id="690" name="Graphic 689">
                <a:extLst>
                  <a:ext uri="{FF2B5EF4-FFF2-40B4-BE49-F238E27FC236}">
                    <a16:creationId xmlns:a16="http://schemas.microsoft.com/office/drawing/2014/main" id="{5269F5FA-3772-4CFB-A0D3-F2DCC36681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5161426" y="615780"/>
                <a:ext cx="267295" cy="267295"/>
              </a:xfrm>
              <a:prstGeom prst="rect">
                <a:avLst/>
              </a:prstGeom>
            </p:spPr>
          </p:pic>
          <p:pic>
            <p:nvPicPr>
              <p:cNvPr id="691" name="Graphic 690">
                <a:extLst>
                  <a:ext uri="{FF2B5EF4-FFF2-40B4-BE49-F238E27FC236}">
                    <a16:creationId xmlns:a16="http://schemas.microsoft.com/office/drawing/2014/main" id="{FD4134A3-4056-4144-AF6E-F87ABE3738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rcRect/>
              <a:stretch/>
            </p:blipFill>
            <p:spPr>
              <a:xfrm>
                <a:off x="5460152" y="615780"/>
                <a:ext cx="267296" cy="267296"/>
              </a:xfrm>
              <a:prstGeom prst="rect">
                <a:avLst/>
              </a:prstGeom>
            </p:spPr>
          </p:pic>
        </p:grpSp>
        <p:cxnSp>
          <p:nvCxnSpPr>
            <p:cNvPr id="689" name="Straight Connector 688">
              <a:extLst>
                <a:ext uri="{FF2B5EF4-FFF2-40B4-BE49-F238E27FC236}">
                  <a16:creationId xmlns:a16="http://schemas.microsoft.com/office/drawing/2014/main" id="{5426B66C-EEA9-4612-B0B1-C60C919DC399}"/>
                </a:ext>
              </a:extLst>
            </p:cNvPr>
            <p:cNvCxnSpPr>
              <a:cxnSpLocks/>
            </p:cNvCxnSpPr>
            <p:nvPr/>
          </p:nvCxnSpPr>
          <p:spPr>
            <a:xfrm>
              <a:off x="5165603" y="556279"/>
              <a:ext cx="544501" cy="0"/>
            </a:xfrm>
            <a:prstGeom prst="line">
              <a:avLst/>
            </a:prstGeom>
            <a:ln w="6350" cap="flat" cmpd="sng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1" name="Group 420">
            <a:extLst>
              <a:ext uri="{FF2B5EF4-FFF2-40B4-BE49-F238E27FC236}">
                <a16:creationId xmlns:a16="http://schemas.microsoft.com/office/drawing/2014/main" id="{03CFC581-044D-46E8-8A4E-2A70290A5B8D}"/>
              </a:ext>
            </a:extLst>
          </p:cNvPr>
          <p:cNvGrpSpPr/>
          <p:nvPr/>
        </p:nvGrpSpPr>
        <p:grpSpPr>
          <a:xfrm>
            <a:off x="6799881" y="2123960"/>
            <a:ext cx="566868" cy="402950"/>
            <a:chOff x="5033517" y="338266"/>
            <a:chExt cx="815164" cy="579448"/>
          </a:xfrm>
        </p:grpSpPr>
        <p:sp>
          <p:nvSpPr>
            <p:cNvPr id="422" name="Rectangle 421">
              <a:extLst>
                <a:ext uri="{FF2B5EF4-FFF2-40B4-BE49-F238E27FC236}">
                  <a16:creationId xmlns:a16="http://schemas.microsoft.com/office/drawing/2014/main" id="{4C3E32F5-7E2E-4214-8E37-10C9C9FE3089}"/>
                </a:ext>
              </a:extLst>
            </p:cNvPr>
            <p:cNvSpPr/>
            <p:nvPr/>
          </p:nvSpPr>
          <p:spPr>
            <a:xfrm>
              <a:off x="5107056" y="338266"/>
              <a:ext cx="741625" cy="5794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50800" dir="2700000" sx="99000" sy="99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36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1"/>
                </a:buClr>
                <a:buSzPct val="120000"/>
              </a:pPr>
              <a:r>
                <a:rPr lang="nb-NO" sz="600" b="1" cap="all" err="1">
                  <a:solidFill>
                    <a:schemeClr val="accent5"/>
                  </a:solidFill>
                </a:rPr>
                <a:t>finnland</a:t>
              </a:r>
              <a:endParaRPr lang="en-US" sz="600" b="1" cap="all">
                <a:solidFill>
                  <a:schemeClr val="accent5"/>
                </a:solidFill>
              </a:endParaRPr>
            </a:p>
          </p:txBody>
        </p:sp>
        <p:sp>
          <p:nvSpPr>
            <p:cNvPr id="423" name="Rectangle 422">
              <a:extLst>
                <a:ext uri="{FF2B5EF4-FFF2-40B4-BE49-F238E27FC236}">
                  <a16:creationId xmlns:a16="http://schemas.microsoft.com/office/drawing/2014/main" id="{F8C9B64F-589F-493A-9A4B-4760C14402C3}"/>
                </a:ext>
              </a:extLst>
            </p:cNvPr>
            <p:cNvSpPr/>
            <p:nvPr/>
          </p:nvSpPr>
          <p:spPr>
            <a:xfrm rot="18900000">
              <a:off x="5033517" y="479661"/>
              <a:ext cx="154995" cy="1549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600">
                <a:solidFill>
                  <a:schemeClr val="accent5"/>
                </a:solidFill>
              </a:endParaRPr>
            </a:p>
          </p:txBody>
        </p:sp>
        <p:grpSp>
          <p:nvGrpSpPr>
            <p:cNvPr id="424" name="Group 423">
              <a:extLst>
                <a:ext uri="{FF2B5EF4-FFF2-40B4-BE49-F238E27FC236}">
                  <a16:creationId xmlns:a16="http://schemas.microsoft.com/office/drawing/2014/main" id="{292CA265-4637-4D32-8488-55208C732CE2}"/>
                </a:ext>
              </a:extLst>
            </p:cNvPr>
            <p:cNvGrpSpPr/>
            <p:nvPr/>
          </p:nvGrpSpPr>
          <p:grpSpPr>
            <a:xfrm>
              <a:off x="5161424" y="615780"/>
              <a:ext cx="541791" cy="255853"/>
              <a:chOff x="5161426" y="615780"/>
              <a:chExt cx="566022" cy="267296"/>
            </a:xfrm>
          </p:grpSpPr>
          <p:pic>
            <p:nvPicPr>
              <p:cNvPr id="426" name="Graphic 425">
                <a:extLst>
                  <a:ext uri="{FF2B5EF4-FFF2-40B4-BE49-F238E27FC236}">
                    <a16:creationId xmlns:a16="http://schemas.microsoft.com/office/drawing/2014/main" id="{26A3F37E-6FD5-4160-B24D-504F229908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5161426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427" name="Graphic 426">
                <a:extLst>
                  <a:ext uri="{FF2B5EF4-FFF2-40B4-BE49-F238E27FC236}">
                    <a16:creationId xmlns:a16="http://schemas.microsoft.com/office/drawing/2014/main" id="{4A2302D0-0810-444D-BBCF-F973D3F3E6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rcRect/>
              <a:stretch/>
            </p:blipFill>
            <p:spPr>
              <a:xfrm>
                <a:off x="5460152" y="615780"/>
                <a:ext cx="267296" cy="267296"/>
              </a:xfrm>
              <a:prstGeom prst="rect">
                <a:avLst/>
              </a:prstGeom>
            </p:spPr>
          </p:pic>
        </p:grpSp>
        <p:cxnSp>
          <p:nvCxnSpPr>
            <p:cNvPr id="425" name="Straight Connector 424">
              <a:extLst>
                <a:ext uri="{FF2B5EF4-FFF2-40B4-BE49-F238E27FC236}">
                  <a16:creationId xmlns:a16="http://schemas.microsoft.com/office/drawing/2014/main" id="{C7827424-0C72-4563-B808-4FFD5FB02DC7}"/>
                </a:ext>
              </a:extLst>
            </p:cNvPr>
            <p:cNvCxnSpPr>
              <a:cxnSpLocks/>
            </p:cNvCxnSpPr>
            <p:nvPr/>
          </p:nvCxnSpPr>
          <p:spPr>
            <a:xfrm>
              <a:off x="5165603" y="556279"/>
              <a:ext cx="544501" cy="0"/>
            </a:xfrm>
            <a:prstGeom prst="line">
              <a:avLst/>
            </a:prstGeom>
            <a:ln w="6350" cap="flat" cmpd="sng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5" name="Group 654">
            <a:extLst>
              <a:ext uri="{FF2B5EF4-FFF2-40B4-BE49-F238E27FC236}">
                <a16:creationId xmlns:a16="http://schemas.microsoft.com/office/drawing/2014/main" id="{0195640E-0075-40CD-9932-70CB680474C0}"/>
              </a:ext>
            </a:extLst>
          </p:cNvPr>
          <p:cNvGrpSpPr/>
          <p:nvPr/>
        </p:nvGrpSpPr>
        <p:grpSpPr>
          <a:xfrm>
            <a:off x="7382186" y="2583041"/>
            <a:ext cx="507774" cy="402950"/>
            <a:chOff x="5033516" y="338266"/>
            <a:chExt cx="730187" cy="579448"/>
          </a:xfrm>
        </p:grpSpPr>
        <p:sp>
          <p:nvSpPr>
            <p:cNvPr id="656" name="Rectangle 655">
              <a:extLst>
                <a:ext uri="{FF2B5EF4-FFF2-40B4-BE49-F238E27FC236}">
                  <a16:creationId xmlns:a16="http://schemas.microsoft.com/office/drawing/2014/main" id="{7790C8EF-6FD9-44A3-A8D9-1E6C3242782E}"/>
                </a:ext>
              </a:extLst>
            </p:cNvPr>
            <p:cNvSpPr/>
            <p:nvPr/>
          </p:nvSpPr>
          <p:spPr>
            <a:xfrm>
              <a:off x="5107056" y="338266"/>
              <a:ext cx="656647" cy="5794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50800" dir="2700000" sx="99000" sy="99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36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1"/>
                </a:buClr>
                <a:buSzPct val="120000"/>
              </a:pPr>
              <a:r>
                <a:rPr lang="nb-NO" sz="600" b="1" cap="all">
                  <a:solidFill>
                    <a:schemeClr val="accent5"/>
                  </a:solidFill>
                </a:rPr>
                <a:t>polen</a:t>
              </a:r>
              <a:endParaRPr lang="en-US" sz="600" b="1" cap="all">
                <a:solidFill>
                  <a:schemeClr val="accent5"/>
                </a:solidFill>
              </a:endParaRPr>
            </a:p>
          </p:txBody>
        </p:sp>
        <p:sp>
          <p:nvSpPr>
            <p:cNvPr id="657" name="Rectangle 656">
              <a:extLst>
                <a:ext uri="{FF2B5EF4-FFF2-40B4-BE49-F238E27FC236}">
                  <a16:creationId xmlns:a16="http://schemas.microsoft.com/office/drawing/2014/main" id="{9C0A5123-4D0A-46AC-8490-F3968F158CA9}"/>
                </a:ext>
              </a:extLst>
            </p:cNvPr>
            <p:cNvSpPr/>
            <p:nvPr/>
          </p:nvSpPr>
          <p:spPr>
            <a:xfrm rot="18900000">
              <a:off x="5033516" y="655387"/>
              <a:ext cx="154995" cy="1549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600">
                <a:solidFill>
                  <a:schemeClr val="accent5"/>
                </a:solidFill>
              </a:endParaRPr>
            </a:p>
          </p:txBody>
        </p:sp>
        <p:grpSp>
          <p:nvGrpSpPr>
            <p:cNvPr id="658" name="Group 657">
              <a:extLst>
                <a:ext uri="{FF2B5EF4-FFF2-40B4-BE49-F238E27FC236}">
                  <a16:creationId xmlns:a16="http://schemas.microsoft.com/office/drawing/2014/main" id="{97FF8114-E9DA-464F-AA29-6B1F884E21D5}"/>
                </a:ext>
              </a:extLst>
            </p:cNvPr>
            <p:cNvGrpSpPr/>
            <p:nvPr/>
          </p:nvGrpSpPr>
          <p:grpSpPr>
            <a:xfrm>
              <a:off x="5161424" y="615780"/>
              <a:ext cx="541791" cy="255853"/>
              <a:chOff x="5161426" y="615780"/>
              <a:chExt cx="566022" cy="267296"/>
            </a:xfrm>
          </p:grpSpPr>
          <p:pic>
            <p:nvPicPr>
              <p:cNvPr id="660" name="Graphic 659">
                <a:extLst>
                  <a:ext uri="{FF2B5EF4-FFF2-40B4-BE49-F238E27FC236}">
                    <a16:creationId xmlns:a16="http://schemas.microsoft.com/office/drawing/2014/main" id="{0671C051-5F5A-48DD-9FF4-AF8D8DA33E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5161426" y="615780"/>
                <a:ext cx="267295" cy="267296"/>
              </a:xfrm>
              <a:prstGeom prst="rect">
                <a:avLst/>
              </a:prstGeom>
            </p:spPr>
          </p:pic>
          <p:pic>
            <p:nvPicPr>
              <p:cNvPr id="661" name="Graphic 660">
                <a:extLst>
                  <a:ext uri="{FF2B5EF4-FFF2-40B4-BE49-F238E27FC236}">
                    <a16:creationId xmlns:a16="http://schemas.microsoft.com/office/drawing/2014/main" id="{48CDDECD-250C-4119-AF6D-6AB7465499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rcRect/>
              <a:stretch/>
            </p:blipFill>
            <p:spPr>
              <a:xfrm>
                <a:off x="5460152" y="615780"/>
                <a:ext cx="267296" cy="267296"/>
              </a:xfrm>
              <a:prstGeom prst="rect">
                <a:avLst/>
              </a:prstGeom>
            </p:spPr>
          </p:pic>
        </p:grpSp>
        <p:cxnSp>
          <p:nvCxnSpPr>
            <p:cNvPr id="659" name="Straight Connector 658">
              <a:extLst>
                <a:ext uri="{FF2B5EF4-FFF2-40B4-BE49-F238E27FC236}">
                  <a16:creationId xmlns:a16="http://schemas.microsoft.com/office/drawing/2014/main" id="{F7278826-52E6-4C89-832B-1EE0CDC5CFE6}"/>
                </a:ext>
              </a:extLst>
            </p:cNvPr>
            <p:cNvCxnSpPr>
              <a:cxnSpLocks/>
            </p:cNvCxnSpPr>
            <p:nvPr/>
          </p:nvCxnSpPr>
          <p:spPr>
            <a:xfrm>
              <a:off x="5165603" y="556279"/>
              <a:ext cx="544501" cy="0"/>
            </a:xfrm>
            <a:prstGeom prst="line">
              <a:avLst/>
            </a:prstGeom>
            <a:ln w="6350" cap="flat" cmpd="sng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9" name="Object 218" hidden="1">
            <a:extLst>
              <a:ext uri="{FF2B5EF4-FFF2-40B4-BE49-F238E27FC236}">
                <a16:creationId xmlns:a16="http://schemas.microsoft.com/office/drawing/2014/main" id="{407ECA41-FE2C-4156-9938-692CEA3F1E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19" name="Object 218" hidden="1">
                        <a:extLst>
                          <a:ext uri="{FF2B5EF4-FFF2-40B4-BE49-F238E27FC236}">
                            <a16:creationId xmlns:a16="http://schemas.microsoft.com/office/drawing/2014/main" id="{407ECA41-FE2C-4156-9938-692CEA3F1E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C50F5A-91CE-4FE2-8371-ECC88094D8F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GB" sz="3200" b="1">
              <a:solidFill>
                <a:schemeClr val="accent5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430" name="Group 429">
            <a:extLst>
              <a:ext uri="{FF2B5EF4-FFF2-40B4-BE49-F238E27FC236}">
                <a16:creationId xmlns:a16="http://schemas.microsoft.com/office/drawing/2014/main" id="{4F7F1759-1C53-4767-8497-04A544735415}"/>
              </a:ext>
            </a:extLst>
          </p:cNvPr>
          <p:cNvGrpSpPr/>
          <p:nvPr/>
        </p:nvGrpSpPr>
        <p:grpSpPr>
          <a:xfrm>
            <a:off x="10935049" y="3497268"/>
            <a:ext cx="1253508" cy="1637890"/>
            <a:chOff x="813966" y="4197254"/>
            <a:chExt cx="1168042" cy="1526217"/>
          </a:xfrm>
        </p:grpSpPr>
        <p:grpSp>
          <p:nvGrpSpPr>
            <p:cNvPr id="431" name="Group 430">
              <a:extLst>
                <a:ext uri="{FF2B5EF4-FFF2-40B4-BE49-F238E27FC236}">
                  <a16:creationId xmlns:a16="http://schemas.microsoft.com/office/drawing/2014/main" id="{D5CD38A1-E640-46D9-826D-4BB15B598019}"/>
                </a:ext>
              </a:extLst>
            </p:cNvPr>
            <p:cNvGrpSpPr/>
            <p:nvPr/>
          </p:nvGrpSpPr>
          <p:grpSpPr>
            <a:xfrm>
              <a:off x="813973" y="4420989"/>
              <a:ext cx="1164149" cy="183807"/>
              <a:chOff x="8268123" y="5505845"/>
              <a:chExt cx="1204980" cy="190254"/>
            </a:xfrm>
          </p:grpSpPr>
          <p:pic>
            <p:nvPicPr>
              <p:cNvPr id="450" name="Graphic 449">
                <a:extLst>
                  <a:ext uri="{FF2B5EF4-FFF2-40B4-BE49-F238E27FC236}">
                    <a16:creationId xmlns:a16="http://schemas.microsoft.com/office/drawing/2014/main" id="{15721F7B-70FA-4C41-B3E4-F2D91E0124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8268123" y="5505845"/>
                <a:ext cx="190254" cy="190254"/>
              </a:xfrm>
              <a:prstGeom prst="rect">
                <a:avLst/>
              </a:prstGeom>
            </p:spPr>
          </p:pic>
          <p:sp>
            <p:nvSpPr>
              <p:cNvPr id="451" name="TextBox 450">
                <a:extLst>
                  <a:ext uri="{FF2B5EF4-FFF2-40B4-BE49-F238E27FC236}">
                    <a16:creationId xmlns:a16="http://schemas.microsoft.com/office/drawing/2014/main" id="{44096908-8725-4AEB-9338-07586985477E}"/>
                  </a:ext>
                </a:extLst>
              </p:cNvPr>
              <p:cNvSpPr txBox="1"/>
              <p:nvPr/>
            </p:nvSpPr>
            <p:spPr>
              <a:xfrm>
                <a:off x="8505790" y="5519272"/>
                <a:ext cx="967313" cy="1672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l">
                  <a:spcBef>
                    <a:spcPts val="600"/>
                  </a:spcBef>
                  <a:buClr>
                    <a:schemeClr val="accent1"/>
                  </a:buClr>
                  <a:buSzPct val="120000"/>
                </a:pPr>
                <a:r>
                  <a:rPr lang="nb-NO" sz="800" err="1">
                    <a:solidFill>
                      <a:schemeClr val="accent5"/>
                    </a:solidFill>
                    <a:latin typeface="Arial" pitchFamily="34" charset="0"/>
                    <a:cs typeface="Arial" pitchFamily="34" charset="0"/>
                  </a:rPr>
                  <a:t>Windkraft</a:t>
                </a:r>
                <a:endParaRPr lang="en-US" sz="800">
                  <a:solidFill>
                    <a:schemeClr val="accent5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32" name="Group 431">
              <a:extLst>
                <a:ext uri="{FF2B5EF4-FFF2-40B4-BE49-F238E27FC236}">
                  <a16:creationId xmlns:a16="http://schemas.microsoft.com/office/drawing/2014/main" id="{B266FAD9-8DD1-4653-BB4A-E4E5B46CE081}"/>
                </a:ext>
              </a:extLst>
            </p:cNvPr>
            <p:cNvGrpSpPr/>
            <p:nvPr/>
          </p:nvGrpSpPr>
          <p:grpSpPr>
            <a:xfrm>
              <a:off x="813973" y="4197254"/>
              <a:ext cx="1165149" cy="183807"/>
              <a:chOff x="8268123" y="5505845"/>
              <a:chExt cx="1206015" cy="190254"/>
            </a:xfrm>
          </p:grpSpPr>
          <p:pic>
            <p:nvPicPr>
              <p:cNvPr id="448" name="Graphic 447">
                <a:extLst>
                  <a:ext uri="{FF2B5EF4-FFF2-40B4-BE49-F238E27FC236}">
                    <a16:creationId xmlns:a16="http://schemas.microsoft.com/office/drawing/2014/main" id="{3D1B5B33-30AD-44F3-BD1A-8FBDD3738A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8268123" y="5505845"/>
                <a:ext cx="190254" cy="190254"/>
              </a:xfrm>
              <a:prstGeom prst="rect">
                <a:avLst/>
              </a:prstGeom>
            </p:spPr>
          </p:pic>
          <p:sp>
            <p:nvSpPr>
              <p:cNvPr id="449" name="TextBox 448">
                <a:extLst>
                  <a:ext uri="{FF2B5EF4-FFF2-40B4-BE49-F238E27FC236}">
                    <a16:creationId xmlns:a16="http://schemas.microsoft.com/office/drawing/2014/main" id="{C2E10EF7-4532-462F-B98B-9C6483AA9408}"/>
                  </a:ext>
                </a:extLst>
              </p:cNvPr>
              <p:cNvSpPr txBox="1"/>
              <p:nvPr/>
            </p:nvSpPr>
            <p:spPr>
              <a:xfrm>
                <a:off x="8505790" y="5519272"/>
                <a:ext cx="968348" cy="1672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l">
                  <a:spcBef>
                    <a:spcPts val="600"/>
                  </a:spcBef>
                  <a:buClr>
                    <a:schemeClr val="accent1"/>
                  </a:buClr>
                  <a:buSzPct val="120000"/>
                </a:pPr>
                <a:r>
                  <a:rPr lang="nb-NO" sz="800" err="1">
                    <a:solidFill>
                      <a:schemeClr val="accent5"/>
                    </a:solidFill>
                    <a:latin typeface="Arial" pitchFamily="34" charset="0"/>
                    <a:cs typeface="Arial" pitchFamily="34" charset="0"/>
                  </a:rPr>
                  <a:t>Wasserkraft</a:t>
                </a:r>
                <a:endParaRPr lang="en-US" sz="800">
                  <a:solidFill>
                    <a:schemeClr val="accent5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33" name="Group 432">
              <a:extLst>
                <a:ext uri="{FF2B5EF4-FFF2-40B4-BE49-F238E27FC236}">
                  <a16:creationId xmlns:a16="http://schemas.microsoft.com/office/drawing/2014/main" id="{BEA99788-236B-49E8-AF5F-322718D1A282}"/>
                </a:ext>
              </a:extLst>
            </p:cNvPr>
            <p:cNvGrpSpPr/>
            <p:nvPr/>
          </p:nvGrpSpPr>
          <p:grpSpPr>
            <a:xfrm>
              <a:off x="813973" y="4644724"/>
              <a:ext cx="1165149" cy="183807"/>
              <a:chOff x="8268123" y="5505845"/>
              <a:chExt cx="1206015" cy="190254"/>
            </a:xfrm>
          </p:grpSpPr>
          <p:pic>
            <p:nvPicPr>
              <p:cNvPr id="446" name="Graphic 445">
                <a:extLst>
                  <a:ext uri="{FF2B5EF4-FFF2-40B4-BE49-F238E27FC236}">
                    <a16:creationId xmlns:a16="http://schemas.microsoft.com/office/drawing/2014/main" id="{D7F26AEA-AB6A-4483-9FBF-81A43A75AB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/>
            </p:blipFill>
            <p:spPr>
              <a:xfrm>
                <a:off x="8268123" y="5505845"/>
                <a:ext cx="190254" cy="190254"/>
              </a:xfrm>
              <a:prstGeom prst="rect">
                <a:avLst/>
              </a:prstGeom>
            </p:spPr>
          </p:pic>
          <p:sp>
            <p:nvSpPr>
              <p:cNvPr id="447" name="TextBox 446">
                <a:extLst>
                  <a:ext uri="{FF2B5EF4-FFF2-40B4-BE49-F238E27FC236}">
                    <a16:creationId xmlns:a16="http://schemas.microsoft.com/office/drawing/2014/main" id="{626CEBB6-7025-4D98-8316-FBD7442B7041}"/>
                  </a:ext>
                </a:extLst>
              </p:cNvPr>
              <p:cNvSpPr txBox="1"/>
              <p:nvPr/>
            </p:nvSpPr>
            <p:spPr>
              <a:xfrm>
                <a:off x="8505790" y="5519272"/>
                <a:ext cx="968348" cy="1672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l">
                  <a:spcBef>
                    <a:spcPts val="600"/>
                  </a:spcBef>
                  <a:buClr>
                    <a:schemeClr val="accent1"/>
                  </a:buClr>
                  <a:buSzPct val="120000"/>
                </a:pPr>
                <a:r>
                  <a:rPr lang="nb-NO" sz="800">
                    <a:solidFill>
                      <a:schemeClr val="accent5"/>
                    </a:solidFill>
                    <a:latin typeface="Arial" pitchFamily="34" charset="0"/>
                    <a:cs typeface="Arial" pitchFamily="34" charset="0"/>
                  </a:rPr>
                  <a:t>Solarkraft</a:t>
                </a:r>
                <a:endParaRPr lang="en-US" sz="800">
                  <a:solidFill>
                    <a:schemeClr val="accent5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34" name="Group 433">
              <a:extLst>
                <a:ext uri="{FF2B5EF4-FFF2-40B4-BE49-F238E27FC236}">
                  <a16:creationId xmlns:a16="http://schemas.microsoft.com/office/drawing/2014/main" id="{A6A4DDF6-313C-4BF1-A0E6-3FA59900FFDC}"/>
                </a:ext>
              </a:extLst>
            </p:cNvPr>
            <p:cNvGrpSpPr/>
            <p:nvPr/>
          </p:nvGrpSpPr>
          <p:grpSpPr>
            <a:xfrm>
              <a:off x="813973" y="4868459"/>
              <a:ext cx="1168035" cy="183807"/>
              <a:chOff x="8268123" y="5505845"/>
              <a:chExt cx="1209002" cy="190254"/>
            </a:xfrm>
          </p:grpSpPr>
          <p:pic>
            <p:nvPicPr>
              <p:cNvPr id="444" name="Graphic 443">
                <a:extLst>
                  <a:ext uri="{FF2B5EF4-FFF2-40B4-BE49-F238E27FC236}">
                    <a16:creationId xmlns:a16="http://schemas.microsoft.com/office/drawing/2014/main" id="{9F2D87A0-5722-44DB-8791-56025718BE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rcRect/>
              <a:stretch/>
            </p:blipFill>
            <p:spPr>
              <a:xfrm>
                <a:off x="8268123" y="5505845"/>
                <a:ext cx="190254" cy="190254"/>
              </a:xfrm>
              <a:prstGeom prst="rect">
                <a:avLst/>
              </a:prstGeom>
            </p:spPr>
          </p:pic>
          <p:sp>
            <p:nvSpPr>
              <p:cNvPr id="445" name="TextBox 444">
                <a:extLst>
                  <a:ext uri="{FF2B5EF4-FFF2-40B4-BE49-F238E27FC236}">
                    <a16:creationId xmlns:a16="http://schemas.microsoft.com/office/drawing/2014/main" id="{81EDBE52-0668-4F23-A65B-1F1614EBA707}"/>
                  </a:ext>
                </a:extLst>
              </p:cNvPr>
              <p:cNvSpPr txBox="1"/>
              <p:nvPr/>
            </p:nvSpPr>
            <p:spPr>
              <a:xfrm>
                <a:off x="8505790" y="5519272"/>
                <a:ext cx="971335" cy="1672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l">
                  <a:spcBef>
                    <a:spcPts val="600"/>
                  </a:spcBef>
                  <a:buClr>
                    <a:schemeClr val="accent1"/>
                  </a:buClr>
                  <a:buSzPct val="120000"/>
                </a:pPr>
                <a:r>
                  <a:rPr lang="nb-NO" sz="800" err="1">
                    <a:solidFill>
                      <a:schemeClr val="accent5"/>
                    </a:solidFill>
                    <a:latin typeface="Arial" pitchFamily="34" charset="0"/>
                    <a:cs typeface="Arial" pitchFamily="34" charset="0"/>
                  </a:rPr>
                  <a:t>Fernwärme</a:t>
                </a:r>
                <a:endParaRPr lang="en-US" sz="800">
                  <a:solidFill>
                    <a:schemeClr val="accent5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35" name="Group 434">
              <a:extLst>
                <a:ext uri="{FF2B5EF4-FFF2-40B4-BE49-F238E27FC236}">
                  <a16:creationId xmlns:a16="http://schemas.microsoft.com/office/drawing/2014/main" id="{276A6413-2A59-41F6-B3CE-9B963E57D3E4}"/>
                </a:ext>
              </a:extLst>
            </p:cNvPr>
            <p:cNvGrpSpPr/>
            <p:nvPr/>
          </p:nvGrpSpPr>
          <p:grpSpPr>
            <a:xfrm>
              <a:off x="813966" y="5315929"/>
              <a:ext cx="1165148" cy="183807"/>
              <a:chOff x="8268123" y="5505845"/>
              <a:chExt cx="1206015" cy="190254"/>
            </a:xfrm>
          </p:grpSpPr>
          <p:pic>
            <p:nvPicPr>
              <p:cNvPr id="442" name="Graphic 441">
                <a:extLst>
                  <a:ext uri="{FF2B5EF4-FFF2-40B4-BE49-F238E27FC236}">
                    <a16:creationId xmlns:a16="http://schemas.microsoft.com/office/drawing/2014/main" id="{70B51785-C53F-4954-A972-FC18751D97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rcRect/>
              <a:stretch/>
            </p:blipFill>
            <p:spPr>
              <a:xfrm>
                <a:off x="8268123" y="5505845"/>
                <a:ext cx="190254" cy="190254"/>
              </a:xfrm>
              <a:prstGeom prst="rect">
                <a:avLst/>
              </a:prstGeom>
            </p:spPr>
          </p:pic>
          <p:sp>
            <p:nvSpPr>
              <p:cNvPr id="443" name="TextBox 442">
                <a:extLst>
                  <a:ext uri="{FF2B5EF4-FFF2-40B4-BE49-F238E27FC236}">
                    <a16:creationId xmlns:a16="http://schemas.microsoft.com/office/drawing/2014/main" id="{1AAACD3B-D879-48E3-9BFF-A2A29C55F8D0}"/>
                  </a:ext>
                </a:extLst>
              </p:cNvPr>
              <p:cNvSpPr txBox="1"/>
              <p:nvPr/>
            </p:nvSpPr>
            <p:spPr>
              <a:xfrm>
                <a:off x="8505790" y="5519272"/>
                <a:ext cx="968348" cy="1672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l">
                  <a:spcBef>
                    <a:spcPts val="600"/>
                  </a:spcBef>
                  <a:buClr>
                    <a:schemeClr val="accent1"/>
                  </a:buClr>
                  <a:buSzPct val="120000"/>
                </a:pPr>
                <a:r>
                  <a:rPr lang="nb-NO" sz="800" err="1">
                    <a:solidFill>
                      <a:schemeClr val="accent5"/>
                    </a:solidFill>
                    <a:latin typeface="Arial" pitchFamily="34" charset="0"/>
                    <a:cs typeface="Arial" pitchFamily="34" charset="0"/>
                  </a:rPr>
                  <a:t>Gaskraft</a:t>
                </a:r>
                <a:endParaRPr lang="en-US" sz="800">
                  <a:solidFill>
                    <a:schemeClr val="accent5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36" name="Group 435">
              <a:extLst>
                <a:ext uri="{FF2B5EF4-FFF2-40B4-BE49-F238E27FC236}">
                  <a16:creationId xmlns:a16="http://schemas.microsoft.com/office/drawing/2014/main" id="{CFD01173-B504-4715-8693-DBB1D14345EB}"/>
                </a:ext>
              </a:extLst>
            </p:cNvPr>
            <p:cNvGrpSpPr/>
            <p:nvPr/>
          </p:nvGrpSpPr>
          <p:grpSpPr>
            <a:xfrm>
              <a:off x="813973" y="5092194"/>
              <a:ext cx="1165149" cy="183807"/>
              <a:chOff x="8268123" y="5505845"/>
              <a:chExt cx="1206015" cy="190254"/>
            </a:xfrm>
          </p:grpSpPr>
          <p:pic>
            <p:nvPicPr>
              <p:cNvPr id="440" name="Graphic 439">
                <a:extLst>
                  <a:ext uri="{FF2B5EF4-FFF2-40B4-BE49-F238E27FC236}">
                    <a16:creationId xmlns:a16="http://schemas.microsoft.com/office/drawing/2014/main" id="{E8F8263D-D443-4291-BB26-C2F28E35F1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3"/>
                  </a:ext>
                </a:extLst>
              </a:blip>
              <a:srcRect/>
              <a:stretch/>
            </p:blipFill>
            <p:spPr>
              <a:xfrm>
                <a:off x="8268123" y="5505845"/>
                <a:ext cx="190254" cy="190254"/>
              </a:xfrm>
              <a:prstGeom prst="rect">
                <a:avLst/>
              </a:prstGeom>
            </p:spPr>
          </p:pic>
          <p:sp>
            <p:nvSpPr>
              <p:cNvPr id="441" name="TextBox 440">
                <a:extLst>
                  <a:ext uri="{FF2B5EF4-FFF2-40B4-BE49-F238E27FC236}">
                    <a16:creationId xmlns:a16="http://schemas.microsoft.com/office/drawing/2014/main" id="{E41D8F4E-AA42-484F-9361-F1B2442DC6E9}"/>
                  </a:ext>
                </a:extLst>
              </p:cNvPr>
              <p:cNvSpPr txBox="1"/>
              <p:nvPr/>
            </p:nvSpPr>
            <p:spPr>
              <a:xfrm>
                <a:off x="8505790" y="5519272"/>
                <a:ext cx="968348" cy="1672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l">
                  <a:spcBef>
                    <a:spcPts val="600"/>
                  </a:spcBef>
                  <a:buClr>
                    <a:schemeClr val="accent1"/>
                  </a:buClr>
                  <a:buSzPct val="120000"/>
                </a:pPr>
                <a:r>
                  <a:rPr lang="nb-NO" sz="800">
                    <a:solidFill>
                      <a:schemeClr val="accent5"/>
                    </a:solidFill>
                    <a:latin typeface="Arial" pitchFamily="34" charset="0"/>
                    <a:cs typeface="Arial" pitchFamily="34" charset="0"/>
                  </a:rPr>
                  <a:t>Biomasse</a:t>
                </a:r>
                <a:endParaRPr lang="en-US" sz="800">
                  <a:solidFill>
                    <a:schemeClr val="accent5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37" name="Group 436">
              <a:extLst>
                <a:ext uri="{FF2B5EF4-FFF2-40B4-BE49-F238E27FC236}">
                  <a16:creationId xmlns:a16="http://schemas.microsoft.com/office/drawing/2014/main" id="{5DDD0748-C125-4625-A30C-5949159AEEB5}"/>
                </a:ext>
              </a:extLst>
            </p:cNvPr>
            <p:cNvGrpSpPr/>
            <p:nvPr/>
          </p:nvGrpSpPr>
          <p:grpSpPr>
            <a:xfrm>
              <a:off x="813973" y="5539664"/>
              <a:ext cx="1165149" cy="183807"/>
              <a:chOff x="8268123" y="5505845"/>
              <a:chExt cx="1206015" cy="190254"/>
            </a:xfrm>
          </p:grpSpPr>
          <p:pic>
            <p:nvPicPr>
              <p:cNvPr id="438" name="Graphic 437">
                <a:extLst>
                  <a:ext uri="{FF2B5EF4-FFF2-40B4-BE49-F238E27FC236}">
                    <a16:creationId xmlns:a16="http://schemas.microsoft.com/office/drawing/2014/main" id="{F0A6AB54-AB16-412B-8D35-9B97DF99B9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8268123" y="5505845"/>
                <a:ext cx="190254" cy="190254"/>
              </a:xfrm>
              <a:prstGeom prst="rect">
                <a:avLst/>
              </a:prstGeom>
            </p:spPr>
          </p:pic>
          <p:sp>
            <p:nvSpPr>
              <p:cNvPr id="439" name="TextBox 438">
                <a:extLst>
                  <a:ext uri="{FF2B5EF4-FFF2-40B4-BE49-F238E27FC236}">
                    <a16:creationId xmlns:a16="http://schemas.microsoft.com/office/drawing/2014/main" id="{C8A30CF8-3A53-43A2-A43B-B773DEBF19A6}"/>
                  </a:ext>
                </a:extLst>
              </p:cNvPr>
              <p:cNvSpPr txBox="1"/>
              <p:nvPr/>
            </p:nvSpPr>
            <p:spPr>
              <a:xfrm>
                <a:off x="8505790" y="5519272"/>
                <a:ext cx="968348" cy="1672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l">
                  <a:spcBef>
                    <a:spcPts val="600"/>
                  </a:spcBef>
                  <a:buClr>
                    <a:schemeClr val="accent1"/>
                  </a:buClr>
                  <a:buSzPct val="120000"/>
                </a:pPr>
                <a:r>
                  <a:rPr lang="nb-NO" sz="800">
                    <a:solidFill>
                      <a:schemeClr val="accent5"/>
                    </a:solidFill>
                    <a:latin typeface="Arial" pitchFamily="34" charset="0"/>
                    <a:cs typeface="Arial" pitchFamily="34" charset="0"/>
                  </a:rPr>
                  <a:t>Handel</a:t>
                </a:r>
                <a:endParaRPr lang="en-US" sz="800">
                  <a:solidFill>
                    <a:schemeClr val="accent5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452" name="Freeform: Shape 451">
            <a:extLst>
              <a:ext uri="{FF2B5EF4-FFF2-40B4-BE49-F238E27FC236}">
                <a16:creationId xmlns:a16="http://schemas.microsoft.com/office/drawing/2014/main" id="{9E1A8BF3-262A-4BBA-8D49-4106E279314C}"/>
              </a:ext>
            </a:extLst>
          </p:cNvPr>
          <p:cNvSpPr/>
          <p:nvPr/>
        </p:nvSpPr>
        <p:spPr>
          <a:xfrm>
            <a:off x="10529576" y="5831130"/>
            <a:ext cx="497795" cy="569670"/>
          </a:xfrm>
          <a:custGeom>
            <a:avLst/>
            <a:gdLst>
              <a:gd name="connsiteX0" fmla="*/ 0 w 497795"/>
              <a:gd name="connsiteY0" fmla="*/ 511106 h 569670"/>
              <a:gd name="connsiteX1" fmla="*/ 66550 w 497795"/>
              <a:gd name="connsiteY1" fmla="*/ 569670 h 569670"/>
              <a:gd name="connsiteX2" fmla="*/ 125114 w 497795"/>
              <a:gd name="connsiteY2" fmla="*/ 569670 h 569670"/>
              <a:gd name="connsiteX3" fmla="*/ 497795 w 497795"/>
              <a:gd name="connsiteY3" fmla="*/ 196989 h 569670"/>
              <a:gd name="connsiteX4" fmla="*/ 300806 w 497795"/>
              <a:gd name="connsiteY4" fmla="*/ 0 h 569670"/>
              <a:gd name="connsiteX5" fmla="*/ 5324 w 497795"/>
              <a:gd name="connsiteY5" fmla="*/ 295482 h 569670"/>
              <a:gd name="connsiteX6" fmla="*/ 0 w 497795"/>
              <a:gd name="connsiteY6" fmla="*/ 511106 h 569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7795" h="569670">
                <a:moveTo>
                  <a:pt x="0" y="511106"/>
                </a:moveTo>
                <a:lnTo>
                  <a:pt x="66550" y="569670"/>
                </a:lnTo>
                <a:lnTo>
                  <a:pt x="125114" y="569670"/>
                </a:lnTo>
                <a:lnTo>
                  <a:pt x="497795" y="196989"/>
                </a:lnTo>
                <a:lnTo>
                  <a:pt x="300806" y="0"/>
                </a:lnTo>
                <a:lnTo>
                  <a:pt x="5324" y="295482"/>
                </a:lnTo>
                <a:lnTo>
                  <a:pt x="0" y="511106"/>
                </a:lnTo>
                <a:close/>
              </a:path>
            </a:pathLst>
          </a:custGeom>
          <a:solidFill>
            <a:srgbClr val="DAF4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sz="1600">
              <a:solidFill>
                <a:schemeClr val="accent5"/>
              </a:solidFill>
            </a:endParaRPr>
          </a:p>
        </p:txBody>
      </p:sp>
      <p:grpSp>
        <p:nvGrpSpPr>
          <p:cNvPr id="512" name="Group 511">
            <a:extLst>
              <a:ext uri="{FF2B5EF4-FFF2-40B4-BE49-F238E27FC236}">
                <a16:creationId xmlns:a16="http://schemas.microsoft.com/office/drawing/2014/main" id="{7C59AE3D-DB60-432E-9D94-DCDCC3D8D018}"/>
              </a:ext>
            </a:extLst>
          </p:cNvPr>
          <p:cNvGrpSpPr/>
          <p:nvPr/>
        </p:nvGrpSpPr>
        <p:grpSpPr>
          <a:xfrm>
            <a:off x="321670" y="2806443"/>
            <a:ext cx="2324567" cy="2972487"/>
            <a:chOff x="-2770179" y="2459294"/>
            <a:chExt cx="2135631" cy="3254590"/>
          </a:xfrm>
          <a:solidFill>
            <a:schemeClr val="tx2"/>
          </a:solidFill>
        </p:grpSpPr>
        <p:sp>
          <p:nvSpPr>
            <p:cNvPr id="513" name="Rectangle 512">
              <a:extLst>
                <a:ext uri="{FF2B5EF4-FFF2-40B4-BE49-F238E27FC236}">
                  <a16:creationId xmlns:a16="http://schemas.microsoft.com/office/drawing/2014/main" id="{599FE53E-AC9C-4178-9CAF-25C33D4448FC}"/>
                </a:ext>
              </a:extLst>
            </p:cNvPr>
            <p:cNvSpPr/>
            <p:nvPr/>
          </p:nvSpPr>
          <p:spPr>
            <a:xfrm>
              <a:off x="-2770179" y="2459294"/>
              <a:ext cx="2135631" cy="325459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00B0DC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14" name="TextBox 513">
              <a:extLst>
                <a:ext uri="{FF2B5EF4-FFF2-40B4-BE49-F238E27FC236}">
                  <a16:creationId xmlns:a16="http://schemas.microsoft.com/office/drawing/2014/main" id="{0EE5AE37-7298-4491-99FF-694093EC6107}"/>
                </a:ext>
              </a:extLst>
            </p:cNvPr>
            <p:cNvSpPr txBox="1"/>
            <p:nvPr/>
          </p:nvSpPr>
          <p:spPr>
            <a:xfrm>
              <a:off x="-2763841" y="4676246"/>
              <a:ext cx="2102394" cy="85369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800"/>
                </a:spcBef>
                <a:buClr>
                  <a:schemeClr val="accent4"/>
                </a:buClr>
                <a:buSzPct val="80000"/>
              </a:pPr>
              <a:r>
                <a:rPr lang="en-GB" sz="1400" err="1">
                  <a:solidFill>
                    <a:schemeClr val="accent5">
                      <a:lumMod val="75000"/>
                    </a:schemeClr>
                  </a:solidFill>
                  <a:latin typeface="+mj-lt"/>
                  <a:cs typeface="Raavi" panose="020B0502040204020203" pitchFamily="34" charset="0"/>
                </a:rPr>
                <a:t>Mitarbeiter:innen</a:t>
              </a:r>
              <a:endParaRPr lang="en-GB" sz="1400">
                <a:solidFill>
                  <a:schemeClr val="accent5">
                    <a:lumMod val="75000"/>
                  </a:schemeClr>
                </a:solidFill>
                <a:latin typeface="+mj-lt"/>
                <a:cs typeface="Raavi" panose="020B0502040204020203" pitchFamily="34" charset="0"/>
              </a:endParaRPr>
            </a:p>
            <a:p>
              <a:pPr algn="ctr">
                <a:spcBef>
                  <a:spcPts val="800"/>
                </a:spcBef>
                <a:buClr>
                  <a:schemeClr val="accent4"/>
                </a:buClr>
                <a:buSzPct val="80000"/>
              </a:pPr>
              <a:r>
                <a:rPr lang="en-GB" sz="2400" b="1">
                  <a:solidFill>
                    <a:schemeClr val="bg2"/>
                  </a:solidFill>
                  <a:latin typeface="+mj-lt"/>
                  <a:cs typeface="Raavi" panose="020B0502040204020203" pitchFamily="34" charset="0"/>
                </a:rPr>
                <a:t>5.700</a:t>
              </a:r>
            </a:p>
          </p:txBody>
        </p:sp>
        <p:sp>
          <p:nvSpPr>
            <p:cNvPr id="515" name="TextBox 514">
              <a:extLst>
                <a:ext uri="{FF2B5EF4-FFF2-40B4-BE49-F238E27FC236}">
                  <a16:creationId xmlns:a16="http://schemas.microsoft.com/office/drawing/2014/main" id="{DC3B5820-93D9-45CC-AD0C-E4F7DD89FA89}"/>
                </a:ext>
              </a:extLst>
            </p:cNvPr>
            <p:cNvSpPr txBox="1"/>
            <p:nvPr/>
          </p:nvSpPr>
          <p:spPr>
            <a:xfrm>
              <a:off x="-2685267" y="2703326"/>
              <a:ext cx="1966589" cy="116821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800"/>
                </a:spcBef>
                <a:buClr>
                  <a:schemeClr val="accent4"/>
                </a:buClr>
                <a:buSzPct val="80000"/>
              </a:pPr>
              <a:r>
                <a:rPr lang="en-GB" sz="1400" b="1" err="1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Installierte</a:t>
              </a:r>
              <a:r>
                <a:rPr lang="en-GB" sz="1400" b="1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 </a:t>
              </a:r>
              <a:r>
                <a:rPr lang="en-GB" sz="1400" b="1" err="1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Leistung</a:t>
              </a:r>
              <a:endParaRPr lang="en-GB" sz="1400" b="1">
                <a:solidFill>
                  <a:schemeClr val="accent5">
                    <a:lumMod val="75000"/>
                  </a:schemeClr>
                </a:solidFill>
                <a:latin typeface="+mj-lt"/>
                <a:cs typeface="Arial" pitchFamily="34" charset="0"/>
              </a:endParaRPr>
            </a:p>
            <a:p>
              <a:pPr algn="ctr">
                <a:spcBef>
                  <a:spcPts val="800"/>
                </a:spcBef>
                <a:buClr>
                  <a:schemeClr val="accent4"/>
                </a:buClr>
                <a:buSzPct val="80000"/>
              </a:pPr>
              <a:r>
                <a:rPr lang="en-GB" sz="2400" b="1">
                  <a:solidFill>
                    <a:schemeClr val="bg2"/>
                  </a:solidFill>
                  <a:latin typeface="+mj-lt"/>
                  <a:cs typeface="Arial" pitchFamily="34" charset="0"/>
                </a:rPr>
                <a:t>19.105 MW</a:t>
              </a:r>
            </a:p>
            <a:p>
              <a:pPr algn="ctr">
                <a:spcBef>
                  <a:spcPts val="800"/>
                </a:spcBef>
                <a:buClr>
                  <a:schemeClr val="accent4"/>
                </a:buClr>
                <a:buSzPct val="80000"/>
              </a:pPr>
              <a:r>
                <a:rPr lang="en-GB" sz="120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60 </a:t>
              </a:r>
              <a:r>
                <a:rPr lang="en-GB" sz="1200" err="1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TWh</a:t>
              </a:r>
              <a:r>
                <a:rPr lang="en-GB" sz="120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 </a:t>
              </a:r>
              <a:r>
                <a:rPr lang="en-GB" sz="120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  <a:sym typeface="Wingdings" panose="05000000000000000000" pitchFamily="2" charset="2"/>
                </a:rPr>
                <a:t></a:t>
              </a:r>
              <a:r>
                <a:rPr lang="en-GB" sz="120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 </a:t>
              </a:r>
              <a:r>
                <a:rPr lang="en-GB" sz="1200" b="1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97%</a:t>
              </a:r>
              <a:r>
                <a:rPr lang="en-GB" sz="120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 </a:t>
              </a:r>
              <a:r>
                <a:rPr lang="en-GB" sz="1200" err="1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Erneuerbare</a:t>
              </a:r>
              <a:endParaRPr lang="en-GB" sz="1200">
                <a:solidFill>
                  <a:schemeClr val="accent5">
                    <a:lumMod val="75000"/>
                  </a:schemeClr>
                </a:solidFill>
                <a:latin typeface="+mj-lt"/>
                <a:cs typeface="Arial" pitchFamily="34" charset="0"/>
              </a:endParaRPr>
            </a:p>
          </p:txBody>
        </p:sp>
        <p:cxnSp>
          <p:nvCxnSpPr>
            <p:cNvPr id="516" name="Straight Connector 515">
              <a:extLst>
                <a:ext uri="{FF2B5EF4-FFF2-40B4-BE49-F238E27FC236}">
                  <a16:creationId xmlns:a16="http://schemas.microsoft.com/office/drawing/2014/main" id="{4B917AB7-5DCC-4A5E-9F60-78783C54A417}"/>
                </a:ext>
              </a:extLst>
            </p:cNvPr>
            <p:cNvCxnSpPr/>
            <p:nvPr/>
          </p:nvCxnSpPr>
          <p:spPr>
            <a:xfrm>
              <a:off x="-2159918" y="4331746"/>
              <a:ext cx="876300" cy="0"/>
            </a:xfrm>
            <a:prstGeom prst="line">
              <a:avLst/>
            </a:prstGeom>
            <a:grpFill/>
            <a:ln w="19050" cap="rnd">
              <a:solidFill>
                <a:schemeClr val="accent5"/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115D92A1-89C6-519C-3AF5-F31E29B5A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236" y="577216"/>
            <a:ext cx="10535861" cy="907097"/>
          </a:xfrm>
        </p:spPr>
        <p:txBody>
          <a:bodyPr/>
          <a:lstStyle/>
          <a:p>
            <a:r>
              <a:rPr lang="en-GB" dirty="0"/>
              <a:t>Statkraft </a:t>
            </a:r>
            <a:r>
              <a:rPr lang="en-GB"/>
              <a:t>– weltweit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7553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FD6F9C6-7ADA-4B0C-AE91-E543B5AF89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FD6F9C6-7ADA-4B0C-AE91-E543B5AF8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C9CB5A-54E6-4EEE-B966-AC2744E36C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236" y="363715"/>
            <a:ext cx="10535861" cy="907097"/>
          </a:xfrm>
        </p:spPr>
        <p:txBody>
          <a:bodyPr vert="horz"/>
          <a:lstStyle/>
          <a:p>
            <a:r>
              <a:rPr lang="de-DE" sz="2800" dirty="0"/>
              <a:t>Zielbild 2030 </a:t>
            </a:r>
            <a:r>
              <a:rPr lang="de-DE" sz="2800"/>
              <a:t>– international </a:t>
            </a:r>
            <a:r>
              <a:rPr lang="de-DE" sz="2800" dirty="0"/>
              <a:t>führendes Unternehmen für erneuerbare Energien</a:t>
            </a:r>
            <a:endParaRPr lang="en-U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17CE6E-C47C-40C1-B998-233EC9E26B4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6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54FDB26-0B2B-4E9B-9B87-EFA896DED71D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372600" y="1863669"/>
            <a:ext cx="2600325" cy="130016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7A2F76F-B543-4678-BB8C-70A6F88B155F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033838" y="1863669"/>
            <a:ext cx="2600325" cy="130016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495BBBD-F966-4C8B-BEB2-E277EBC27BA2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033838" y="4189982"/>
            <a:ext cx="2600325" cy="130016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6738A0-7118-4943-8021-3EB60C7BA898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372600" y="4189982"/>
            <a:ext cx="2600325" cy="1300163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AD4530E-4F4E-4F36-8A2B-C24A63B38740}"/>
              </a:ext>
            </a:extLst>
          </p:cNvPr>
          <p:cNvCxnSpPr>
            <a:cxnSpLocks/>
          </p:cNvCxnSpPr>
          <p:nvPr/>
        </p:nvCxnSpPr>
        <p:spPr>
          <a:xfrm>
            <a:off x="829236" y="4036983"/>
            <a:ext cx="10535861" cy="0"/>
          </a:xfrm>
          <a:prstGeom prst="line">
            <a:avLst/>
          </a:prstGeom>
          <a:ln w="15875" cap="rnd" cmpd="sng">
            <a:solidFill>
              <a:schemeClr val="accent5">
                <a:lumMod val="20000"/>
                <a:lumOff val="80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Rectangle 21">
            <a:extLst>
              <a:ext uri="{FF2B5EF4-FFF2-40B4-BE49-F238E27FC236}">
                <a16:creationId xmlns:a16="http://schemas.microsoft.com/office/drawing/2014/main" id="{62802E3C-9851-4499-9DB4-4FD5B00F7756}"/>
              </a:ext>
            </a:extLst>
          </p:cNvPr>
          <p:cNvSpPr/>
          <p:nvPr/>
        </p:nvSpPr>
        <p:spPr>
          <a:xfrm>
            <a:off x="829236" y="1863669"/>
            <a:ext cx="3806560" cy="202031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  <a:buSzPct val="120000"/>
            </a:pPr>
            <a:r>
              <a:rPr lang="de-DE" sz="1600" b="1">
                <a:solidFill>
                  <a:schemeClr val="bg2"/>
                </a:solidFill>
              </a:rPr>
              <a:t>Saubere Flexibilität bieten – Wasserkraft nutzen</a:t>
            </a:r>
          </a:p>
          <a:p>
            <a:pPr>
              <a:spcBef>
                <a:spcPts val="600"/>
              </a:spcBef>
              <a:buClr>
                <a:schemeClr val="accent1"/>
              </a:buClr>
              <a:buSzPct val="120000"/>
            </a:pPr>
            <a:r>
              <a:rPr lang="de-DE" sz="1200" b="1">
                <a:solidFill>
                  <a:schemeClr val="accent5"/>
                </a:solidFill>
              </a:rPr>
              <a:t>Größtes Wasserkraftunternehmen </a:t>
            </a:r>
            <a:r>
              <a:rPr lang="de-DE" sz="1200">
                <a:solidFill>
                  <a:schemeClr val="accent5"/>
                </a:solidFill>
              </a:rPr>
              <a:t>in Europa und ein </a:t>
            </a:r>
            <a:r>
              <a:rPr lang="de-DE" sz="1200" b="1">
                <a:solidFill>
                  <a:schemeClr val="accent5"/>
                </a:solidFill>
              </a:rPr>
              <a:t>bedeutender Akteur </a:t>
            </a:r>
            <a:r>
              <a:rPr lang="de-DE" sz="1200">
                <a:solidFill>
                  <a:schemeClr val="accent5"/>
                </a:solidFill>
              </a:rPr>
              <a:t>in Südamerika und Indien - Investitionen in mindestens 5 größere Projekte in Norwegen bis 2030</a:t>
            </a:r>
            <a:endParaRPr lang="en-US" sz="1200">
              <a:solidFill>
                <a:schemeClr val="accent5"/>
              </a:solidFill>
            </a:endParaRPr>
          </a:p>
        </p:txBody>
      </p:sp>
      <p:sp>
        <p:nvSpPr>
          <p:cNvPr id="24" name="Rectangle 21">
            <a:extLst>
              <a:ext uri="{FF2B5EF4-FFF2-40B4-BE49-F238E27FC236}">
                <a16:creationId xmlns:a16="http://schemas.microsoft.com/office/drawing/2014/main" id="{64CA8F9D-A736-48B8-AEF5-E4B4275900E1}"/>
              </a:ext>
            </a:extLst>
          </p:cNvPr>
          <p:cNvSpPr/>
          <p:nvPr/>
        </p:nvSpPr>
        <p:spPr>
          <a:xfrm>
            <a:off x="829236" y="4189982"/>
            <a:ext cx="3806560" cy="202031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  <a:buSzPct val="120000"/>
            </a:pPr>
            <a:r>
              <a:rPr lang="de-DE" sz="1600" b="1">
                <a:solidFill>
                  <a:schemeClr val="bg2"/>
                </a:solidFill>
              </a:rPr>
              <a:t>Grüne Energielösungen für </a:t>
            </a:r>
            <a:r>
              <a:rPr lang="de-DE" sz="1600" b="1" err="1">
                <a:solidFill>
                  <a:schemeClr val="bg2"/>
                </a:solidFill>
              </a:rPr>
              <a:t>Kund:innen</a:t>
            </a:r>
            <a:endParaRPr lang="de-DE" sz="1600" b="1">
              <a:solidFill>
                <a:schemeClr val="bg2"/>
              </a:solidFill>
            </a:endParaRPr>
          </a:p>
          <a:p>
            <a:pPr>
              <a:spcBef>
                <a:spcPts val="600"/>
              </a:spcBef>
              <a:buClr>
                <a:schemeClr val="accent1"/>
              </a:buClr>
              <a:buSzPct val="120000"/>
            </a:pPr>
            <a:r>
              <a:rPr lang="en-US" sz="1200" b="1" err="1">
                <a:solidFill>
                  <a:schemeClr val="accent5"/>
                </a:solidFill>
              </a:rPr>
              <a:t>Führender</a:t>
            </a:r>
            <a:r>
              <a:rPr lang="en-US" sz="1200" b="1">
                <a:solidFill>
                  <a:schemeClr val="accent5"/>
                </a:solidFill>
              </a:rPr>
              <a:t> </a:t>
            </a:r>
            <a:r>
              <a:rPr lang="en-US" sz="1200" b="1" err="1">
                <a:solidFill>
                  <a:schemeClr val="accent5"/>
                </a:solidFill>
              </a:rPr>
              <a:t>Anbieter</a:t>
            </a:r>
            <a:r>
              <a:rPr lang="en-US" sz="1200" b="1">
                <a:solidFill>
                  <a:schemeClr val="accent5"/>
                </a:solidFill>
              </a:rPr>
              <a:t> von </a:t>
            </a:r>
            <a:r>
              <a:rPr lang="en-US" sz="1200" b="1" err="1">
                <a:solidFill>
                  <a:schemeClr val="accent5"/>
                </a:solidFill>
              </a:rPr>
              <a:t>Marktlösungen</a:t>
            </a:r>
            <a:r>
              <a:rPr lang="en-US" sz="1200" b="1">
                <a:solidFill>
                  <a:schemeClr val="accent5"/>
                </a:solidFill>
              </a:rPr>
              <a:t> </a:t>
            </a:r>
            <a:r>
              <a:rPr lang="en-US" sz="1200">
                <a:solidFill>
                  <a:schemeClr val="accent5"/>
                </a:solidFill>
              </a:rPr>
              <a:t>in Europa </a:t>
            </a:r>
            <a:r>
              <a:rPr lang="en-US" sz="1200" err="1">
                <a:solidFill>
                  <a:schemeClr val="accent5"/>
                </a:solidFill>
              </a:rPr>
              <a:t>mit</a:t>
            </a:r>
            <a:r>
              <a:rPr lang="en-US" sz="1200">
                <a:solidFill>
                  <a:schemeClr val="accent5"/>
                </a:solidFill>
              </a:rPr>
              <a:t> </a:t>
            </a:r>
            <a:r>
              <a:rPr lang="en-US" sz="1200" err="1">
                <a:solidFill>
                  <a:schemeClr val="accent5"/>
                </a:solidFill>
              </a:rPr>
              <a:t>einer</a:t>
            </a:r>
            <a:r>
              <a:rPr lang="en-US" sz="1200">
                <a:solidFill>
                  <a:schemeClr val="accent5"/>
                </a:solidFill>
              </a:rPr>
              <a:t> </a:t>
            </a:r>
            <a:r>
              <a:rPr lang="en-US" sz="1200" err="1">
                <a:solidFill>
                  <a:schemeClr val="accent5"/>
                </a:solidFill>
              </a:rPr>
              <a:t>bedeutenden</a:t>
            </a:r>
            <a:r>
              <a:rPr lang="en-US" sz="1200">
                <a:solidFill>
                  <a:schemeClr val="accent5"/>
                </a:solidFill>
              </a:rPr>
              <a:t> </a:t>
            </a:r>
            <a:r>
              <a:rPr lang="en-US" sz="1200" err="1">
                <a:solidFill>
                  <a:schemeClr val="accent5"/>
                </a:solidFill>
              </a:rPr>
              <a:t>globalen</a:t>
            </a:r>
            <a:r>
              <a:rPr lang="en-US" sz="1200">
                <a:solidFill>
                  <a:schemeClr val="accent5"/>
                </a:solidFill>
              </a:rPr>
              <a:t> </a:t>
            </a:r>
            <a:r>
              <a:rPr lang="en-US" sz="1200" err="1">
                <a:solidFill>
                  <a:schemeClr val="accent5"/>
                </a:solidFill>
              </a:rPr>
              <a:t>Reichweite</a:t>
            </a:r>
            <a:endParaRPr lang="en-US" sz="1200">
              <a:solidFill>
                <a:schemeClr val="accent5"/>
              </a:solidFill>
            </a:endParaRPr>
          </a:p>
        </p:txBody>
      </p:sp>
      <p:sp>
        <p:nvSpPr>
          <p:cNvPr id="25" name="Rectangle 21">
            <a:extLst>
              <a:ext uri="{FF2B5EF4-FFF2-40B4-BE49-F238E27FC236}">
                <a16:creationId xmlns:a16="http://schemas.microsoft.com/office/drawing/2014/main" id="{859CFC51-30AA-4180-AD9D-D6AD9D94113E}"/>
              </a:ext>
            </a:extLst>
          </p:cNvPr>
          <p:cNvSpPr/>
          <p:nvPr/>
        </p:nvSpPr>
        <p:spPr>
          <a:xfrm>
            <a:off x="6134383" y="4189982"/>
            <a:ext cx="3807060" cy="202031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  <a:buClr>
                <a:schemeClr val="accent1"/>
              </a:buClr>
              <a:buSzPct val="120000"/>
            </a:pPr>
            <a:r>
              <a:rPr lang="en-US" sz="1600" b="1" err="1">
                <a:solidFill>
                  <a:schemeClr val="bg2"/>
                </a:solidFill>
              </a:rPr>
              <a:t>Ausbau</a:t>
            </a:r>
            <a:r>
              <a:rPr lang="en-US" sz="1600" b="1">
                <a:solidFill>
                  <a:schemeClr val="bg2"/>
                </a:solidFill>
              </a:rPr>
              <a:t> </a:t>
            </a:r>
            <a:r>
              <a:rPr lang="en-US" sz="1600" b="1" err="1">
                <a:solidFill>
                  <a:schemeClr val="bg2"/>
                </a:solidFill>
              </a:rPr>
              <a:t>neuer</a:t>
            </a:r>
            <a:r>
              <a:rPr lang="en-US" sz="1600" b="1">
                <a:solidFill>
                  <a:schemeClr val="bg2"/>
                </a:solidFill>
              </a:rPr>
              <a:t>, </a:t>
            </a:r>
            <a:r>
              <a:rPr lang="en-US" sz="1600" b="1" err="1">
                <a:solidFill>
                  <a:schemeClr val="bg2"/>
                </a:solidFill>
              </a:rPr>
              <a:t>grüner</a:t>
            </a:r>
            <a:r>
              <a:rPr lang="en-US" sz="1600" b="1">
                <a:solidFill>
                  <a:schemeClr val="bg2"/>
                </a:solidFill>
              </a:rPr>
              <a:t> </a:t>
            </a:r>
            <a:r>
              <a:rPr lang="en-US" sz="1600" b="1" err="1">
                <a:solidFill>
                  <a:schemeClr val="bg2"/>
                </a:solidFill>
              </a:rPr>
              <a:t>Energietechnologien</a:t>
            </a:r>
            <a:r>
              <a:rPr lang="en-US" sz="1600" b="1">
                <a:solidFill>
                  <a:schemeClr val="bg2"/>
                </a:solidFill>
              </a:rPr>
              <a:t>​</a:t>
            </a:r>
          </a:p>
          <a:p>
            <a:pPr>
              <a:spcBef>
                <a:spcPts val="800"/>
              </a:spcBef>
              <a:buClr>
                <a:schemeClr val="accent1"/>
              </a:buClr>
              <a:buSzPct val="120000"/>
            </a:pPr>
            <a:r>
              <a:rPr lang="en-US" sz="1200" err="1">
                <a:solidFill>
                  <a:schemeClr val="accent5"/>
                </a:solidFill>
              </a:rPr>
              <a:t>Führender</a:t>
            </a:r>
            <a:r>
              <a:rPr lang="en-US" sz="1200">
                <a:solidFill>
                  <a:schemeClr val="accent5"/>
                </a:solidFill>
              </a:rPr>
              <a:t> </a:t>
            </a:r>
            <a:r>
              <a:rPr lang="en-US" sz="1200" err="1">
                <a:solidFill>
                  <a:schemeClr val="accent5"/>
                </a:solidFill>
              </a:rPr>
              <a:t>Entwickler</a:t>
            </a:r>
            <a:r>
              <a:rPr lang="en-US" sz="1200">
                <a:solidFill>
                  <a:schemeClr val="accent5"/>
                </a:solidFill>
              </a:rPr>
              <a:t> von </a:t>
            </a:r>
            <a:r>
              <a:rPr lang="en-US" sz="1200" b="1" err="1">
                <a:solidFill>
                  <a:schemeClr val="accent5"/>
                </a:solidFill>
              </a:rPr>
              <a:t>grünem</a:t>
            </a:r>
            <a:r>
              <a:rPr lang="en-US" sz="1200" b="1">
                <a:solidFill>
                  <a:schemeClr val="accent5"/>
                </a:solidFill>
              </a:rPr>
              <a:t> </a:t>
            </a:r>
            <a:r>
              <a:rPr lang="en-US" sz="1200" b="1" err="1">
                <a:solidFill>
                  <a:schemeClr val="accent5"/>
                </a:solidFill>
              </a:rPr>
              <a:t>Wasserstoff</a:t>
            </a:r>
            <a:r>
              <a:rPr lang="en-US" sz="1200" b="1">
                <a:solidFill>
                  <a:schemeClr val="accent5"/>
                </a:solidFill>
              </a:rPr>
              <a:t>, </a:t>
            </a:r>
            <a:r>
              <a:rPr lang="en-US" sz="1200" b="1" err="1">
                <a:solidFill>
                  <a:schemeClr val="accent5"/>
                </a:solidFill>
              </a:rPr>
              <a:t>Biokraftstoff</a:t>
            </a:r>
            <a:r>
              <a:rPr lang="en-US" sz="1200" b="1">
                <a:solidFill>
                  <a:schemeClr val="accent5"/>
                </a:solidFill>
              </a:rPr>
              <a:t>, EV-</a:t>
            </a:r>
            <a:r>
              <a:rPr lang="en-US" sz="1200" b="1" err="1">
                <a:solidFill>
                  <a:schemeClr val="accent5"/>
                </a:solidFill>
              </a:rPr>
              <a:t>Ladetechnik</a:t>
            </a:r>
            <a:r>
              <a:rPr lang="en-US" sz="1200" b="1">
                <a:solidFill>
                  <a:schemeClr val="accent5"/>
                </a:solidFill>
              </a:rPr>
              <a:t> </a:t>
            </a:r>
            <a:r>
              <a:rPr lang="en-US" sz="1200">
                <a:solidFill>
                  <a:schemeClr val="accent5"/>
                </a:solidFill>
              </a:rPr>
              <a:t>und </a:t>
            </a:r>
            <a:r>
              <a:rPr lang="en-US" sz="1200" err="1">
                <a:solidFill>
                  <a:schemeClr val="accent5"/>
                </a:solidFill>
              </a:rPr>
              <a:t>anderen</a:t>
            </a:r>
            <a:r>
              <a:rPr lang="en-US" sz="1200">
                <a:solidFill>
                  <a:schemeClr val="accent5"/>
                </a:solidFill>
              </a:rPr>
              <a:t> </a:t>
            </a:r>
            <a:r>
              <a:rPr lang="en-US" sz="1200" err="1">
                <a:solidFill>
                  <a:schemeClr val="accent5"/>
                </a:solidFill>
              </a:rPr>
              <a:t>grünen</a:t>
            </a:r>
            <a:r>
              <a:rPr lang="en-US" sz="1200">
                <a:solidFill>
                  <a:schemeClr val="accent5"/>
                </a:solidFill>
              </a:rPr>
              <a:t> </a:t>
            </a:r>
            <a:r>
              <a:rPr lang="en-US" sz="1200" err="1">
                <a:solidFill>
                  <a:schemeClr val="accent5"/>
                </a:solidFill>
              </a:rPr>
              <a:t>Technologien</a:t>
            </a:r>
            <a:r>
              <a:rPr lang="en-US" sz="1200">
                <a:solidFill>
                  <a:schemeClr val="accent5"/>
                </a:solidFill>
              </a:rPr>
              <a:t> </a:t>
            </a:r>
            <a:r>
              <a:rPr lang="en-GB" sz="1200">
                <a:solidFill>
                  <a:schemeClr val="accent5"/>
                </a:solidFill>
              </a:rPr>
              <a:t>– </a:t>
            </a:r>
            <a:r>
              <a:rPr lang="en-GB" sz="1200" err="1">
                <a:solidFill>
                  <a:schemeClr val="accent5"/>
                </a:solidFill>
              </a:rPr>
              <a:t>Entwicklung</a:t>
            </a:r>
            <a:r>
              <a:rPr lang="en-GB" sz="1200">
                <a:solidFill>
                  <a:schemeClr val="accent5"/>
                </a:solidFill>
              </a:rPr>
              <a:t> von 2 GW </a:t>
            </a:r>
            <a:r>
              <a:rPr lang="en-GB" sz="1200" err="1">
                <a:solidFill>
                  <a:schemeClr val="accent5"/>
                </a:solidFill>
              </a:rPr>
              <a:t>grünem</a:t>
            </a:r>
            <a:r>
              <a:rPr lang="en-GB" sz="1200">
                <a:solidFill>
                  <a:schemeClr val="accent5"/>
                </a:solidFill>
              </a:rPr>
              <a:t> </a:t>
            </a:r>
            <a:r>
              <a:rPr lang="en-GB" sz="1200" err="1">
                <a:solidFill>
                  <a:schemeClr val="accent5"/>
                </a:solidFill>
              </a:rPr>
              <a:t>Wasserstoff</a:t>
            </a:r>
            <a:r>
              <a:rPr lang="en-GB" sz="1200">
                <a:solidFill>
                  <a:schemeClr val="accent5"/>
                </a:solidFill>
              </a:rPr>
              <a:t> bis 2030</a:t>
            </a:r>
            <a:endParaRPr lang="en-US" sz="1200">
              <a:solidFill>
                <a:schemeClr val="accent5"/>
              </a:solidFill>
            </a:endParaRPr>
          </a:p>
          <a:p>
            <a:pPr>
              <a:spcBef>
                <a:spcPts val="800"/>
              </a:spcBef>
              <a:buClr>
                <a:schemeClr val="accent1"/>
              </a:buClr>
              <a:buSzPct val="120000"/>
            </a:pPr>
            <a:r>
              <a:rPr lang="en-US" sz="1200" b="1">
                <a:solidFill>
                  <a:schemeClr val="accent5"/>
                </a:solidFill>
              </a:rPr>
              <a:t>Top 3 der </a:t>
            </a:r>
            <a:r>
              <a:rPr lang="en-US" sz="1200" b="1" err="1">
                <a:solidFill>
                  <a:schemeClr val="accent5"/>
                </a:solidFill>
              </a:rPr>
              <a:t>kundenfreundlichen</a:t>
            </a:r>
            <a:r>
              <a:rPr lang="en-US" sz="1200" b="1">
                <a:solidFill>
                  <a:schemeClr val="accent5"/>
                </a:solidFill>
              </a:rPr>
              <a:t> und </a:t>
            </a:r>
            <a:r>
              <a:rPr lang="en-US" sz="1200" b="1" err="1">
                <a:solidFill>
                  <a:schemeClr val="accent5"/>
                </a:solidFill>
              </a:rPr>
              <a:t>profitablen</a:t>
            </a:r>
            <a:r>
              <a:rPr lang="en-US" sz="1200" b="1">
                <a:solidFill>
                  <a:schemeClr val="accent5"/>
                </a:solidFill>
              </a:rPr>
              <a:t> </a:t>
            </a:r>
            <a:r>
              <a:rPr lang="en-US" sz="1200" b="1" err="1">
                <a:solidFill>
                  <a:schemeClr val="accent5"/>
                </a:solidFill>
              </a:rPr>
              <a:t>Fernwärmeanbietern</a:t>
            </a:r>
            <a:r>
              <a:rPr lang="en-US" sz="1200" b="1">
                <a:solidFill>
                  <a:schemeClr val="accent5"/>
                </a:solidFill>
              </a:rPr>
              <a:t> </a:t>
            </a:r>
            <a:r>
              <a:rPr lang="en-US" sz="1200">
                <a:solidFill>
                  <a:schemeClr val="accent5"/>
                </a:solidFill>
              </a:rPr>
              <a:t>in </a:t>
            </a:r>
            <a:r>
              <a:rPr lang="en-US" sz="1200" err="1">
                <a:solidFill>
                  <a:schemeClr val="accent5"/>
                </a:solidFill>
              </a:rPr>
              <a:t>Norwegen</a:t>
            </a:r>
            <a:r>
              <a:rPr lang="en-US" sz="1200">
                <a:solidFill>
                  <a:schemeClr val="accent5"/>
                </a:solidFill>
              </a:rPr>
              <a:t> und </a:t>
            </a:r>
            <a:r>
              <a:rPr lang="en-US" sz="1200" err="1">
                <a:solidFill>
                  <a:schemeClr val="accent5"/>
                </a:solidFill>
              </a:rPr>
              <a:t>Schweden</a:t>
            </a:r>
            <a:endParaRPr lang="en-US" sz="1200">
              <a:solidFill>
                <a:schemeClr val="accent5"/>
              </a:solidFill>
            </a:endParaRPr>
          </a:p>
        </p:txBody>
      </p:sp>
      <p:sp>
        <p:nvSpPr>
          <p:cNvPr id="26" name="Rectangle 21">
            <a:extLst>
              <a:ext uri="{FF2B5EF4-FFF2-40B4-BE49-F238E27FC236}">
                <a16:creationId xmlns:a16="http://schemas.microsoft.com/office/drawing/2014/main" id="{4870EED6-B977-478B-A3B5-6CBE2834D95E}"/>
              </a:ext>
            </a:extLst>
          </p:cNvPr>
          <p:cNvSpPr/>
          <p:nvPr/>
        </p:nvSpPr>
        <p:spPr>
          <a:xfrm>
            <a:off x="6134383" y="1863669"/>
            <a:ext cx="3807060" cy="202031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  <a:buClr>
                <a:schemeClr val="accent1"/>
              </a:buClr>
              <a:buSzPct val="120000"/>
            </a:pPr>
            <a:r>
              <a:rPr lang="de-DE" sz="1600" b="1">
                <a:solidFill>
                  <a:schemeClr val="bg2"/>
                </a:solidFill>
              </a:rPr>
              <a:t>Ausbau Solar-, Onshore-/ Offshore-Windenergie &amp; Batteriespeicher</a:t>
            </a:r>
          </a:p>
          <a:p>
            <a:pPr>
              <a:spcBef>
                <a:spcPts val="800"/>
              </a:spcBef>
              <a:buClr>
                <a:schemeClr val="accent1"/>
              </a:buClr>
              <a:buSzPct val="120000"/>
            </a:pPr>
            <a:r>
              <a:rPr lang="en-US" sz="1200" b="1" err="1">
                <a:solidFill>
                  <a:schemeClr val="accent5"/>
                </a:solidFill>
              </a:rPr>
              <a:t>Großer</a:t>
            </a:r>
            <a:r>
              <a:rPr lang="en-US" sz="1200" b="1">
                <a:solidFill>
                  <a:schemeClr val="accent5"/>
                </a:solidFill>
              </a:rPr>
              <a:t> </a:t>
            </a:r>
            <a:r>
              <a:rPr lang="en-US" sz="1200" b="1" err="1">
                <a:solidFill>
                  <a:schemeClr val="accent5"/>
                </a:solidFill>
              </a:rPr>
              <a:t>Entwickler</a:t>
            </a:r>
            <a:r>
              <a:rPr lang="en-US" sz="1200" b="1">
                <a:solidFill>
                  <a:schemeClr val="accent5"/>
                </a:solidFill>
              </a:rPr>
              <a:t> von Solar-, Onshore-</a:t>
            </a:r>
            <a:r>
              <a:rPr lang="en-US" sz="1200" b="1" err="1">
                <a:solidFill>
                  <a:schemeClr val="accent5"/>
                </a:solidFill>
              </a:rPr>
              <a:t>Windenergieanlagen</a:t>
            </a:r>
            <a:r>
              <a:rPr lang="en-US" sz="1200" b="1">
                <a:solidFill>
                  <a:schemeClr val="accent5"/>
                </a:solidFill>
              </a:rPr>
              <a:t> und </a:t>
            </a:r>
            <a:r>
              <a:rPr lang="en-US" sz="1200" b="1" err="1">
                <a:solidFill>
                  <a:schemeClr val="accent5"/>
                </a:solidFill>
              </a:rPr>
              <a:t>Batteriespeichern</a:t>
            </a:r>
            <a:r>
              <a:rPr lang="en-US" sz="1200" b="1">
                <a:solidFill>
                  <a:schemeClr val="accent5"/>
                </a:solidFill>
              </a:rPr>
              <a:t> </a:t>
            </a:r>
            <a:r>
              <a:rPr lang="en-US" sz="1200" err="1">
                <a:solidFill>
                  <a:schemeClr val="accent5"/>
                </a:solidFill>
              </a:rPr>
              <a:t>mit</a:t>
            </a:r>
            <a:r>
              <a:rPr lang="en-US" sz="1200">
                <a:solidFill>
                  <a:schemeClr val="accent5"/>
                </a:solidFill>
              </a:rPr>
              <a:t> </a:t>
            </a:r>
            <a:r>
              <a:rPr lang="en-US" sz="1200" err="1">
                <a:solidFill>
                  <a:schemeClr val="accent5"/>
                </a:solidFill>
              </a:rPr>
              <a:t>einer</a:t>
            </a:r>
            <a:r>
              <a:rPr lang="en-US" sz="1200">
                <a:solidFill>
                  <a:schemeClr val="accent5"/>
                </a:solidFill>
              </a:rPr>
              <a:t> </a:t>
            </a:r>
            <a:r>
              <a:rPr lang="en-US" sz="1200" err="1">
                <a:solidFill>
                  <a:schemeClr val="accent5"/>
                </a:solidFill>
              </a:rPr>
              <a:t>jährlichen</a:t>
            </a:r>
            <a:r>
              <a:rPr lang="en-US" sz="1200">
                <a:solidFill>
                  <a:schemeClr val="accent5"/>
                </a:solidFill>
              </a:rPr>
              <a:t> </a:t>
            </a:r>
            <a:r>
              <a:rPr lang="en-US" sz="1200" err="1">
                <a:solidFill>
                  <a:schemeClr val="accent5"/>
                </a:solidFill>
              </a:rPr>
              <a:t>Lieferrate</a:t>
            </a:r>
            <a:r>
              <a:rPr lang="en-US" sz="1200">
                <a:solidFill>
                  <a:schemeClr val="accent5"/>
                </a:solidFill>
              </a:rPr>
              <a:t> von 2,5-3 GW </a:t>
            </a:r>
            <a:r>
              <a:rPr lang="en-US" sz="1200" err="1">
                <a:solidFill>
                  <a:schemeClr val="accent5"/>
                </a:solidFill>
              </a:rPr>
              <a:t>im</a:t>
            </a:r>
            <a:r>
              <a:rPr lang="en-US" sz="1200">
                <a:solidFill>
                  <a:schemeClr val="accent5"/>
                </a:solidFill>
              </a:rPr>
              <a:t> </a:t>
            </a:r>
            <a:r>
              <a:rPr lang="en-US" sz="1200" err="1">
                <a:solidFill>
                  <a:schemeClr val="accent5"/>
                </a:solidFill>
              </a:rPr>
              <a:t>Jahr</a:t>
            </a:r>
            <a:r>
              <a:rPr lang="en-US" sz="1200">
                <a:solidFill>
                  <a:schemeClr val="accent5"/>
                </a:solidFill>
              </a:rPr>
              <a:t> 2025 und 4 GW bis 2030</a:t>
            </a:r>
          </a:p>
          <a:p>
            <a:pPr>
              <a:spcBef>
                <a:spcPts val="800"/>
              </a:spcBef>
              <a:buClr>
                <a:schemeClr val="accent1"/>
              </a:buClr>
              <a:buSzPct val="120000"/>
            </a:pPr>
            <a:r>
              <a:rPr lang="en-US" sz="1200" b="1" err="1">
                <a:solidFill>
                  <a:schemeClr val="accent5"/>
                </a:solidFill>
              </a:rPr>
              <a:t>Industrieller</a:t>
            </a:r>
            <a:r>
              <a:rPr lang="en-US" sz="1200" b="1">
                <a:solidFill>
                  <a:schemeClr val="accent5"/>
                </a:solidFill>
              </a:rPr>
              <a:t> </a:t>
            </a:r>
            <a:r>
              <a:rPr lang="en-US" sz="1200" b="1" err="1">
                <a:solidFill>
                  <a:schemeClr val="accent5"/>
                </a:solidFill>
              </a:rPr>
              <a:t>Akteur</a:t>
            </a:r>
            <a:r>
              <a:rPr lang="en-US" sz="1200" b="1">
                <a:solidFill>
                  <a:schemeClr val="accent5"/>
                </a:solidFill>
              </a:rPr>
              <a:t> </a:t>
            </a:r>
            <a:r>
              <a:rPr lang="en-US" sz="1200" b="1" err="1">
                <a:solidFill>
                  <a:schemeClr val="accent5"/>
                </a:solidFill>
              </a:rPr>
              <a:t>im</a:t>
            </a:r>
            <a:r>
              <a:rPr lang="en-US" sz="1200" b="1">
                <a:solidFill>
                  <a:schemeClr val="accent5"/>
                </a:solidFill>
              </a:rPr>
              <a:t> </a:t>
            </a:r>
            <a:r>
              <a:rPr lang="en-US" sz="1200" b="1" err="1">
                <a:solidFill>
                  <a:schemeClr val="accent5"/>
                </a:solidFill>
              </a:rPr>
              <a:t>Bereich</a:t>
            </a:r>
            <a:r>
              <a:rPr lang="en-US" sz="1200" b="1">
                <a:solidFill>
                  <a:schemeClr val="accent5"/>
                </a:solidFill>
              </a:rPr>
              <a:t> Offshore-Wind </a:t>
            </a:r>
            <a:r>
              <a:rPr lang="en-US" sz="1200">
                <a:solidFill>
                  <a:schemeClr val="accent5"/>
                </a:solidFill>
              </a:rPr>
              <a:t>in der </a:t>
            </a:r>
            <a:r>
              <a:rPr lang="en-US" sz="1200" err="1">
                <a:solidFill>
                  <a:schemeClr val="accent5"/>
                </a:solidFill>
              </a:rPr>
              <a:t>Nordsee</a:t>
            </a:r>
            <a:r>
              <a:rPr lang="en-US" sz="1200">
                <a:solidFill>
                  <a:schemeClr val="accent5"/>
                </a:solidFill>
              </a:rPr>
              <a:t> und in </a:t>
            </a:r>
            <a:r>
              <a:rPr lang="en-US" sz="1200" err="1">
                <a:solidFill>
                  <a:schemeClr val="accent5"/>
                </a:solidFill>
              </a:rPr>
              <a:t>Irland</a:t>
            </a:r>
            <a:endParaRPr lang="en-US" sz="1200">
              <a:solidFill>
                <a:schemeClr val="accent5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653D580-9719-4934-90C6-8CB0B2C37493}"/>
              </a:ext>
            </a:extLst>
          </p:cNvPr>
          <p:cNvGrpSpPr/>
          <p:nvPr/>
        </p:nvGrpSpPr>
        <p:grpSpPr>
          <a:xfrm>
            <a:off x="6006399" y="1863669"/>
            <a:ext cx="179203" cy="4346629"/>
            <a:chOff x="6006398" y="1863669"/>
            <a:chExt cx="179203" cy="4346629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E48F726-DE18-42D4-B1BC-B829385C6222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1863669"/>
              <a:ext cx="0" cy="4346629"/>
            </a:xfrm>
            <a:prstGeom prst="line">
              <a:avLst/>
            </a:prstGeom>
            <a:ln w="15875" cap="rnd" cmpd="sng">
              <a:solidFill>
                <a:schemeClr val="accent5">
                  <a:lumMod val="20000"/>
                  <a:lumOff val="80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C7109F0-537B-45A8-9ABE-C5D96CA83AFF}"/>
                </a:ext>
              </a:extLst>
            </p:cNvPr>
            <p:cNvSpPr/>
            <p:nvPr/>
          </p:nvSpPr>
          <p:spPr>
            <a:xfrm>
              <a:off x="6006398" y="3946983"/>
              <a:ext cx="179203" cy="18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accent1"/>
                </a:buClr>
                <a:buSzPct val="120000"/>
              </a:pPr>
              <a:endParaRPr lang="en-US" sz="1600">
                <a:solidFill>
                  <a:schemeClr val="accent6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8E87E314-BECE-4609-860F-BC05C96D8B47}"/>
              </a:ext>
            </a:extLst>
          </p:cNvPr>
          <p:cNvSpPr txBox="1"/>
          <p:nvPr/>
        </p:nvSpPr>
        <p:spPr>
          <a:xfrm>
            <a:off x="743954" y="5711722"/>
            <a:ext cx="4795560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de-DE" sz="1200" b="1">
                <a:solidFill>
                  <a:schemeClr val="tx2"/>
                </a:solidFill>
              </a:rPr>
              <a:t>  Nachhaltiger</a:t>
            </a:r>
            <a:r>
              <a:rPr lang="de-DE" sz="1200" b="1" dirty="0">
                <a:solidFill>
                  <a:schemeClr val="tx2"/>
                </a:solidFill>
              </a:rPr>
              <a:t>, ethischer und sicherer Betrieb</a:t>
            </a:r>
            <a:endParaRPr lang="en-GB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72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A3FF2E-635E-409E-87A8-B2A4B71A0A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DA3FF2E-635E-409E-87A8-B2A4B71A0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A35B5D0-A0F4-4FED-A5EE-73DA737F15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GB" sz="3200" b="1">
              <a:solidFill>
                <a:schemeClr val="accent5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06E5D2-F023-4545-BE1C-CADF2FBB02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29236" y="6060006"/>
            <a:ext cx="452320" cy="365125"/>
          </a:xfrm>
        </p:spPr>
        <p:txBody>
          <a:bodyPr/>
          <a:lstStyle/>
          <a:p>
            <a:fld id="{5B2ACB19-C0E1-7345-B8BA-15A723BE30E5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58C30D6-5723-43BF-BF35-445B7959D433}"/>
              </a:ext>
            </a:extLst>
          </p:cNvPr>
          <p:cNvSpPr/>
          <p:nvPr/>
        </p:nvSpPr>
        <p:spPr>
          <a:xfrm>
            <a:off x="6413" y="1229392"/>
            <a:ext cx="3048000" cy="1793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200"/>
              </a:spcBef>
              <a:buClr>
                <a:srgbClr val="00B0DC"/>
              </a:buClr>
              <a:buSzPct val="120000"/>
            </a:pPr>
            <a:r>
              <a:rPr lang="en-GB" sz="1800" kern="0" err="1">
                <a:solidFill>
                  <a:schemeClr val="bg1"/>
                </a:solidFill>
                <a:cs typeface="Arial"/>
              </a:rPr>
              <a:t>Seit</a:t>
            </a:r>
            <a:r>
              <a:rPr lang="en-GB" sz="1800" kern="0">
                <a:solidFill>
                  <a:schemeClr val="bg1"/>
                </a:solidFill>
                <a:cs typeface="Arial"/>
              </a:rPr>
              <a:t> </a:t>
            </a:r>
            <a:br>
              <a:rPr lang="en-GB" sz="2100" kern="0">
                <a:solidFill>
                  <a:schemeClr val="bg1"/>
                </a:solidFill>
                <a:cs typeface="Arial"/>
              </a:rPr>
            </a:br>
            <a:r>
              <a:rPr lang="en-GB" sz="2800" kern="0">
                <a:solidFill>
                  <a:schemeClr val="bg1"/>
                </a:solidFill>
                <a:cs typeface="Arial"/>
              </a:rPr>
              <a:t>1999</a:t>
            </a:r>
            <a:r>
              <a:rPr lang="en-GB" sz="2100" kern="0">
                <a:solidFill>
                  <a:schemeClr val="bg1"/>
                </a:solidFill>
                <a:cs typeface="Arial"/>
              </a:rPr>
              <a:t> </a:t>
            </a:r>
            <a:br>
              <a:rPr lang="en-GB" sz="2100" kern="0">
                <a:solidFill>
                  <a:schemeClr val="bg1"/>
                </a:solidFill>
                <a:cs typeface="Arial"/>
              </a:rPr>
            </a:br>
            <a:r>
              <a:rPr lang="en-GB" sz="1800" kern="0">
                <a:solidFill>
                  <a:schemeClr val="bg1"/>
                </a:solidFill>
                <a:cs typeface="Arial"/>
              </a:rPr>
              <a:t>im Markt </a:t>
            </a:r>
            <a:endParaRPr lang="en-GB" sz="2100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8556D4A-7412-438C-973E-D0D3E24BBECB}"/>
              </a:ext>
            </a:extLst>
          </p:cNvPr>
          <p:cNvSpPr/>
          <p:nvPr/>
        </p:nvSpPr>
        <p:spPr>
          <a:xfrm>
            <a:off x="3056227" y="1229393"/>
            <a:ext cx="3048000" cy="179316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  <a:buClr>
                <a:srgbClr val="00B0DC"/>
              </a:buClr>
              <a:buSzPct val="120000"/>
            </a:pPr>
            <a:r>
              <a:rPr lang="en-GB" sz="1800" kern="0" err="1">
                <a:solidFill>
                  <a:schemeClr val="bg1"/>
                </a:solidFill>
                <a:cs typeface="Arial"/>
              </a:rPr>
              <a:t>Einer</a:t>
            </a:r>
            <a:r>
              <a:rPr lang="en-GB" sz="1800" kern="0">
                <a:solidFill>
                  <a:schemeClr val="bg1"/>
                </a:solidFill>
                <a:cs typeface="Arial"/>
              </a:rPr>
              <a:t> der </a:t>
            </a:r>
            <a:r>
              <a:rPr lang="en-GB" sz="1800" kern="0" err="1">
                <a:solidFill>
                  <a:schemeClr val="bg1"/>
                </a:solidFill>
                <a:cs typeface="Arial"/>
              </a:rPr>
              <a:t>größten</a:t>
            </a:r>
            <a:r>
              <a:rPr lang="en-GB" sz="1800" kern="0">
                <a:solidFill>
                  <a:schemeClr val="bg1"/>
                </a:solidFill>
                <a:cs typeface="Arial"/>
              </a:rPr>
              <a:t> </a:t>
            </a:r>
            <a:r>
              <a:rPr lang="en-GB" sz="1800" kern="0" err="1">
                <a:solidFill>
                  <a:schemeClr val="bg1"/>
                </a:solidFill>
                <a:cs typeface="Arial"/>
              </a:rPr>
              <a:t>Direktvermarkter</a:t>
            </a:r>
            <a:br>
              <a:rPr lang="en-GB" sz="2100" kern="0">
                <a:cs typeface="Arial"/>
              </a:rPr>
            </a:br>
            <a:r>
              <a:rPr lang="en-GB" sz="2800" kern="0">
                <a:solidFill>
                  <a:schemeClr val="bg1"/>
                </a:solidFill>
                <a:cs typeface="Arial"/>
              </a:rPr>
              <a:t>&gt;8 500 MW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93506D6-099C-4658-A6F9-988C7528E92F}"/>
              </a:ext>
            </a:extLst>
          </p:cNvPr>
          <p:cNvSpPr/>
          <p:nvPr/>
        </p:nvSpPr>
        <p:spPr>
          <a:xfrm>
            <a:off x="-2632" y="3028325"/>
            <a:ext cx="3054836" cy="179316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200"/>
              </a:spcBef>
              <a:buClr>
                <a:srgbClr val="00B0DC"/>
              </a:buClr>
              <a:buSzPct val="120000"/>
            </a:pPr>
            <a:endParaRPr lang="en-GB" sz="2100" ker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A921827-3CC2-4B86-9C6A-FB8A00874BA3}"/>
              </a:ext>
            </a:extLst>
          </p:cNvPr>
          <p:cNvSpPr/>
          <p:nvPr/>
        </p:nvSpPr>
        <p:spPr>
          <a:xfrm>
            <a:off x="3063371" y="3028506"/>
            <a:ext cx="3048002" cy="179280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  <a:buClr>
                <a:srgbClr val="00B0DC"/>
              </a:buClr>
              <a:buSzPct val="120000"/>
            </a:pPr>
            <a:r>
              <a:rPr lang="en-GB" sz="2800" kern="0">
                <a:solidFill>
                  <a:schemeClr val="bg1"/>
                </a:solidFill>
                <a:cs typeface="Arial"/>
              </a:rPr>
              <a:t>&gt;1.800 MW </a:t>
            </a:r>
            <a:br>
              <a:rPr lang="en-GB" sz="2100" kern="0">
                <a:solidFill>
                  <a:schemeClr val="bg1"/>
                </a:solidFill>
                <a:cs typeface="Arial"/>
              </a:rPr>
            </a:br>
            <a:r>
              <a:rPr lang="en-GB" sz="1800" kern="0">
                <a:solidFill>
                  <a:schemeClr val="bg1"/>
                </a:solidFill>
                <a:cs typeface="Arial"/>
              </a:rPr>
              <a:t>Wind- und </a:t>
            </a:r>
            <a:r>
              <a:rPr lang="en-GB" sz="1800" kern="0" err="1">
                <a:solidFill>
                  <a:schemeClr val="bg1"/>
                </a:solidFill>
                <a:cs typeface="Arial"/>
              </a:rPr>
              <a:t>Solarprojekte</a:t>
            </a:r>
            <a:endParaRPr lang="en-GB" sz="2100" kern="0">
              <a:solidFill>
                <a:schemeClr val="bg1"/>
              </a:solidFill>
              <a:cs typeface="Arial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18F1CA3-9B9F-47B6-B9B6-12A18CC523A4}"/>
              </a:ext>
            </a:extLst>
          </p:cNvPr>
          <p:cNvSpPr/>
          <p:nvPr/>
        </p:nvSpPr>
        <p:spPr>
          <a:xfrm>
            <a:off x="6413" y="4818197"/>
            <a:ext cx="3047996" cy="159784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  <a:buClr>
                <a:srgbClr val="00B0DC"/>
              </a:buClr>
              <a:buSzPct val="120000"/>
            </a:pPr>
            <a:endParaRPr lang="en-GB" sz="2000" kern="0" dirty="0">
              <a:solidFill>
                <a:schemeClr val="bg1"/>
              </a:solidFill>
              <a:cs typeface="Arial"/>
            </a:endParaRPr>
          </a:p>
          <a:p>
            <a:pPr algn="ctr">
              <a:spcBef>
                <a:spcPts val="200"/>
              </a:spcBef>
              <a:buClr>
                <a:srgbClr val="00B0DC"/>
              </a:buClr>
              <a:buSzPct val="120000"/>
            </a:pPr>
            <a:r>
              <a:rPr lang="en-GB" sz="1800" kern="0" dirty="0" err="1">
                <a:solidFill>
                  <a:schemeClr val="bg1"/>
                </a:solidFill>
                <a:cs typeface="Arial"/>
              </a:rPr>
              <a:t>Größter</a:t>
            </a:r>
            <a:r>
              <a:rPr lang="en-GB" sz="1800" kern="0" dirty="0">
                <a:solidFill>
                  <a:schemeClr val="bg1"/>
                </a:solidFill>
                <a:cs typeface="Arial"/>
              </a:rPr>
              <a:t> </a:t>
            </a:r>
            <a:r>
              <a:rPr lang="en-GB" sz="1800" kern="0" dirty="0" err="1">
                <a:solidFill>
                  <a:schemeClr val="bg1"/>
                </a:solidFill>
                <a:cs typeface="Arial"/>
              </a:rPr>
              <a:t>Anbieter</a:t>
            </a:r>
            <a:r>
              <a:rPr lang="en-GB" sz="1800" kern="0" dirty="0">
                <a:solidFill>
                  <a:schemeClr val="bg1"/>
                </a:solidFill>
                <a:cs typeface="Arial"/>
              </a:rPr>
              <a:t> von </a:t>
            </a:r>
            <a:r>
              <a:rPr lang="en-GB" sz="1800" kern="0" dirty="0" err="1">
                <a:solidFill>
                  <a:schemeClr val="bg1"/>
                </a:solidFill>
                <a:cs typeface="Arial"/>
              </a:rPr>
              <a:t>Grünstrom</a:t>
            </a:r>
            <a:r>
              <a:rPr lang="en-GB" sz="1800" kern="0" dirty="0">
                <a:solidFill>
                  <a:schemeClr val="bg1"/>
                </a:solidFill>
                <a:cs typeface="Arial"/>
              </a:rPr>
              <a:t>-PPAs für </a:t>
            </a:r>
            <a:r>
              <a:rPr lang="en-GB" sz="1800" kern="0" dirty="0" err="1">
                <a:solidFill>
                  <a:schemeClr val="bg1"/>
                </a:solidFill>
                <a:cs typeface="Arial"/>
              </a:rPr>
              <a:t>Industrie</a:t>
            </a:r>
            <a:r>
              <a:rPr lang="en-GB" sz="1800" kern="0" dirty="0">
                <a:solidFill>
                  <a:schemeClr val="bg1"/>
                </a:solidFill>
                <a:cs typeface="Arial"/>
              </a:rPr>
              <a:t> und </a:t>
            </a:r>
            <a:r>
              <a:rPr lang="en-GB" sz="1800" kern="0" dirty="0" err="1">
                <a:solidFill>
                  <a:schemeClr val="bg1"/>
                </a:solidFill>
                <a:cs typeface="Arial"/>
              </a:rPr>
              <a:t>Gewerbe</a:t>
            </a:r>
            <a:endParaRPr lang="en-GB" sz="1800" kern="0" dirty="0">
              <a:solidFill>
                <a:schemeClr val="bg1"/>
              </a:solidFill>
              <a:cs typeface="Arial"/>
            </a:endParaRPr>
          </a:p>
          <a:p>
            <a:pPr lvl="0" algn="ctr">
              <a:spcBef>
                <a:spcPts val="200"/>
              </a:spcBef>
              <a:buClr>
                <a:srgbClr val="00B0DC"/>
              </a:buClr>
              <a:buSzPct val="120000"/>
            </a:pPr>
            <a:endParaRPr lang="en-GB" sz="2100" kern="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A552BA-4D02-4EE5-A6C5-DEF0C45F773F}"/>
              </a:ext>
            </a:extLst>
          </p:cNvPr>
          <p:cNvSpPr txBox="1"/>
          <p:nvPr/>
        </p:nvSpPr>
        <p:spPr>
          <a:xfrm>
            <a:off x="-131288" y="3495782"/>
            <a:ext cx="3190378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200"/>
              </a:spcBef>
              <a:buClr>
                <a:srgbClr val="00B0DC"/>
              </a:buClr>
              <a:buSzPct val="120000"/>
            </a:pPr>
            <a:r>
              <a:rPr lang="de-DE" sz="2800" kern="0">
                <a:solidFill>
                  <a:schemeClr val="bg1"/>
                </a:solidFill>
                <a:cs typeface="Arial"/>
              </a:rPr>
              <a:t>&gt;</a:t>
            </a:r>
            <a:r>
              <a:rPr lang="de-DE" sz="2800" kern="0" dirty="0">
                <a:solidFill>
                  <a:schemeClr val="bg1"/>
                </a:solidFill>
                <a:cs typeface="Arial"/>
              </a:rPr>
              <a:t>650</a:t>
            </a:r>
            <a:r>
              <a:rPr lang="de-DE" sz="2100" kern="0" dirty="0">
                <a:solidFill>
                  <a:schemeClr val="bg1"/>
                </a:solidFill>
                <a:cs typeface="Arial"/>
              </a:rPr>
              <a:t> </a:t>
            </a:r>
            <a:br>
              <a:rPr lang="de-DE" sz="2100" kern="0" dirty="0">
                <a:solidFill>
                  <a:schemeClr val="bg1"/>
                </a:solidFill>
                <a:cs typeface="Arial"/>
              </a:rPr>
            </a:br>
            <a:r>
              <a:rPr lang="de-DE" sz="1800" kern="0" dirty="0" err="1">
                <a:solidFill>
                  <a:schemeClr val="bg1"/>
                </a:solidFill>
                <a:cs typeface="Arial"/>
              </a:rPr>
              <a:t>Mitarbeiter:innen</a:t>
            </a:r>
            <a:r>
              <a:rPr lang="de-DE" sz="1800" kern="0" dirty="0">
                <a:solidFill>
                  <a:schemeClr val="bg1"/>
                </a:solidFill>
                <a:cs typeface="Arial"/>
              </a:rPr>
              <a:t> </a:t>
            </a:r>
            <a:endParaRPr lang="en-GB" sz="2100" dirty="0">
              <a:solidFill>
                <a:schemeClr val="bg1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3D23B366-78B8-4145-BE55-753BE2671E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236" y="577216"/>
            <a:ext cx="10535861" cy="907097"/>
          </a:xfrm>
        </p:spPr>
        <p:txBody>
          <a:bodyPr/>
          <a:lstStyle/>
          <a:p>
            <a:r>
              <a:rPr lang="de-DE"/>
              <a:t>Statkraft in Deutschlan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24CDA0-7F98-FDF3-B185-0049B225C713}"/>
              </a:ext>
            </a:extLst>
          </p:cNvPr>
          <p:cNvSpPr/>
          <p:nvPr/>
        </p:nvSpPr>
        <p:spPr>
          <a:xfrm>
            <a:off x="3061556" y="4814901"/>
            <a:ext cx="3048000" cy="16075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  <a:buClr>
                <a:srgbClr val="00B0DC"/>
              </a:buClr>
              <a:buSzPct val="120000"/>
            </a:pPr>
            <a:r>
              <a:rPr lang="de-DE" sz="2800" kern="0">
                <a:solidFill>
                  <a:schemeClr val="bg1"/>
                </a:solidFill>
                <a:cs typeface="Arial"/>
              </a:rPr>
              <a:t>89 </a:t>
            </a:r>
            <a:br>
              <a:rPr lang="de-DE" sz="2100" kern="0">
                <a:solidFill>
                  <a:schemeClr val="bg1"/>
                </a:solidFill>
                <a:cs typeface="Arial"/>
              </a:rPr>
            </a:br>
            <a:r>
              <a:rPr lang="de-DE" sz="1800" kern="0">
                <a:solidFill>
                  <a:schemeClr val="bg1"/>
                </a:solidFill>
                <a:cs typeface="Arial"/>
              </a:rPr>
              <a:t>Kraftwerke</a:t>
            </a:r>
            <a:endParaRPr lang="en-GB" sz="2100" kern="0">
              <a:solidFill>
                <a:schemeClr val="bg1"/>
              </a:solidFill>
              <a:cs typeface="Arial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715C734-E877-AF84-8948-08B597B08F0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175" r="20743"/>
          <a:stretch/>
        </p:blipFill>
        <p:spPr>
          <a:xfrm>
            <a:off x="6453906" y="392052"/>
            <a:ext cx="5367365" cy="642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00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DE4068-BF96-48C4-8CEE-EEBF335A77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DE4068-BF96-48C4-8CEE-EEBF335A7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01D3056-9A18-49FC-A29A-7C2AC2FEAAC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DC"/>
              </a:buClr>
              <a:buSzPct val="120000"/>
              <a:buFontTx/>
              <a:buNone/>
              <a:tabLst/>
              <a:defRPr/>
            </a:pPr>
            <a:endParaRPr kumimoji="0" lang="en-GB" sz="3200" b="1" i="0" u="none" strike="noStrike" kern="1200" cap="none" spc="0" normalizeH="0" baseline="0" noProof="0">
              <a:ln>
                <a:noFill/>
              </a:ln>
              <a:solidFill>
                <a:srgbClr val="7A6F6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C6387B4-4DB2-4B3E-A35A-5CBE1FDB0B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atkraft als solider Partn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D587A8F-BC62-4E77-A769-E49E7EA1F8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2000" dirty="0" err="1"/>
              <a:t>Wir</a:t>
            </a:r>
            <a:r>
              <a:rPr lang="en-GB" sz="2000" dirty="0"/>
              <a:t> </a:t>
            </a:r>
            <a:r>
              <a:rPr lang="en-GB" sz="2000" dirty="0" err="1"/>
              <a:t>machen</a:t>
            </a:r>
            <a:r>
              <a:rPr lang="en-GB" sz="2000" dirty="0"/>
              <a:t> den </a:t>
            </a:r>
            <a:r>
              <a:rPr lang="en-GB" sz="2000" dirty="0" err="1"/>
              <a:t>Unterschied</a:t>
            </a:r>
            <a:r>
              <a:rPr lang="en-GB" sz="2000" dirty="0"/>
              <a:t>!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C0D2667-898C-4407-BBE9-C1871CD8829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6" y="2241549"/>
            <a:ext cx="8456293" cy="3780157"/>
          </a:xfrm>
        </p:spPr>
        <p:txBody>
          <a:bodyPr/>
          <a:lstStyle/>
          <a:p>
            <a:r>
              <a:rPr lang="de-DE" dirty="0"/>
              <a:t>125 Jahre Erfahrung und ein solider Partner. </a:t>
            </a:r>
          </a:p>
          <a:p>
            <a:r>
              <a:rPr lang="de-DE" dirty="0"/>
              <a:t>Transparenz in der Planung und Kommunikation.</a:t>
            </a:r>
          </a:p>
          <a:p>
            <a:r>
              <a:rPr lang="de-DE" dirty="0"/>
              <a:t>Akzeptanz und Beteiligung können nur funktionieren, wenn man sie ernst meint.</a:t>
            </a:r>
          </a:p>
          <a:p>
            <a:r>
              <a:rPr lang="de-DE" dirty="0"/>
              <a:t>Hohe Standards in allen Bereichen. Wir haben sehr hohe Ansprüche an uns selbst, aber auch an unsere Partner.</a:t>
            </a:r>
          </a:p>
          <a:p>
            <a:r>
              <a:rPr lang="de-DE" dirty="0"/>
              <a:t>Als Staatsunternehmen haben wir die richtigen Voraussetzungen, um mit Gemeinden, Behörden und Regierungen zusammenzuarbeiten, denn wir teilen gemeinsame Compliance-, Ethik- und Sicherheitsstandards.</a:t>
            </a:r>
          </a:p>
          <a:p>
            <a:r>
              <a:rPr lang="de-DE" dirty="0"/>
              <a:t>Kompetenter Partner aus der Energiewirtschaft: Wir sind am Puls der Zeit und in allen wichtigen Verbänden, Gremien und Arbeitsgruppen aktiv.</a:t>
            </a:r>
            <a:endParaRPr lang="en-GB" dirty="0"/>
          </a:p>
          <a:p>
            <a:pPr lvl="1"/>
            <a:endParaRPr lang="en-GB" sz="1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6F78D3-B1AA-4279-B91D-2094BF9904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2ACB19-C0E1-7345-B8BA-15A723BE30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BBB3B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BBB3B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9" name="Bildplatzhalter 11">
            <a:extLst>
              <a:ext uri="{FF2B5EF4-FFF2-40B4-BE49-F238E27FC236}">
                <a16:creationId xmlns:a16="http://schemas.microsoft.com/office/drawing/2014/main" id="{2C2D7636-B7A8-45C0-8352-EC918A3AE17E}"/>
              </a:ext>
            </a:extLst>
          </p:cNvPr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53"/>
          <a:stretch/>
        </p:blipFill>
        <p:spPr>
          <a:xfrm>
            <a:off x="9468105" y="1708476"/>
            <a:ext cx="2592466" cy="4184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784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C7010C2-ECFF-449B-AA7A-F707DB41F7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C7010C2-ECFF-449B-AA7A-F707DB41F7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DC98B7-8FE1-455E-BE53-5F9F1D49459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9237" y="1830707"/>
            <a:ext cx="4963552" cy="4191000"/>
          </a:xfrm>
        </p:spPr>
        <p:txBody>
          <a:bodyPr/>
          <a:lstStyle/>
          <a:p>
            <a:endParaRPr lang="en-GB" dirty="0">
              <a:solidFill>
                <a:schemeClr val="bg2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dirty="0"/>
              <a:t>Das </a:t>
            </a:r>
            <a:r>
              <a:rPr lang="en-GB" dirty="0" err="1"/>
              <a:t>Unternehmen</a:t>
            </a:r>
            <a:r>
              <a:rPr lang="en-GB" dirty="0"/>
              <a:t> Statkraft</a:t>
            </a:r>
          </a:p>
          <a:p>
            <a:pPr marL="457200" indent="-457200">
              <a:buFont typeface="+mj-lt"/>
              <a:buAutoNum type="arabicPeriod"/>
            </a:pPr>
            <a:endParaRPr lang="en-GB" dirty="0"/>
          </a:p>
          <a:p>
            <a:pPr marL="457200" indent="-457200">
              <a:buFont typeface="+mj-lt"/>
              <a:buAutoNum type="arabicPeriod"/>
            </a:pPr>
            <a:r>
              <a:rPr lang="en-GB" b="1" dirty="0" err="1"/>
              <a:t>Windpark</a:t>
            </a:r>
            <a:r>
              <a:rPr lang="en-GB" b="1" dirty="0"/>
              <a:t> Wulfsen</a:t>
            </a:r>
            <a:br>
              <a:rPr lang="en-GB" dirty="0"/>
            </a:b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74B8549-74AC-4256-87D0-3653C24E59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6AB87-44EF-4D4F-8E09-A0C1D48E19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2ACB19-C0E1-7345-B8BA-15A723BE30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BBB3B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BBB3B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8" name="Picture Placeholder 2">
            <a:extLst>
              <a:ext uri="{FF2B5EF4-FFF2-40B4-BE49-F238E27FC236}">
                <a16:creationId xmlns:a16="http://schemas.microsoft.com/office/drawing/2014/main" id="{A3569CC4-6795-4884-8034-072FE55DECF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99213" y="1"/>
            <a:ext cx="5792787" cy="6856770"/>
          </a:xfrm>
        </p:spPr>
      </p:pic>
    </p:spTree>
    <p:extLst>
      <p:ext uri="{BB962C8B-B14F-4D97-AF65-F5344CB8AC3E}">
        <p14:creationId xmlns:p14="http://schemas.microsoft.com/office/powerpoint/2010/main" val="1673450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wLGKkGSW.nUQn29AJI8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wLGKkGSW.nUQn29AJI8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U1lnvaStSRu0yU3Rye0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7OoG__aYes7Cb05T4fr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ABSsbcVxtn_TQ0iJgsP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ABSsbcVxtn_TQ0iJgsP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NopaZ3jZlWjdmIRwNF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ABSsbcVxtn_TQ0iJgsP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kfEreHPANkkkHHG0FYy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kfEreHPANkkkHHG0FYy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kfEreHPANkkkHHG0FY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kfEreHPANkkkHHG0FYy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kfEreHPANkkkHHG0FYy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kfEreHPANkkkHHG0FYy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kfEreHPANkkkHHG0FY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wLGKkGSW.nUQn29AJI8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wLGKkGSW.nUQn29AJI8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y6T4K9QeiSCQ9qyTOJ3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U1lnvaStSRu0yU3Rye0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y6T4K9QeiSCQ9qyTOJ3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wLGKkGSW.nUQn29AJI8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wLGKkGSW.nUQn29AJI8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U1lnvaStSRu0yU3Rye0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y6T4K9QeiSCQ9qyTOJ3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heme/theme1.xml><?xml version="1.0" encoding="utf-8"?>
<a:theme xmlns:a="http://schemas.openxmlformats.org/drawingml/2006/main" name="Statkraft presentation template UK">
  <a:themeElements>
    <a:clrScheme name="Statkraft 2019">
      <a:dk1>
        <a:srgbClr val="000000"/>
      </a:dk1>
      <a:lt1>
        <a:srgbClr val="FFFFFF"/>
      </a:lt1>
      <a:dk2>
        <a:srgbClr val="005088"/>
      </a:dk2>
      <a:lt2>
        <a:srgbClr val="00B0DC"/>
      </a:lt2>
      <a:accent1>
        <a:srgbClr val="00B0DC"/>
      </a:accent1>
      <a:accent2>
        <a:srgbClr val="80DAF3"/>
      </a:accent2>
      <a:accent3>
        <a:srgbClr val="E84E0F"/>
      </a:accent3>
      <a:accent4>
        <a:srgbClr val="F0D100"/>
      </a:accent4>
      <a:accent5>
        <a:srgbClr val="7A6F69"/>
      </a:accent5>
      <a:accent6>
        <a:srgbClr val="BBB3B0"/>
      </a:accent6>
      <a:hlink>
        <a:srgbClr val="7A6F69"/>
      </a:hlink>
      <a:folHlink>
        <a:srgbClr val="7A6F6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60000"/>
            <a:lumOff val="40000"/>
          </a:schemeClr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buClr>
            <a:schemeClr val="accent1"/>
          </a:buClr>
          <a:buSzPct val="120000"/>
          <a:defRPr sz="1600" smtClean="0">
            <a:solidFill>
              <a:schemeClr val="accent5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flat" cmpd="sng">
          <a:solidFill>
            <a:schemeClr val="accent6"/>
          </a:solidFill>
          <a:prstDash val="soli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600"/>
          </a:spcBef>
          <a:buClr>
            <a:schemeClr val="accent1"/>
          </a:buClr>
          <a:buSzPct val="120000"/>
          <a:defRPr sz="1600" smtClean="0">
            <a:solidFill>
              <a:schemeClr val="accent5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K Template.potx" id="{363DDC98-6C30-4556-850F-E7B0F33B29A7}" vid="{F9CA8C69-66E4-4BD4-8DFB-73EFD3F5BBF3}"/>
    </a:ext>
  </a:extLst>
</a:theme>
</file>

<file path=ppt/theme/theme2.xml><?xml version="1.0" encoding="utf-8"?>
<a:theme xmlns:a="http://schemas.openxmlformats.org/drawingml/2006/main" name="1_Statkraft presentation template UK">
  <a:themeElements>
    <a:clrScheme name="Statkraft 2019">
      <a:dk1>
        <a:srgbClr val="000000"/>
      </a:dk1>
      <a:lt1>
        <a:srgbClr val="FFFFFF"/>
      </a:lt1>
      <a:dk2>
        <a:srgbClr val="005088"/>
      </a:dk2>
      <a:lt2>
        <a:srgbClr val="00B0DC"/>
      </a:lt2>
      <a:accent1>
        <a:srgbClr val="00B0DC"/>
      </a:accent1>
      <a:accent2>
        <a:srgbClr val="80DAF3"/>
      </a:accent2>
      <a:accent3>
        <a:srgbClr val="E84E0F"/>
      </a:accent3>
      <a:accent4>
        <a:srgbClr val="F0D100"/>
      </a:accent4>
      <a:accent5>
        <a:srgbClr val="7A6F69"/>
      </a:accent5>
      <a:accent6>
        <a:srgbClr val="BBB3B0"/>
      </a:accent6>
      <a:hlink>
        <a:srgbClr val="7A6F69"/>
      </a:hlink>
      <a:folHlink>
        <a:srgbClr val="7A6F6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60000"/>
            <a:lumOff val="40000"/>
          </a:schemeClr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buClr>
            <a:schemeClr val="accent1"/>
          </a:buClr>
          <a:buSzPct val="120000"/>
          <a:defRPr sz="1600" smtClean="0">
            <a:solidFill>
              <a:schemeClr val="accent5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flat" cmpd="sng">
          <a:solidFill>
            <a:schemeClr val="accent6"/>
          </a:solidFill>
          <a:prstDash val="soli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600"/>
          </a:spcBef>
          <a:buClr>
            <a:schemeClr val="accent1"/>
          </a:buClr>
          <a:buSzPct val="120000"/>
          <a:defRPr sz="1600" smtClean="0">
            <a:solidFill>
              <a:schemeClr val="accent5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39ADAE52-EA35-4B2C-BA57-BA6ADF72D139}" vid="{3FA72A96-58ED-4572-8B23-83C50BEC6596}"/>
    </a:ext>
  </a:extLst>
</a:theme>
</file>

<file path=ppt/theme/theme3.xml><?xml version="1.0" encoding="utf-8"?>
<a:theme xmlns:a="http://schemas.openxmlformats.org/drawingml/2006/main" name="3_Statkraft presentation template UK">
  <a:themeElements>
    <a:clrScheme name="Statkraft 2019">
      <a:dk1>
        <a:srgbClr val="000000"/>
      </a:dk1>
      <a:lt1>
        <a:srgbClr val="FFFFFF"/>
      </a:lt1>
      <a:dk2>
        <a:srgbClr val="005088"/>
      </a:dk2>
      <a:lt2>
        <a:srgbClr val="00B0DC"/>
      </a:lt2>
      <a:accent1>
        <a:srgbClr val="00B0DC"/>
      </a:accent1>
      <a:accent2>
        <a:srgbClr val="80DAF3"/>
      </a:accent2>
      <a:accent3>
        <a:srgbClr val="E84E0F"/>
      </a:accent3>
      <a:accent4>
        <a:srgbClr val="F0D100"/>
      </a:accent4>
      <a:accent5>
        <a:srgbClr val="7A6F69"/>
      </a:accent5>
      <a:accent6>
        <a:srgbClr val="BBB3B0"/>
      </a:accent6>
      <a:hlink>
        <a:srgbClr val="7A6F69"/>
      </a:hlink>
      <a:folHlink>
        <a:srgbClr val="7A6F6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60000"/>
            <a:lumOff val="40000"/>
          </a:schemeClr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buClr>
            <a:schemeClr val="accent1"/>
          </a:buClr>
          <a:buSzPct val="120000"/>
          <a:defRPr sz="1600" smtClean="0">
            <a:solidFill>
              <a:schemeClr val="accent5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flat" cmpd="sng">
          <a:solidFill>
            <a:schemeClr val="accent6"/>
          </a:solidFill>
          <a:prstDash val="soli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600"/>
          </a:spcBef>
          <a:buClr>
            <a:schemeClr val="accent1"/>
          </a:buClr>
          <a:buSzPct val="120000"/>
          <a:defRPr sz="1600" smtClean="0">
            <a:solidFill>
              <a:schemeClr val="accent5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atkraft presentasjonsmal NO.potx" id="{E1C92A8C-BD78-4D2E-8C95-79D9C1BB9D42}" vid="{21D653C2-CAE4-402F-85E8-FDC67056958C}"/>
    </a:ext>
  </a:extLst>
</a:theme>
</file>

<file path=ppt/theme/theme4.xml><?xml version="1.0" encoding="utf-8"?>
<a:theme xmlns:a="http://schemas.openxmlformats.org/drawingml/2006/main" name="Office Theme">
  <a:themeElements>
    <a:clrScheme name="Statkraft">
      <a:dk1>
        <a:srgbClr val="000000"/>
      </a:dk1>
      <a:lt1>
        <a:srgbClr val="FFFFFF"/>
      </a:lt1>
      <a:dk2>
        <a:srgbClr val="005088"/>
      </a:dk2>
      <a:lt2>
        <a:srgbClr val="BBB3B0"/>
      </a:lt2>
      <a:accent1>
        <a:srgbClr val="00B0DC"/>
      </a:accent1>
      <a:accent2>
        <a:srgbClr val="80DAF3"/>
      </a:accent2>
      <a:accent3>
        <a:srgbClr val="E84E0F"/>
      </a:accent3>
      <a:accent4>
        <a:srgbClr val="E5D100"/>
      </a:accent4>
      <a:accent5>
        <a:srgbClr val="BBB3B0"/>
      </a:accent5>
      <a:accent6>
        <a:srgbClr val="7A6F69"/>
      </a:accent6>
      <a:hlink>
        <a:srgbClr val="7A6F69"/>
      </a:hlink>
      <a:folHlink>
        <a:srgbClr val="7A6F6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Statkraft">
      <a:dk1>
        <a:srgbClr val="000000"/>
      </a:dk1>
      <a:lt1>
        <a:srgbClr val="FFFFFF"/>
      </a:lt1>
      <a:dk2>
        <a:srgbClr val="005088"/>
      </a:dk2>
      <a:lt2>
        <a:srgbClr val="BBB3B0"/>
      </a:lt2>
      <a:accent1>
        <a:srgbClr val="00B0DC"/>
      </a:accent1>
      <a:accent2>
        <a:srgbClr val="80DAF3"/>
      </a:accent2>
      <a:accent3>
        <a:srgbClr val="E84E0F"/>
      </a:accent3>
      <a:accent4>
        <a:srgbClr val="E5D100"/>
      </a:accent4>
      <a:accent5>
        <a:srgbClr val="BBB3B0"/>
      </a:accent5>
      <a:accent6>
        <a:srgbClr val="7A6F69"/>
      </a:accent6>
      <a:hlink>
        <a:srgbClr val="7A6F69"/>
      </a:hlink>
      <a:folHlink>
        <a:srgbClr val="7A6F6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28b195e-0643-4a46-a1a4-cf4f7155d3e6" xsi:nil="true"/>
    <lcf76f155ced4ddcb4097134ff3c332f xmlns="fb1576bd-1b51-4595-8d9e-db93c3077522">
      <Terms xmlns="http://schemas.microsoft.com/office/infopath/2007/PartnerControls"/>
    </lcf76f155ced4ddcb4097134ff3c332f>
    <SharedWithUsers xmlns="528b195e-0643-4a46-a1a4-cf4f7155d3e6">
      <UserInfo>
        <DisplayName>Leitl Thomas</DisplayName>
        <AccountId>405</AccountId>
        <AccountType/>
      </UserInfo>
      <UserInfo>
        <DisplayName>Kryßon Nora Johanna</DisplayName>
        <AccountId>11</AccountId>
        <AccountType/>
      </UserInfo>
      <UserInfo>
        <DisplayName>Tranninger Judith</DisplayName>
        <AccountId>30</AccountId>
        <AccountType/>
      </UserInfo>
      <UserInfo>
        <DisplayName>Bryn Julie Diez</DisplayName>
        <AccountId>29</AccountId>
        <AccountType/>
      </UserInfo>
      <UserInfo>
        <DisplayName>Haugland Lena Katarina</DisplayName>
        <AccountId>108</AccountId>
        <AccountType/>
      </UserInfo>
      <UserInfo>
        <DisplayName>Gellert Claudia</DisplayName>
        <AccountId>40</AccountId>
        <AccountType/>
      </UserInfo>
      <UserInfo>
        <DisplayName>Schuh Carla</DisplayName>
        <AccountId>152</AccountId>
        <AccountType/>
      </UserInfo>
      <UserInfo>
        <DisplayName>Rotnes Stine</DisplayName>
        <AccountId>485</AccountId>
        <AccountType/>
      </UserInfo>
      <UserInfo>
        <DisplayName>Eberlein Jonathan</DisplayName>
        <AccountId>996</AccountId>
        <AccountType/>
      </UserInfo>
    </SharedWithUsers>
    <Language xmlns="{listid:Accounting}">English</Language>
    <Document_x0020_type xmlns="{listid:Accounting}">Memo</Document_x0020_type>
    <Status xmlns="{listid:Accounting}">In Progress</Status>
    <Classification xmlns="{listid:Accounting}">Internal</Classification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1897C5B77F27419EA3A3A6BB15B91D" ma:contentTypeVersion="21" ma:contentTypeDescription="Create a new document." ma:contentTypeScope="" ma:versionID="c707a375205858dc767b723800d0bafb">
  <xsd:schema xmlns:xsd="http://www.w3.org/2001/XMLSchema" xmlns:xs="http://www.w3.org/2001/XMLSchema" xmlns:p="http://schemas.microsoft.com/office/2006/metadata/properties" xmlns:ns2="{listid:Accounting}" xmlns:ns3="fb1576bd-1b51-4595-8d9e-db93c3077522" xmlns:ns4="528b195e-0643-4a46-a1a4-cf4f7155d3e6" targetNamespace="http://schemas.microsoft.com/office/2006/metadata/properties" ma:root="true" ma:fieldsID="8b0c2ee18a5a6a8f3cb1bc135070f3b0" ns2:_="" ns3:_="" ns4:_="">
    <xsd:import namespace="{listid:Accounting}"/>
    <xsd:import namespace="fb1576bd-1b51-4595-8d9e-db93c3077522"/>
    <xsd:import namespace="528b195e-0643-4a46-a1a4-cf4f7155d3e6"/>
    <xsd:element name="properties">
      <xsd:complexType>
        <xsd:sequence>
          <xsd:element name="documentManagement">
            <xsd:complexType>
              <xsd:all>
                <xsd:element ref="ns2:Classification" minOccurs="0"/>
                <xsd:element ref="ns2:Document_x0020_type" minOccurs="0"/>
                <xsd:element ref="ns2:Language" minOccurs="0"/>
                <xsd:element ref="ns2:Status" minOccurs="0"/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{listid:Accounting}" elementFormDefault="qualified">
    <xsd:import namespace="http://schemas.microsoft.com/office/2006/documentManagement/types"/>
    <xsd:import namespace="http://schemas.microsoft.com/office/infopath/2007/PartnerControls"/>
    <xsd:element name="Classification" ma:index="8" nillable="true" ma:displayName="Classification" ma:default="Internal" ma:format="Dropdown" ma:internalName="Classification">
      <xsd:simpleType>
        <xsd:restriction base="dms:Choice">
          <xsd:enumeration value="Confidential"/>
          <xsd:enumeration value="Internal"/>
          <xsd:enumeration value="Open"/>
        </xsd:restriction>
      </xsd:simpleType>
    </xsd:element>
    <xsd:element name="Document_x0020_type" ma:index="9" nillable="true" ma:displayName="Document type" ma:default="Memo" ma:format="Dropdown" ma:internalName="Document_x0020_type">
      <xsd:simpleType>
        <xsd:restriction base="dms:Choice">
          <xsd:enumeration value="Agreement"/>
          <xsd:enumeration value="Budget"/>
          <xsd:enumeration value="Call for meeting"/>
          <xsd:enumeration value="External correspondence"/>
          <xsd:enumeration value="Guideline"/>
          <xsd:enumeration value="Image"/>
          <xsd:enumeration value="Internal correspondence"/>
          <xsd:enumeration value="Map"/>
          <xsd:enumeration value="Memo"/>
          <xsd:enumeration value="Minutes of meeting"/>
          <xsd:enumeration value="Plan"/>
          <xsd:enumeration value="Presentation"/>
          <xsd:enumeration value="Report"/>
          <xsd:enumeration value="Specification"/>
          <xsd:enumeration value="Technical Document"/>
          <xsd:enumeration value="Video"/>
        </xsd:restriction>
      </xsd:simpleType>
    </xsd:element>
    <xsd:element name="Language" ma:index="10" nillable="true" ma:displayName="Language" ma:default="English" ma:format="Dropdown" ma:internalName="Language">
      <xsd:simpleType>
        <xsd:restriction base="dms:Choice">
          <xsd:enumeration value="Albanian"/>
          <xsd:enumeration value="Dutch"/>
          <xsd:enumeration value="English"/>
          <xsd:enumeration value="French"/>
          <xsd:enumeration value="German"/>
          <xsd:enumeration value="Hindi"/>
          <xsd:enumeration value="Nepalese"/>
          <xsd:enumeration value="Norwegian"/>
          <xsd:enumeration value="Portuguese"/>
          <xsd:enumeration value="Spanish"/>
          <xsd:enumeration value="Swedish"/>
          <xsd:enumeration value="Turkish"/>
        </xsd:restriction>
      </xsd:simpleType>
    </xsd:element>
    <xsd:element name="Status" ma:index="11" nillable="true" ma:displayName="Status" ma:default="In Progress" ma:format="Dropdown" ma:internalName="Status">
      <xsd:simpleType>
        <xsd:restriction base="dms:Choice"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1576bd-1b51-4595-8d9e-db93c30775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4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d21d6712-d20a-4d05-afac-8e514c82895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8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8b195e-0643-4a46-a1a4-cf4f7155d3e6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7" nillable="true" ma:displayName="Taxonomy Catch All Column" ma:hidden="true" ma:list="{60ccaaac-edfb-4894-a426-beb43f678716}" ma:internalName="TaxCatchAll" ma:showField="CatchAllData" ma:web="528b195e-0643-4a46-a1a4-cf4f7155d3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AE6A0B7-95DB-4C32-9B61-95884B4D68E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8B8DAD3-D777-4749-ADB7-E31AE3FBE57D}">
  <ds:schemaRefs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purl.org/dc/dcmitype/"/>
    <ds:schemaRef ds:uri="http://purl.org/dc/terms/"/>
    <ds:schemaRef ds:uri="528b195e-0643-4a46-a1a4-cf4f7155d3e6"/>
    <ds:schemaRef ds:uri="fb1576bd-1b51-4595-8d9e-db93c3077522"/>
    <ds:schemaRef ds:uri="{listid:Accounting}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6A1B99EF-66A9-419F-926D-D9360E875E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{listid:Accounting}"/>
    <ds:schemaRef ds:uri="fb1576bd-1b51-4595-8d9e-db93c3077522"/>
    <ds:schemaRef ds:uri="528b195e-0643-4a46-a1a4-cf4f7155d3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6fa05759-79e6-4341-bfc2-9c3b1d3b2b98}" enabled="1" method="Privileged" siteId="{a40c0d68-338e-44ef-ab17-812ee42d12c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UK Template</Template>
  <TotalTime>0</TotalTime>
  <Words>1473</Words>
  <Application>Microsoft Office PowerPoint</Application>
  <PresentationFormat>Breitbild</PresentationFormat>
  <Paragraphs>233</Paragraphs>
  <Slides>20</Slides>
  <Notes>1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6" baseType="lpstr">
      <vt:lpstr>Arial</vt:lpstr>
      <vt:lpstr>Calibri</vt:lpstr>
      <vt:lpstr>Statkraft presentation template UK</vt:lpstr>
      <vt:lpstr>1_Statkraft presentation template UK</vt:lpstr>
      <vt:lpstr>3_Statkraft presentation template UK</vt:lpstr>
      <vt:lpstr>think-cell Slide</vt:lpstr>
      <vt:lpstr>Windpark Wulfsen Bürger-Dialog   Herzlich  willkommen! </vt:lpstr>
      <vt:lpstr>PowerPoint-Präsentation</vt:lpstr>
      <vt:lpstr>Statkraft – über 125 Jahre Erneuerbare Energie</vt:lpstr>
      <vt:lpstr>Statkraft – weltweit </vt:lpstr>
      <vt:lpstr>Statkraft – weltweit </vt:lpstr>
      <vt:lpstr>Zielbild 2030 – international führendes Unternehmen für erneuerbare Energien</vt:lpstr>
      <vt:lpstr>Statkraft in Deutschland</vt:lpstr>
      <vt:lpstr>Statkraft als solider Partner</vt:lpstr>
      <vt:lpstr>PowerPoint-Präsentation</vt:lpstr>
      <vt:lpstr>Unser Vorgehen in der Projektentwicklung</vt:lpstr>
      <vt:lpstr>PowerPoint-Präsentation</vt:lpstr>
      <vt:lpstr>Energiepolitische Situation - Das überragende öffentliche Interesse: § 2 EEG 2023</vt:lpstr>
      <vt:lpstr>Übersicht Windpark Wulfsen (Ausschnitt Regionalplan)</vt:lpstr>
      <vt:lpstr>Übersicht Windpark Wulsen</vt:lpstr>
      <vt:lpstr>PowerPoint-Präsentation</vt:lpstr>
      <vt:lpstr>Immissionsschutzrechtliche Grenzwerte Schall &amp; Schatten, bedrängende Wirkung</vt:lpstr>
      <vt:lpstr>Unser Angebot</vt:lpstr>
      <vt:lpstr>PowerPoint-Präsentation</vt:lpstr>
      <vt:lpstr>Unser Vorschlag für ein Repowering</vt:lpstr>
      <vt:lpstr>PowerPoint-Prä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deck</dc:title>
  <dc:creator>Kryßon Nora Johanna</dc:creator>
  <cp:lastModifiedBy>Eberlein Jonathan</cp:lastModifiedBy>
  <cp:revision>24</cp:revision>
  <dcterms:created xsi:type="dcterms:W3CDTF">2023-01-25T08:25:41Z</dcterms:created>
  <dcterms:modified xsi:type="dcterms:W3CDTF">2023-11-22T01:04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6ba45e5-5323-4bed-85ff-ee9151db239f_Enabled">
    <vt:lpwstr>true</vt:lpwstr>
  </property>
  <property fmtid="{D5CDD505-2E9C-101B-9397-08002B2CF9AE}" pid="3" name="MSIP_Label_26ba45e5-5323-4bed-85ff-ee9151db239f_SetDate">
    <vt:lpwstr>2020-11-17T11:53:04Z</vt:lpwstr>
  </property>
  <property fmtid="{D5CDD505-2E9C-101B-9397-08002B2CF9AE}" pid="4" name="MSIP_Label_26ba45e5-5323-4bed-85ff-ee9151db239f_Method">
    <vt:lpwstr>Standard</vt:lpwstr>
  </property>
  <property fmtid="{D5CDD505-2E9C-101B-9397-08002B2CF9AE}" pid="5" name="MSIP_Label_26ba45e5-5323-4bed-85ff-ee9151db239f_Name">
    <vt:lpwstr>26ba45e5-5323-4bed-85ff-ee9151db239f</vt:lpwstr>
  </property>
  <property fmtid="{D5CDD505-2E9C-101B-9397-08002B2CF9AE}" pid="6" name="MSIP_Label_26ba45e5-5323-4bed-85ff-ee9151db239f_SiteId">
    <vt:lpwstr>a40c0d68-338e-44ef-ab17-812ee42d12c7</vt:lpwstr>
  </property>
  <property fmtid="{D5CDD505-2E9C-101B-9397-08002B2CF9AE}" pid="7" name="MSIP_Label_26ba45e5-5323-4bed-85ff-ee9151db239f_ActionId">
    <vt:lpwstr>3c5c9765-9217-45b4-b0a9-b15c8966bdc4</vt:lpwstr>
  </property>
  <property fmtid="{D5CDD505-2E9C-101B-9397-08002B2CF9AE}" pid="8" name="MSIP_Label_26ba45e5-5323-4bed-85ff-ee9151db239f_ContentBits">
    <vt:lpwstr>2</vt:lpwstr>
  </property>
  <property fmtid="{D5CDD505-2E9C-101B-9397-08002B2CF9AE}" pid="9" name="ContentTypeId">
    <vt:lpwstr>0x010100441897C5B77F27419EA3A3A6BB15B91D</vt:lpwstr>
  </property>
  <property fmtid="{D5CDD505-2E9C-101B-9397-08002B2CF9AE}" pid="10" name="MediaServiceImageTags">
    <vt:lpwstr/>
  </property>
</Properties>
</file>